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10" r:id="rId1"/>
  </p:sldMasterIdLst>
  <p:notesMasterIdLst>
    <p:notesMasterId r:id="rId11"/>
  </p:notesMasterIdLst>
  <p:handoutMasterIdLst>
    <p:handoutMasterId r:id="rId12"/>
  </p:handoutMasterIdLst>
  <p:sldIdLst>
    <p:sldId id="750" r:id="rId2"/>
    <p:sldId id="659" r:id="rId3"/>
    <p:sldId id="810" r:id="rId4"/>
    <p:sldId id="811" r:id="rId5"/>
    <p:sldId id="813" r:id="rId6"/>
    <p:sldId id="741" r:id="rId7"/>
    <p:sldId id="814" r:id="rId8"/>
    <p:sldId id="745" r:id="rId9"/>
    <p:sldId id="758" r:id="rId10"/>
  </p:sldIdLst>
  <p:sldSz cx="9144000" cy="5143500" type="screen16x9"/>
  <p:notesSz cx="9939338" cy="6807200"/>
  <p:custDataLst>
    <p:tags r:id="rId13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305" userDrawn="1">
          <p15:clr>
            <a:srgbClr val="A4A3A4"/>
          </p15:clr>
        </p15:guide>
        <p15:guide id="2" orient="horz" pos="690" userDrawn="1">
          <p15:clr>
            <a:srgbClr val="A4A3A4"/>
          </p15:clr>
        </p15:guide>
        <p15:guide id="3" orient="horz" pos="3918">
          <p15:clr>
            <a:srgbClr val="A4A3A4"/>
          </p15:clr>
        </p15:guide>
        <p15:guide id="4" orient="horz" pos="4188">
          <p15:clr>
            <a:srgbClr val="A4A3A4"/>
          </p15:clr>
        </p15:guide>
        <p15:guide id="5" pos="226" userDrawn="1">
          <p15:clr>
            <a:srgbClr val="A4A3A4"/>
          </p15:clr>
        </p15:guide>
        <p15:guide id="6" pos="5624" userDrawn="1">
          <p15:clr>
            <a:srgbClr val="A4A3A4"/>
          </p15:clr>
        </p15:guide>
        <p15:guide id="7" pos="5759">
          <p15:clr>
            <a:srgbClr val="A4A3A4"/>
          </p15:clr>
        </p15:guide>
        <p15:guide id="8" pos="499" userDrawn="1">
          <p15:clr>
            <a:srgbClr val="A4A3A4"/>
          </p15:clr>
        </p15:guide>
        <p15:guide id="9" pos="876" userDrawn="1">
          <p15:clr>
            <a:srgbClr val="A4A3A4"/>
          </p15:clr>
        </p15:guide>
        <p15:guide id="10" orient="horz" pos="104">
          <p15:clr>
            <a:srgbClr val="A4A3A4"/>
          </p15:clr>
        </p15:guide>
        <p15:guide id="11" orient="horz" pos="608">
          <p15:clr>
            <a:srgbClr val="A4A3A4"/>
          </p15:clr>
        </p15:guide>
        <p15:guide id="12" orient="horz" pos="2142" userDrawn="1">
          <p15:clr>
            <a:srgbClr val="A4A3A4"/>
          </p15:clr>
        </p15:guide>
        <p15:guide id="13" orient="horz" pos="3162" userDrawn="1">
          <p15:clr>
            <a:srgbClr val="A4A3A4"/>
          </p15:clr>
        </p15:guide>
        <p15:guide id="14" pos="4924">
          <p15:clr>
            <a:srgbClr val="A4A3A4"/>
          </p15:clr>
        </p15:guide>
        <p15:guide id="15" pos="4822">
          <p15:clr>
            <a:srgbClr val="A4A3A4"/>
          </p15:clr>
        </p15:guide>
        <p15:guide id="16" orient="horz" pos="2935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1972" userDrawn="1">
          <p15:clr>
            <a:srgbClr val="A4A3A4"/>
          </p15:clr>
        </p15:guide>
        <p15:guide id="2" pos="3154" userDrawn="1">
          <p15:clr>
            <a:srgbClr val="A4A3A4"/>
          </p15:clr>
        </p15:guide>
        <p15:guide id="3" orient="horz" pos="2144" userDrawn="1">
          <p15:clr>
            <a:srgbClr val="A4A3A4"/>
          </p15:clr>
        </p15:guide>
        <p15:guide id="4" pos="3131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D7C"/>
    <a:srgbClr val="FFFFFF"/>
    <a:srgbClr val="004954"/>
    <a:srgbClr val="007180"/>
    <a:srgbClr val="006F7F"/>
    <a:srgbClr val="00616E"/>
    <a:srgbClr val="007484"/>
    <a:srgbClr val="0091A5"/>
    <a:srgbClr val="005763"/>
    <a:srgbClr val="00718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8996" autoAdjust="0"/>
    <p:restoredTop sz="88946" autoAdjust="0"/>
  </p:normalViewPr>
  <p:slideViewPr>
    <p:cSldViewPr snapToGrid="0" snapToObjects="1" showGuides="1">
      <p:cViewPr>
        <p:scale>
          <a:sx n="118" d="100"/>
          <a:sy n="118" d="100"/>
        </p:scale>
        <p:origin x="-1434" y="-744"/>
      </p:cViewPr>
      <p:guideLst>
        <p:guide orient="horz" pos="305"/>
        <p:guide orient="horz" pos="690"/>
        <p:guide orient="horz" pos="3918"/>
        <p:guide orient="horz" pos="4188"/>
        <p:guide orient="horz" pos="104"/>
        <p:guide orient="horz" pos="608"/>
        <p:guide orient="horz" pos="2142"/>
        <p:guide orient="horz" pos="3162"/>
        <p:guide orient="horz" pos="2935"/>
        <p:guide pos="226"/>
        <p:guide pos="5624"/>
        <p:guide pos="5759"/>
        <p:guide pos="499"/>
        <p:guide pos="876"/>
        <p:guide pos="4924"/>
        <p:guide pos="482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200" d="100"/>
        <a:sy n="200" d="100"/>
      </p:scale>
      <p:origin x="0" y="1170"/>
    </p:cViewPr>
  </p:sorterViewPr>
  <p:notesViewPr>
    <p:cSldViewPr snapToGrid="0" snapToObjects="1" showGuides="1">
      <p:cViewPr varScale="1">
        <p:scale>
          <a:sx n="82" d="100"/>
          <a:sy n="82" d="100"/>
        </p:scale>
        <p:origin x="-3180" y="-96"/>
      </p:cViewPr>
      <p:guideLst>
        <p:guide orient="horz" pos="1972"/>
        <p:guide orient="horz" pos="2144"/>
        <p:guide pos="3154"/>
        <p:guide pos="313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gs" Target="tags/tag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handoutMaster" Target="handoutMasters/handoutMaster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4307047" cy="34036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5629992" y="0"/>
            <a:ext cx="4307047" cy="34036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1A960B2-A5C1-43A5-97FF-B6E8302B8F3F}" type="datetimeFigureOut">
              <a:rPr lang="de-DE" smtClean="0"/>
              <a:t>11.07.2019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1" y="6465659"/>
            <a:ext cx="4307047" cy="34036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5629992" y="6465659"/>
            <a:ext cx="4307047" cy="34036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63479C7-7ADB-4808-9235-6484CAEB8EDF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3881420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4307047" cy="34154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5629992" y="0"/>
            <a:ext cx="4307047" cy="34154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E0710C9-FE5E-4BBD-997C-1850EB479084}" type="datetimeFigureOut">
              <a:rPr lang="de-DE" smtClean="0"/>
              <a:t>11.07.2019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2927350" y="850900"/>
            <a:ext cx="4084638" cy="22971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993934" y="3275965"/>
            <a:ext cx="7951470" cy="268033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1" y="6465659"/>
            <a:ext cx="4307047" cy="34154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5629992" y="6465659"/>
            <a:ext cx="4307047" cy="34154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9D0E59C-A1CD-4B3B-825E-331B59F2F74A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3230701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Beispielbild, kann gerne getauscht werden (auf gute Qualität achten! – Maße für Vollbild 1500x843px)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9D0E59C-A1CD-4B3B-825E-331B59F2F74A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2167233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sz="1600" dirty="0"/>
              <a:t>Texte von agile optimierung.de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9D0E59C-A1CD-4B3B-825E-331B59F2F74A}" type="slidenum">
              <a:rPr lang="de-DE" smtClean="0"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0139379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sz="1600" dirty="0"/>
              <a:t>Texte von agile optimierung.de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9D0E59C-A1CD-4B3B-825E-331B59F2F74A}" type="slidenum">
              <a:rPr lang="de-DE" smtClean="0"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0139379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sz="1600" dirty="0"/>
              <a:t>Texte von agile optimierung.de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9D0E59C-A1CD-4B3B-825E-331B59F2F74A}" type="slidenum">
              <a:rPr lang="de-DE" smtClean="0"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0139379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sz="1600" dirty="0"/>
              <a:t>Texte von agile optimierung.de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9D0E59C-A1CD-4B3B-825E-331B59F2F74A}" type="slidenum">
              <a:rPr lang="de-DE" smtClean="0"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0139379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sz="1600" dirty="0"/>
              <a:t>Texte von agile optimierung.de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9D0E59C-A1CD-4B3B-825E-331B59F2F74A}" type="slidenum">
              <a:rPr lang="de-DE" smtClean="0"/>
              <a:t>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4691720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sz="1600" dirty="0"/>
              <a:t>Texte von agile optimierung.de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9D0E59C-A1CD-4B3B-825E-331B59F2F74A}" type="slidenum">
              <a:rPr lang="de-DE" smtClean="0"/>
              <a:t>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0139379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xmlns="" id="{5C549A9E-72E4-453D-A969-18030D094C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142874" y="160807"/>
            <a:ext cx="7843838" cy="408888"/>
          </a:xfrm>
          <a:prstGeom prst="parallelogram">
            <a:avLst/>
          </a:prstGeom>
          <a:solidFill>
            <a:srgbClr val="FFFFFF">
              <a:alpha val="78039"/>
            </a:srgbClr>
          </a:solidFill>
        </p:spPr>
        <p:txBody>
          <a:bodyPr anchor="ctr"/>
          <a:lstStyle>
            <a:lvl1pPr algn="r">
              <a:defRPr/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4" name="Textplatzhalter 9">
            <a:extLst>
              <a:ext uri="{FF2B5EF4-FFF2-40B4-BE49-F238E27FC236}">
                <a16:creationId xmlns:a16="http://schemas.microsoft.com/office/drawing/2014/main" xmlns="" id="{7354D325-36B6-4393-9937-7DD8A6F5FD9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424281" y="811213"/>
            <a:ext cx="8268027" cy="3854450"/>
          </a:xfrm>
        </p:spPr>
        <p:txBody>
          <a:bodyPr/>
          <a:lstStyle>
            <a:lvl1pPr>
              <a:spcAft>
                <a:spcPts val="0"/>
              </a:spcAft>
              <a:defRPr sz="1400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spcAft>
                <a:spcPts val="600"/>
              </a:spcAft>
              <a:defRPr sz="1400">
                <a:solidFill>
                  <a:schemeClr val="bg1"/>
                </a:solidFill>
              </a:defRPr>
            </a:lvl2pPr>
            <a:lvl3pPr>
              <a:lnSpc>
                <a:spcPct val="100000"/>
              </a:lnSpc>
              <a:spcAft>
                <a:spcPts val="600"/>
              </a:spcAft>
              <a:defRPr sz="1400">
                <a:solidFill>
                  <a:schemeClr val="bg1"/>
                </a:solidFill>
              </a:defRPr>
            </a:lvl3pPr>
            <a:lvl4pPr>
              <a:lnSpc>
                <a:spcPct val="100000"/>
              </a:lnSpc>
              <a:spcAft>
                <a:spcPts val="300"/>
              </a:spcAft>
              <a:defRPr sz="1100">
                <a:solidFill>
                  <a:schemeClr val="bg1"/>
                </a:solidFill>
              </a:defRPr>
            </a:lvl4pPr>
            <a:lvl5pPr>
              <a:lnSpc>
                <a:spcPct val="100000"/>
              </a:lnSpc>
              <a:spcAft>
                <a:spcPts val="300"/>
              </a:spcAft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020039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 xmlns="">
        <p15:guide id="1" orient="horz" pos="1620" userDrawn="1">
          <p15:clr>
            <a:srgbClr val="FBAE40"/>
          </p15:clr>
        </p15:guide>
        <p15:guide id="2" pos="2880" userDrawn="1">
          <p15:clr>
            <a:srgbClr val="FBAE40"/>
          </p15:clr>
        </p15:guide>
        <p15:guide id="3" pos="272" userDrawn="1">
          <p15:clr>
            <a:srgbClr val="FBAE40"/>
          </p15:clr>
        </p15:guide>
        <p15:guide id="4" orient="horz" pos="509" userDrawn="1">
          <p15:clr>
            <a:srgbClr val="FBAE40"/>
          </p15:clr>
        </p15:guide>
        <p15:guide id="5" orient="horz" pos="2935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>
            <a:extLst>
              <a:ext uri="{FF2B5EF4-FFF2-40B4-BE49-F238E27FC236}">
                <a16:creationId xmlns:a16="http://schemas.microsoft.com/office/drawing/2014/main" xmlns="" id="{BEE4C139-A0E8-4CD8-861F-728341978709}"/>
              </a:ext>
            </a:extLst>
          </p:cNvPr>
          <p:cNvSpPr/>
          <p:nvPr userDrawn="1"/>
        </p:nvSpPr>
        <p:spPr>
          <a:xfrm>
            <a:off x="-57150" y="0"/>
            <a:ext cx="9213851" cy="5143500"/>
          </a:xfrm>
          <a:prstGeom prst="rect">
            <a:avLst/>
          </a:prstGeom>
          <a:solidFill>
            <a:srgbClr val="FFFF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>
              <a:solidFill>
                <a:srgbClr val="344046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xmlns="" id="{5C549A9E-72E4-453D-A969-18030D094C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142874" y="160807"/>
            <a:ext cx="7843838" cy="408888"/>
          </a:xfrm>
          <a:prstGeom prst="parallelogram">
            <a:avLst/>
          </a:prstGeom>
          <a:solidFill>
            <a:schemeClr val="accent1">
              <a:lumMod val="75000"/>
              <a:alpha val="78039"/>
            </a:schemeClr>
          </a:solidFill>
        </p:spPr>
        <p:txBody>
          <a:bodyPr anchor="ctr"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4" name="Textplatzhalter 9">
            <a:extLst>
              <a:ext uri="{FF2B5EF4-FFF2-40B4-BE49-F238E27FC236}">
                <a16:creationId xmlns:a16="http://schemas.microsoft.com/office/drawing/2014/main" xmlns="" id="{7354D325-36B6-4393-9937-7DD8A6F5FD9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424282" y="957263"/>
            <a:ext cx="8290060" cy="3708399"/>
          </a:xfrm>
        </p:spPr>
        <p:txBody>
          <a:bodyPr/>
          <a:lstStyle>
            <a:lvl1pPr>
              <a:spcAft>
                <a:spcPts val="0"/>
              </a:spcAft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Aft>
                <a:spcPts val="600"/>
              </a:spcAft>
              <a:defRPr sz="14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Aft>
                <a:spcPts val="600"/>
              </a:spcAft>
              <a:defRPr sz="14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Aft>
                <a:spcPts val="300"/>
              </a:spcAft>
              <a:defRPr sz="11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Aft>
                <a:spcPts val="300"/>
              </a:spcAft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xmlns="" id="{B4A9AF9E-2473-446B-A756-D2E26855994C}"/>
              </a:ext>
            </a:extLst>
          </p:cNvPr>
          <p:cNvSpPr txBox="1"/>
          <p:nvPr userDrawn="1"/>
        </p:nvSpPr>
        <p:spPr>
          <a:xfrm>
            <a:off x="350901" y="4724666"/>
            <a:ext cx="453768" cy="23504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fld id="{2B83B8FF-0937-4208-982A-9FA7A90CD738}" type="slidenum">
              <a:rPr lang="de-DE" sz="900" b="0" smtClean="0">
                <a:solidFill>
                  <a:srgbClr val="006D7C"/>
                </a:solidFill>
              </a:rPr>
              <a:t>‹Nr.›</a:t>
            </a:fld>
            <a:endParaRPr lang="de-DE" sz="900" b="0" dirty="0">
              <a:solidFill>
                <a:srgbClr val="006D7C"/>
              </a:solidFill>
            </a:endParaRP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xmlns="" id="{FE5D3318-47EA-4144-9F00-D12AE5CF4D9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34185" y="4608983"/>
            <a:ext cx="1189468" cy="4248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83988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  <p15:guide id="3" pos="272">
          <p15:clr>
            <a:srgbClr val="FBAE40"/>
          </p15:clr>
        </p15:guide>
        <p15:guide id="4" orient="horz" pos="509">
          <p15:clr>
            <a:srgbClr val="FBAE40"/>
          </p15:clr>
        </p15:guide>
        <p15:guide id="5" orient="horz" pos="2935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>
            <a:extLst>
              <a:ext uri="{FF2B5EF4-FFF2-40B4-BE49-F238E27FC236}">
                <a16:creationId xmlns:a16="http://schemas.microsoft.com/office/drawing/2014/main" xmlns="" id="{BEE4C139-A0E8-4CD8-861F-728341978709}"/>
              </a:ext>
            </a:extLst>
          </p:cNvPr>
          <p:cNvSpPr/>
          <p:nvPr userDrawn="1"/>
        </p:nvSpPr>
        <p:spPr>
          <a:xfrm>
            <a:off x="-57150" y="0"/>
            <a:ext cx="9213851" cy="5143500"/>
          </a:xfrm>
          <a:prstGeom prst="rect">
            <a:avLst/>
          </a:prstGeom>
          <a:solidFill>
            <a:srgbClr val="FFFF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>
              <a:solidFill>
                <a:srgbClr val="344046"/>
              </a:solidFill>
            </a:endParaRP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xmlns="" id="{B4A9AF9E-2473-446B-A756-D2E26855994C}"/>
              </a:ext>
            </a:extLst>
          </p:cNvPr>
          <p:cNvSpPr txBox="1"/>
          <p:nvPr userDrawn="1"/>
        </p:nvSpPr>
        <p:spPr>
          <a:xfrm>
            <a:off x="350901" y="4724666"/>
            <a:ext cx="453768" cy="23504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fld id="{2B83B8FF-0937-4208-982A-9FA7A90CD738}" type="slidenum">
              <a:rPr lang="de-DE" sz="900" b="0" smtClean="0">
                <a:solidFill>
                  <a:srgbClr val="006D7C"/>
                </a:solidFill>
              </a:rPr>
              <a:t>‹Nr.›</a:t>
            </a:fld>
            <a:endParaRPr lang="de-DE" sz="900" b="0" dirty="0">
              <a:solidFill>
                <a:srgbClr val="006D7C"/>
              </a:solidFill>
            </a:endParaRP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xmlns="" id="{FE5D3318-47EA-4144-9F00-D12AE5CF4D9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34185" y="4608983"/>
            <a:ext cx="1189468" cy="4248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78601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  <p15:guide id="3" pos="272">
          <p15:clr>
            <a:srgbClr val="FBAE40"/>
          </p15:clr>
        </p15:guide>
        <p15:guide id="4" orient="horz" pos="509">
          <p15:clr>
            <a:srgbClr val="FBAE40"/>
          </p15:clr>
        </p15:guide>
        <p15:guide id="5" orient="horz" pos="2935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xmlns="" id="{5C549A9E-72E4-453D-A969-18030D094C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ctr"/>
          <a:lstStyle>
            <a:lvl1pPr algn="ctr">
              <a:defRPr/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4" name="Textplatzhalter 9">
            <a:extLst>
              <a:ext uri="{FF2B5EF4-FFF2-40B4-BE49-F238E27FC236}">
                <a16:creationId xmlns:a16="http://schemas.microsoft.com/office/drawing/2014/main" xmlns="" id="{7354D325-36B6-4393-9937-7DD8A6F5FD9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424282" y="811213"/>
            <a:ext cx="8505408" cy="3854450"/>
          </a:xfrm>
        </p:spPr>
        <p:txBody>
          <a:bodyPr/>
          <a:lstStyle>
            <a:lvl1pPr>
              <a:spcAft>
                <a:spcPts val="0"/>
              </a:spcAft>
              <a:defRPr sz="1400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spcAft>
                <a:spcPts val="600"/>
              </a:spcAft>
              <a:defRPr sz="1400">
                <a:solidFill>
                  <a:schemeClr val="bg1"/>
                </a:solidFill>
              </a:defRPr>
            </a:lvl2pPr>
            <a:lvl3pPr>
              <a:lnSpc>
                <a:spcPct val="100000"/>
              </a:lnSpc>
              <a:spcAft>
                <a:spcPts val="600"/>
              </a:spcAft>
              <a:defRPr sz="1400">
                <a:solidFill>
                  <a:schemeClr val="bg1"/>
                </a:solidFill>
              </a:defRPr>
            </a:lvl3pPr>
            <a:lvl4pPr>
              <a:lnSpc>
                <a:spcPct val="100000"/>
              </a:lnSpc>
              <a:spcAft>
                <a:spcPts val="300"/>
              </a:spcAft>
              <a:defRPr sz="1100">
                <a:solidFill>
                  <a:schemeClr val="bg1"/>
                </a:solidFill>
              </a:defRPr>
            </a:lvl4pPr>
            <a:lvl5pPr>
              <a:lnSpc>
                <a:spcPct val="100000"/>
              </a:lnSpc>
              <a:spcAft>
                <a:spcPts val="300"/>
              </a:spcAft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529101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Nur Titel_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85788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eck 12">
            <a:extLst>
              <a:ext uri="{FF2B5EF4-FFF2-40B4-BE49-F238E27FC236}">
                <a16:creationId xmlns:a16="http://schemas.microsoft.com/office/drawing/2014/main" xmlns="" id="{3F32DF54-F362-41C9-86DD-2571FFEFE4C2}"/>
              </a:ext>
            </a:extLst>
          </p:cNvPr>
          <p:cNvSpPr/>
          <p:nvPr/>
        </p:nvSpPr>
        <p:spPr>
          <a:xfrm>
            <a:off x="0" y="-986"/>
            <a:ext cx="9144000" cy="5143500"/>
          </a:xfrm>
          <a:prstGeom prst="rect">
            <a:avLst/>
          </a:prstGeom>
          <a:gradFill>
            <a:gsLst>
              <a:gs pos="0">
                <a:schemeClr val="accent1">
                  <a:lumMod val="50000"/>
                </a:schemeClr>
              </a:gs>
              <a:gs pos="98000">
                <a:schemeClr val="accent1"/>
              </a:gs>
            </a:gsLst>
            <a:lin ang="5400000" scaled="1"/>
          </a:gradFill>
          <a:ln w="9525">
            <a:solidFill>
              <a:srgbClr val="5A6E7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8" tIns="45719" rIns="91438" bIns="45719" rtlCol="0" anchor="ctr"/>
          <a:lstStyle/>
          <a:p>
            <a:pPr algn="ctr"/>
            <a:endParaRPr lang="de-DE" sz="1400" dirty="0">
              <a:solidFill>
                <a:srgbClr val="344046"/>
              </a:solidFill>
            </a:endParaRPr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gray">
          <a:xfrm>
            <a:off x="214311" y="160807"/>
            <a:ext cx="8715375" cy="40888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453543" y="797357"/>
            <a:ext cx="8260800" cy="386830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 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marL="1080000" marR="0" lvl="7" indent="-268288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3"/>
              </a:buClr>
              <a:buSzTx/>
              <a:buFont typeface="Arial" panose="020B0604020202020204" pitchFamily="34" charset="0"/>
              <a:buChar char="●"/>
              <a:tabLst/>
              <a:defRPr/>
            </a:pPr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pic>
        <p:nvPicPr>
          <p:cNvPr id="14" name="Picture 2">
            <a:extLst>
              <a:ext uri="{FF2B5EF4-FFF2-40B4-BE49-F238E27FC236}">
                <a16:creationId xmlns:a16="http://schemas.microsoft.com/office/drawing/2014/main" xmlns="" id="{AC62F0C0-8CCC-42ED-AA2B-745528AB167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850660" y="4605643"/>
            <a:ext cx="1172278" cy="4186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feld 3">
            <a:extLst>
              <a:ext uri="{FF2B5EF4-FFF2-40B4-BE49-F238E27FC236}">
                <a16:creationId xmlns:a16="http://schemas.microsoft.com/office/drawing/2014/main" xmlns="" id="{DA66F0E4-D554-48AC-8EC0-1776E1C497AA}"/>
              </a:ext>
            </a:extLst>
          </p:cNvPr>
          <p:cNvSpPr txBox="1"/>
          <p:nvPr/>
        </p:nvSpPr>
        <p:spPr>
          <a:xfrm>
            <a:off x="350901" y="4724666"/>
            <a:ext cx="453768" cy="23504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fld id="{2B83B8FF-0937-4208-982A-9FA7A90CD738}" type="slidenum">
              <a:rPr lang="de-DE" sz="900" b="0" smtClean="0">
                <a:solidFill>
                  <a:srgbClr val="006D7C"/>
                </a:solidFill>
              </a:rPr>
              <a:t>‹Nr.›</a:t>
            </a:fld>
            <a:endParaRPr lang="de-DE" sz="900" b="0" dirty="0">
              <a:solidFill>
                <a:srgbClr val="006D7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251887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1" r:id="rId1"/>
    <p:sldLayoutId id="2147483753" r:id="rId2"/>
    <p:sldLayoutId id="2147483754" r:id="rId3"/>
    <p:sldLayoutId id="2147483752" r:id="rId4"/>
    <p:sldLayoutId id="2147483750" r:id="rId5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914400" rtl="0" eaLnBrk="1" latinLnBrk="0" hangingPunct="1">
        <a:spcBef>
          <a:spcPct val="0"/>
        </a:spcBef>
        <a:buNone/>
        <a:defRPr sz="16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600"/>
        </a:spcBef>
        <a:buFont typeface="Arial" panose="020B0604020202020204" pitchFamily="34" charset="0"/>
        <a:buNone/>
        <a:defRPr sz="1400" kern="1200">
          <a:solidFill>
            <a:schemeClr val="bg1"/>
          </a:solidFill>
          <a:latin typeface="+mn-lt"/>
          <a:ea typeface="+mn-ea"/>
          <a:cs typeface="+mn-cs"/>
        </a:defRPr>
      </a:lvl1pPr>
      <a:lvl2pPr marL="271463" indent="-271463" algn="l" defTabSz="914400" rtl="0" eaLnBrk="1" latinLnBrk="0" hangingPunct="1">
        <a:spcBef>
          <a:spcPts val="600"/>
        </a:spcBef>
        <a:spcAft>
          <a:spcPts val="600"/>
        </a:spcAft>
        <a:buClr>
          <a:schemeClr val="accent3"/>
        </a:buClr>
        <a:buFont typeface="Arial" panose="020B0604020202020204" pitchFamily="34" charset="0"/>
        <a:buChar char="●"/>
        <a:defRPr sz="1400" kern="1200">
          <a:solidFill>
            <a:schemeClr val="bg1"/>
          </a:solidFill>
          <a:latin typeface="+mn-lt"/>
          <a:ea typeface="+mn-ea"/>
          <a:cs typeface="+mn-cs"/>
        </a:defRPr>
      </a:lvl2pPr>
      <a:lvl3pPr marL="541338" indent="-269875" algn="l" defTabSz="914400" rtl="0" eaLnBrk="1" latinLnBrk="0" hangingPunct="1">
        <a:spcBef>
          <a:spcPts val="600"/>
        </a:spcBef>
        <a:spcAft>
          <a:spcPts val="600"/>
        </a:spcAft>
        <a:buClr>
          <a:schemeClr val="accent3"/>
        </a:buClr>
        <a:buFont typeface="Arial" panose="020B0604020202020204" pitchFamily="34" charset="0"/>
        <a:buChar char="●"/>
        <a:defRPr sz="1400" kern="1200">
          <a:solidFill>
            <a:schemeClr val="bg1"/>
          </a:solidFill>
          <a:latin typeface="+mn-lt"/>
          <a:ea typeface="+mn-ea"/>
          <a:cs typeface="+mn-cs"/>
        </a:defRPr>
      </a:lvl3pPr>
      <a:lvl4pPr marL="804863" indent="-263525" algn="l" defTabSz="914400" rtl="0" eaLnBrk="1" latinLnBrk="0" hangingPunct="1">
        <a:spcBef>
          <a:spcPts val="600"/>
        </a:spcBef>
        <a:spcAft>
          <a:spcPts val="300"/>
        </a:spcAft>
        <a:buClr>
          <a:schemeClr val="accent3"/>
        </a:buClr>
        <a:buFont typeface="Arial" panose="020B0604020202020204" pitchFamily="34" charset="0"/>
        <a:buChar char="●"/>
        <a:defRPr sz="1100" kern="1200">
          <a:solidFill>
            <a:schemeClr val="bg1"/>
          </a:solidFill>
          <a:latin typeface="+mn-lt"/>
          <a:ea typeface="+mn-ea"/>
          <a:cs typeface="+mn-cs"/>
        </a:defRPr>
      </a:lvl4pPr>
      <a:lvl5pPr marL="1080000" indent="-269875" algn="l" defTabSz="914400" rtl="0" eaLnBrk="1" latinLnBrk="0" hangingPunct="1">
        <a:spcBef>
          <a:spcPts val="600"/>
        </a:spcBef>
        <a:spcAft>
          <a:spcPts val="300"/>
        </a:spcAft>
        <a:buClr>
          <a:schemeClr val="accent3"/>
        </a:buClr>
        <a:buFont typeface="Arial" panose="020B0604020202020204" pitchFamily="34" charset="0"/>
        <a:buChar char="●"/>
        <a:defRPr sz="1100" kern="1200">
          <a:solidFill>
            <a:schemeClr val="bg1"/>
          </a:solidFill>
          <a:latin typeface="+mn-lt"/>
          <a:ea typeface="+mn-ea"/>
          <a:cs typeface="+mn-cs"/>
        </a:defRPr>
      </a:lvl5pPr>
      <a:lvl6pPr marL="1080000" indent="-268288" algn="l" defTabSz="914400" rtl="0" eaLnBrk="1" latinLnBrk="0" hangingPunct="1">
        <a:spcBef>
          <a:spcPts val="600"/>
        </a:spcBef>
        <a:spcAft>
          <a:spcPts val="300"/>
        </a:spcAft>
        <a:buClr>
          <a:schemeClr val="accent3"/>
        </a:buClr>
        <a:buFont typeface="Arial" panose="020B0604020202020204" pitchFamily="34" charset="0"/>
        <a:buChar char="●"/>
        <a:defRPr sz="1100" kern="1200">
          <a:solidFill>
            <a:schemeClr val="bg1"/>
          </a:solidFill>
          <a:latin typeface="+mn-lt"/>
          <a:ea typeface="+mn-ea"/>
          <a:cs typeface="+mn-cs"/>
        </a:defRPr>
      </a:lvl6pPr>
      <a:lvl7pPr marL="1080000" indent="-268288" algn="l" defTabSz="914400" rtl="0" eaLnBrk="1" latinLnBrk="0" hangingPunct="1">
        <a:spcBef>
          <a:spcPts val="600"/>
        </a:spcBef>
        <a:spcAft>
          <a:spcPts val="300"/>
        </a:spcAft>
        <a:buClr>
          <a:schemeClr val="accent3"/>
        </a:buClr>
        <a:buFont typeface="Arial" panose="020B0604020202020204" pitchFamily="34" charset="0"/>
        <a:buChar char="●"/>
        <a:defRPr sz="1100" kern="1200" baseline="0">
          <a:solidFill>
            <a:schemeClr val="bg1"/>
          </a:solidFill>
          <a:latin typeface="+mn-lt"/>
          <a:ea typeface="+mn-ea"/>
          <a:cs typeface="+mn-cs"/>
        </a:defRPr>
      </a:lvl7pPr>
      <a:lvl8pPr marL="811712" marR="0" indent="0" algn="l" defTabSz="914400" rtl="0" eaLnBrk="1" fontAlgn="auto" latinLnBrk="0" hangingPunct="1">
        <a:lnSpc>
          <a:spcPct val="100000"/>
        </a:lnSpc>
        <a:spcBef>
          <a:spcPts val="600"/>
        </a:spcBef>
        <a:spcAft>
          <a:spcPts val="300"/>
        </a:spcAft>
        <a:buClr>
          <a:schemeClr val="accent3"/>
        </a:buClr>
        <a:buSzTx/>
        <a:buFont typeface="Arial" panose="020B0604020202020204" pitchFamily="34" charset="0"/>
        <a:buNone/>
        <a:tabLst/>
        <a:defRPr sz="1100" kern="1200" baseline="0">
          <a:solidFill>
            <a:schemeClr val="bg1"/>
          </a:solidFill>
          <a:latin typeface="+mn-lt"/>
          <a:ea typeface="+mn-ea"/>
          <a:cs typeface="+mn-cs"/>
        </a:defRPr>
      </a:lvl8pPr>
      <a:lvl9pPr marL="1080000" indent="-268288" algn="l" defTabSz="914400" rtl="0" eaLnBrk="1" latinLnBrk="0" hangingPunct="1">
        <a:spcBef>
          <a:spcPts val="600"/>
        </a:spcBef>
        <a:spcAft>
          <a:spcPts val="300"/>
        </a:spcAft>
        <a:buClr>
          <a:schemeClr val="accent3"/>
        </a:buClr>
        <a:buFont typeface="Arial" panose="020B0604020202020204" pitchFamily="34" charset="0"/>
        <a:buChar char="●"/>
        <a:defRPr sz="1100" kern="1200" baseline="0">
          <a:solidFill>
            <a:schemeClr val="bg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1620" userDrawn="1">
          <p15:clr>
            <a:srgbClr val="F26B43"/>
          </p15:clr>
        </p15:guide>
        <p15:guide id="2" pos="288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13" Type="http://schemas.openxmlformats.org/officeDocument/2006/relationships/image" Target="../media/image17.png"/><Relationship Id="rId18" Type="http://schemas.openxmlformats.org/officeDocument/2006/relationships/image" Target="../media/image22.png"/><Relationship Id="rId26" Type="http://schemas.openxmlformats.org/officeDocument/2006/relationships/image" Target="../media/image30.png"/><Relationship Id="rId39" Type="http://schemas.openxmlformats.org/officeDocument/2006/relationships/image" Target="../media/image43.png"/><Relationship Id="rId3" Type="http://schemas.openxmlformats.org/officeDocument/2006/relationships/image" Target="../media/image7.png"/><Relationship Id="rId21" Type="http://schemas.openxmlformats.org/officeDocument/2006/relationships/image" Target="../media/image25.png"/><Relationship Id="rId34" Type="http://schemas.openxmlformats.org/officeDocument/2006/relationships/image" Target="../media/image38.png"/><Relationship Id="rId42" Type="http://schemas.openxmlformats.org/officeDocument/2006/relationships/image" Target="../media/image46.png"/><Relationship Id="rId47" Type="http://schemas.openxmlformats.org/officeDocument/2006/relationships/image" Target="../media/image51.png"/><Relationship Id="rId50" Type="http://schemas.openxmlformats.org/officeDocument/2006/relationships/image" Target="../media/image54.png"/><Relationship Id="rId7" Type="http://schemas.openxmlformats.org/officeDocument/2006/relationships/image" Target="../media/image11.png"/><Relationship Id="rId12" Type="http://schemas.openxmlformats.org/officeDocument/2006/relationships/image" Target="../media/image16.png"/><Relationship Id="rId17" Type="http://schemas.openxmlformats.org/officeDocument/2006/relationships/image" Target="../media/image21.png"/><Relationship Id="rId25" Type="http://schemas.openxmlformats.org/officeDocument/2006/relationships/image" Target="../media/image29.png"/><Relationship Id="rId33" Type="http://schemas.openxmlformats.org/officeDocument/2006/relationships/image" Target="../media/image37.png"/><Relationship Id="rId38" Type="http://schemas.openxmlformats.org/officeDocument/2006/relationships/image" Target="../media/image42.png"/><Relationship Id="rId46" Type="http://schemas.openxmlformats.org/officeDocument/2006/relationships/image" Target="../media/image50.png"/><Relationship Id="rId2" Type="http://schemas.openxmlformats.org/officeDocument/2006/relationships/image" Target="../media/image6.png"/><Relationship Id="rId16" Type="http://schemas.openxmlformats.org/officeDocument/2006/relationships/image" Target="../media/image20.png"/><Relationship Id="rId20" Type="http://schemas.openxmlformats.org/officeDocument/2006/relationships/image" Target="../media/image24.png"/><Relationship Id="rId29" Type="http://schemas.openxmlformats.org/officeDocument/2006/relationships/image" Target="../media/image33.png"/><Relationship Id="rId41" Type="http://schemas.openxmlformats.org/officeDocument/2006/relationships/image" Target="../media/image45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0.png"/><Relationship Id="rId11" Type="http://schemas.openxmlformats.org/officeDocument/2006/relationships/image" Target="../media/image15.png"/><Relationship Id="rId24" Type="http://schemas.openxmlformats.org/officeDocument/2006/relationships/image" Target="../media/image28.png"/><Relationship Id="rId32" Type="http://schemas.openxmlformats.org/officeDocument/2006/relationships/image" Target="../media/image36.png"/><Relationship Id="rId37" Type="http://schemas.openxmlformats.org/officeDocument/2006/relationships/image" Target="../media/image41.png"/><Relationship Id="rId40" Type="http://schemas.openxmlformats.org/officeDocument/2006/relationships/image" Target="../media/image44.png"/><Relationship Id="rId45" Type="http://schemas.openxmlformats.org/officeDocument/2006/relationships/image" Target="../media/image49.png"/><Relationship Id="rId5" Type="http://schemas.openxmlformats.org/officeDocument/2006/relationships/image" Target="../media/image9.png"/><Relationship Id="rId15" Type="http://schemas.openxmlformats.org/officeDocument/2006/relationships/image" Target="../media/image19.png"/><Relationship Id="rId23" Type="http://schemas.openxmlformats.org/officeDocument/2006/relationships/image" Target="../media/image27.png"/><Relationship Id="rId28" Type="http://schemas.openxmlformats.org/officeDocument/2006/relationships/image" Target="../media/image32.png"/><Relationship Id="rId36" Type="http://schemas.openxmlformats.org/officeDocument/2006/relationships/image" Target="../media/image40.png"/><Relationship Id="rId49" Type="http://schemas.openxmlformats.org/officeDocument/2006/relationships/image" Target="../media/image53.png"/><Relationship Id="rId10" Type="http://schemas.openxmlformats.org/officeDocument/2006/relationships/image" Target="../media/image14.png"/><Relationship Id="rId19" Type="http://schemas.openxmlformats.org/officeDocument/2006/relationships/image" Target="../media/image23.png"/><Relationship Id="rId31" Type="http://schemas.openxmlformats.org/officeDocument/2006/relationships/image" Target="../media/image35.png"/><Relationship Id="rId44" Type="http://schemas.openxmlformats.org/officeDocument/2006/relationships/image" Target="../media/image48.png"/><Relationship Id="rId52" Type="http://schemas.openxmlformats.org/officeDocument/2006/relationships/image" Target="../media/image56.png"/><Relationship Id="rId4" Type="http://schemas.openxmlformats.org/officeDocument/2006/relationships/image" Target="../media/image8.png"/><Relationship Id="rId9" Type="http://schemas.openxmlformats.org/officeDocument/2006/relationships/image" Target="../media/image13.png"/><Relationship Id="rId14" Type="http://schemas.openxmlformats.org/officeDocument/2006/relationships/image" Target="../media/image18.png"/><Relationship Id="rId22" Type="http://schemas.openxmlformats.org/officeDocument/2006/relationships/image" Target="../media/image26.png"/><Relationship Id="rId27" Type="http://schemas.openxmlformats.org/officeDocument/2006/relationships/image" Target="../media/image31.png"/><Relationship Id="rId30" Type="http://schemas.openxmlformats.org/officeDocument/2006/relationships/image" Target="../media/image34.png"/><Relationship Id="rId35" Type="http://schemas.openxmlformats.org/officeDocument/2006/relationships/image" Target="../media/image39.png"/><Relationship Id="rId43" Type="http://schemas.openxmlformats.org/officeDocument/2006/relationships/image" Target="../media/image47.png"/><Relationship Id="rId48" Type="http://schemas.openxmlformats.org/officeDocument/2006/relationships/image" Target="../media/image52.png"/><Relationship Id="rId8" Type="http://schemas.openxmlformats.org/officeDocument/2006/relationships/image" Target="../media/image12.png"/><Relationship Id="rId51" Type="http://schemas.openxmlformats.org/officeDocument/2006/relationships/image" Target="../media/image5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>
            <a:extLst>
              <a:ext uri="{FF2B5EF4-FFF2-40B4-BE49-F238E27FC236}">
                <a16:creationId xmlns:a16="http://schemas.microsoft.com/office/drawing/2014/main" xmlns="" id="{7BACEB62-A5F2-4EDB-B555-AC39528C3178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328522"/>
            <a:ext cx="9144000" cy="6096000"/>
          </a:xfrm>
          <a:prstGeom prst="rect">
            <a:avLst/>
          </a:prstGeom>
        </p:spPr>
      </p:pic>
      <p:sp>
        <p:nvSpPr>
          <p:cNvPr id="10" name="Rechteck 9">
            <a:extLst>
              <a:ext uri="{FF2B5EF4-FFF2-40B4-BE49-F238E27FC236}">
                <a16:creationId xmlns:a16="http://schemas.microsoft.com/office/drawing/2014/main" xmlns="" id="{27E267DE-CE9A-44AF-9035-9A5E009AC6F6}"/>
              </a:ext>
            </a:extLst>
          </p:cNvPr>
          <p:cNvSpPr/>
          <p:nvPr/>
        </p:nvSpPr>
        <p:spPr>
          <a:xfrm>
            <a:off x="0" y="1"/>
            <a:ext cx="9148546" cy="5143499"/>
          </a:xfrm>
          <a:prstGeom prst="rect">
            <a:avLst/>
          </a:prstGeom>
          <a:solidFill>
            <a:srgbClr val="006D7C">
              <a:alpha val="30196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>
              <a:solidFill>
                <a:srgbClr val="344046"/>
              </a:solidFill>
            </a:endParaRPr>
          </a:p>
        </p:txBody>
      </p:sp>
      <p:sp>
        <p:nvSpPr>
          <p:cNvPr id="3" name="Textplatzhalter 6"/>
          <p:cNvSpPr txBox="1">
            <a:spLocks/>
          </p:cNvSpPr>
          <p:nvPr/>
        </p:nvSpPr>
        <p:spPr>
          <a:xfrm>
            <a:off x="214313" y="3716488"/>
            <a:ext cx="5489800" cy="565022"/>
          </a:xfrm>
          <a:prstGeom prst="rect">
            <a:avLst/>
          </a:prstGeom>
          <a:noFill/>
        </p:spPr>
        <p:txBody>
          <a:bodyPr/>
          <a:lstStyle>
            <a:lvl1pPr marL="0" indent="0" algn="l" defTabSz="914400" rtl="0" eaLnBrk="1" latinLnBrk="0" hangingPunct="1">
              <a:spcBef>
                <a:spcPts val="6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1463" indent="-271463" algn="l" defTabSz="91440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accent3"/>
              </a:buClr>
              <a:buFont typeface="Arial" panose="020B0604020202020204" pitchFamily="34" charset="0"/>
              <a:buChar char="●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269875" algn="l" defTabSz="91440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accent3"/>
              </a:buClr>
              <a:buFont typeface="Arial" panose="020B0604020202020204" pitchFamily="34" charset="0"/>
              <a:buChar char="●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4863" indent="-263525" algn="l" defTabSz="914400" rtl="0" eaLnBrk="1" latinLnBrk="0" hangingPunct="1">
              <a:spcBef>
                <a:spcPts val="600"/>
              </a:spcBef>
              <a:spcAft>
                <a:spcPts val="300"/>
              </a:spcAft>
              <a:buClr>
                <a:schemeClr val="accent3"/>
              </a:buClr>
              <a:buFont typeface="Arial" panose="020B0604020202020204" pitchFamily="34" charset="0"/>
              <a:buChar char="●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0000" indent="-269875" algn="l" defTabSz="914400" rtl="0" eaLnBrk="1" latinLnBrk="0" hangingPunct="1">
              <a:spcBef>
                <a:spcPts val="600"/>
              </a:spcBef>
              <a:spcAft>
                <a:spcPts val="300"/>
              </a:spcAft>
              <a:buClr>
                <a:schemeClr val="accent3"/>
              </a:buClr>
              <a:buFont typeface="Arial" panose="020B0604020202020204" pitchFamily="34" charset="0"/>
              <a:buChar char="●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268288" algn="l" defTabSz="914400" rtl="0" eaLnBrk="1" latinLnBrk="0" hangingPunct="1">
              <a:spcBef>
                <a:spcPts val="600"/>
              </a:spcBef>
              <a:spcAft>
                <a:spcPts val="300"/>
              </a:spcAft>
              <a:buClr>
                <a:schemeClr val="accent3"/>
              </a:buClr>
              <a:buFont typeface="Arial" panose="020B0604020202020204" pitchFamily="34" charset="0"/>
              <a:buChar char="●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80000" indent="-268288" algn="l" defTabSz="914400" rtl="0" eaLnBrk="1" latinLnBrk="0" hangingPunct="1">
              <a:spcBef>
                <a:spcPts val="600"/>
              </a:spcBef>
              <a:spcAft>
                <a:spcPts val="300"/>
              </a:spcAft>
              <a:buClr>
                <a:schemeClr val="accent3"/>
              </a:buClr>
              <a:buFont typeface="Arial" panose="020B0604020202020204" pitchFamily="34" charset="0"/>
              <a:buChar char="●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11712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>
                <a:schemeClr val="accent3"/>
              </a:buClr>
              <a:buSzTx/>
              <a:buFont typeface="Arial" panose="020B0604020202020204" pitchFamily="34" charset="0"/>
              <a:buNone/>
              <a:tabLst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0" indent="-268288" algn="l" defTabSz="914400" rtl="0" eaLnBrk="1" latinLnBrk="0" hangingPunct="1">
              <a:spcBef>
                <a:spcPts val="600"/>
              </a:spcBef>
              <a:spcAft>
                <a:spcPts val="300"/>
              </a:spcAft>
              <a:buClr>
                <a:schemeClr val="accent3"/>
              </a:buClr>
              <a:buFont typeface="Arial" panose="020B0604020202020204" pitchFamily="34" charset="0"/>
              <a:buChar char="●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5000"/>
              </a:lnSpc>
            </a:pPr>
            <a:r>
              <a:rPr lang="de-DE" sz="2400" b="1" dirty="0" err="1" smtClean="0">
                <a:solidFill>
                  <a:schemeClr val="bg1"/>
                </a:solidFill>
              </a:rPr>
              <a:t>SvelteJS</a:t>
            </a:r>
            <a:endParaRPr lang="de-DE" sz="2400" b="1" dirty="0">
              <a:solidFill>
                <a:schemeClr val="bg1"/>
              </a:solidFill>
            </a:endParaRP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xmlns="" id="{7ECD2315-DA89-4CCF-BE43-1B315661514F}"/>
              </a:ext>
            </a:extLst>
          </p:cNvPr>
          <p:cNvSpPr txBox="1"/>
          <p:nvPr/>
        </p:nvSpPr>
        <p:spPr>
          <a:xfrm>
            <a:off x="214312" y="4209318"/>
            <a:ext cx="5489801" cy="380244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de-DE" sz="1600" dirty="0" smtClean="0">
                <a:solidFill>
                  <a:schemeClr val="bg1"/>
                </a:solidFill>
              </a:rPr>
              <a:t>Finn Zentgraf</a:t>
            </a:r>
            <a:endParaRPr lang="de-DE" sz="1600" dirty="0">
              <a:solidFill>
                <a:schemeClr val="bg1"/>
              </a:solidFill>
            </a:endParaRPr>
          </a:p>
        </p:txBody>
      </p:sp>
      <p:pic>
        <p:nvPicPr>
          <p:cNvPr id="8" name="Picture 2">
            <a:extLst>
              <a:ext uri="{FF2B5EF4-FFF2-40B4-BE49-F238E27FC236}">
                <a16:creationId xmlns:a16="http://schemas.microsoft.com/office/drawing/2014/main" xmlns="" id="{20EC137B-C1DC-411B-B86D-CF51169CB27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850660" y="4605643"/>
            <a:ext cx="1172278" cy="4186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25407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el 1">
            <a:extLst>
              <a:ext uri="{FF2B5EF4-FFF2-40B4-BE49-F238E27FC236}">
                <a16:creationId xmlns:a16="http://schemas.microsoft.com/office/drawing/2014/main" xmlns="" id="{02E1418F-13E9-4DD1-A436-757FB376FACC}"/>
              </a:ext>
            </a:extLst>
          </p:cNvPr>
          <p:cNvSpPr txBox="1">
            <a:spLocks/>
          </p:cNvSpPr>
          <p:nvPr/>
        </p:nvSpPr>
        <p:spPr>
          <a:xfrm>
            <a:off x="214313" y="-162797"/>
            <a:ext cx="8715375" cy="408888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spcBef>
                <a:spcPct val="0"/>
              </a:spcBef>
              <a:buNone/>
              <a:defRPr sz="20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endParaRPr lang="de-DE" sz="1800" dirty="0">
              <a:solidFill>
                <a:schemeClr val="accent1"/>
              </a:solidFill>
            </a:endParaRPr>
          </a:p>
        </p:txBody>
      </p:sp>
      <p:sp>
        <p:nvSpPr>
          <p:cNvPr id="23" name="Titel 22">
            <a:extLst>
              <a:ext uri="{FF2B5EF4-FFF2-40B4-BE49-F238E27FC236}">
                <a16:creationId xmlns:a16="http://schemas.microsoft.com/office/drawing/2014/main" xmlns="" id="{0F8728F2-FADF-46A9-8EB9-8EDE7B5674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>
                <a:cs typeface="Calibri" pitchFamily="34" charset="0"/>
              </a:rPr>
              <a:t>Reactivity</a:t>
            </a:r>
            <a:r>
              <a:rPr lang="de-DE" dirty="0" smtClean="0">
                <a:cs typeface="Calibri" pitchFamily="34" charset="0"/>
              </a:rPr>
              <a:t> </a:t>
            </a:r>
            <a:r>
              <a:rPr lang="de-DE" b="0" dirty="0">
                <a:cs typeface="Calibri" pitchFamily="34" charset="0"/>
              </a:rPr>
              <a:t>I</a:t>
            </a:r>
            <a:r>
              <a:rPr lang="de-DE" dirty="0">
                <a:cs typeface="Calibri" pitchFamily="34" charset="0"/>
              </a:rPr>
              <a:t> </a:t>
            </a:r>
            <a:r>
              <a:rPr lang="de-DE" dirty="0" err="1" smtClean="0">
                <a:cs typeface="Calibri" pitchFamily="34" charset="0"/>
              </a:rPr>
              <a:t>w</a:t>
            </a:r>
            <a:r>
              <a:rPr lang="de-DE" b="0" dirty="0" err="1" smtClean="0">
                <a:cs typeface="Calibri" pitchFamily="34" charset="0"/>
              </a:rPr>
              <a:t>here</a:t>
            </a:r>
            <a:r>
              <a:rPr lang="de-DE" b="0" dirty="0" smtClean="0">
                <a:cs typeface="Calibri" pitchFamily="34" charset="0"/>
              </a:rPr>
              <a:t> </a:t>
            </a:r>
            <a:r>
              <a:rPr lang="de-DE" b="0" dirty="0" err="1" smtClean="0">
                <a:cs typeface="Calibri" pitchFamily="34" charset="0"/>
              </a:rPr>
              <a:t>we</a:t>
            </a:r>
            <a:r>
              <a:rPr lang="de-DE" b="0" dirty="0" smtClean="0">
                <a:cs typeface="Calibri" pitchFamily="34" charset="0"/>
              </a:rPr>
              <a:t> </a:t>
            </a:r>
            <a:r>
              <a:rPr lang="de-DE" b="0" dirty="0" err="1" smtClean="0">
                <a:cs typeface="Calibri" pitchFamily="34" charset="0"/>
              </a:rPr>
              <a:t>are</a:t>
            </a:r>
            <a:endParaRPr lang="de-DE" b="0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xmlns="" id="{EFD70B09-D19F-48AE-BC9B-E7FCFD3657A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4282" y="808039"/>
            <a:ext cx="8505408" cy="3857624"/>
          </a:xfrm>
        </p:spPr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200919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el 1">
            <a:extLst>
              <a:ext uri="{FF2B5EF4-FFF2-40B4-BE49-F238E27FC236}">
                <a16:creationId xmlns:a16="http://schemas.microsoft.com/office/drawing/2014/main" xmlns="" id="{02E1418F-13E9-4DD1-A436-757FB376FACC}"/>
              </a:ext>
            </a:extLst>
          </p:cNvPr>
          <p:cNvSpPr txBox="1">
            <a:spLocks/>
          </p:cNvSpPr>
          <p:nvPr/>
        </p:nvSpPr>
        <p:spPr>
          <a:xfrm>
            <a:off x="214313" y="-162797"/>
            <a:ext cx="8715375" cy="408888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spcBef>
                <a:spcPct val="0"/>
              </a:spcBef>
              <a:buNone/>
              <a:defRPr sz="20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endParaRPr lang="de-DE" sz="1800" dirty="0">
              <a:solidFill>
                <a:schemeClr val="accent1"/>
              </a:solidFill>
            </a:endParaRPr>
          </a:p>
        </p:txBody>
      </p:sp>
      <p:sp>
        <p:nvSpPr>
          <p:cNvPr id="23" name="Titel 22">
            <a:extLst>
              <a:ext uri="{FF2B5EF4-FFF2-40B4-BE49-F238E27FC236}">
                <a16:creationId xmlns:a16="http://schemas.microsoft.com/office/drawing/2014/main" xmlns="" id="{0F8728F2-FADF-46A9-8EB9-8EDE7B5674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>
                <a:cs typeface="Calibri" pitchFamily="34" charset="0"/>
              </a:rPr>
              <a:t>ReactJS</a:t>
            </a:r>
            <a:r>
              <a:rPr lang="de-DE" dirty="0" smtClean="0">
                <a:cs typeface="Calibri" pitchFamily="34" charset="0"/>
              </a:rPr>
              <a:t> </a:t>
            </a:r>
            <a:r>
              <a:rPr lang="de-DE" b="0" dirty="0">
                <a:cs typeface="Calibri" pitchFamily="34" charset="0"/>
              </a:rPr>
              <a:t>I</a:t>
            </a:r>
            <a:r>
              <a:rPr lang="de-DE" dirty="0">
                <a:cs typeface="Calibri" pitchFamily="34" charset="0"/>
              </a:rPr>
              <a:t> </a:t>
            </a:r>
            <a:r>
              <a:rPr lang="de-DE" b="0" dirty="0" err="1" smtClean="0">
                <a:cs typeface="Calibri" pitchFamily="34" charset="0"/>
              </a:rPr>
              <a:t>how</a:t>
            </a:r>
            <a:r>
              <a:rPr lang="de-DE" b="0" dirty="0" smtClean="0">
                <a:cs typeface="Calibri" pitchFamily="34" charset="0"/>
              </a:rPr>
              <a:t> </a:t>
            </a:r>
            <a:r>
              <a:rPr lang="de-DE" b="0" dirty="0" err="1" smtClean="0">
                <a:cs typeface="Calibri" pitchFamily="34" charset="0"/>
              </a:rPr>
              <a:t>virtual</a:t>
            </a:r>
            <a:r>
              <a:rPr lang="de-DE" b="0" dirty="0" smtClean="0">
                <a:cs typeface="Calibri" pitchFamily="34" charset="0"/>
              </a:rPr>
              <a:t> DOM </a:t>
            </a:r>
            <a:r>
              <a:rPr lang="de-DE" b="0" dirty="0" err="1" smtClean="0">
                <a:cs typeface="Calibri" pitchFamily="34" charset="0"/>
              </a:rPr>
              <a:t>libraries</a:t>
            </a:r>
            <a:r>
              <a:rPr lang="de-DE" b="0" dirty="0" smtClean="0">
                <a:cs typeface="Calibri" pitchFamily="34" charset="0"/>
              </a:rPr>
              <a:t> </a:t>
            </a:r>
            <a:r>
              <a:rPr lang="de-DE" b="0" dirty="0" err="1" smtClean="0">
                <a:cs typeface="Calibri" pitchFamily="34" charset="0"/>
              </a:rPr>
              <a:t>work</a:t>
            </a:r>
            <a:endParaRPr lang="de-DE" b="0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xmlns="" id="{EFD70B09-D19F-48AE-BC9B-E7FCFD3657A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4282" y="808039"/>
            <a:ext cx="8505408" cy="3857624"/>
          </a:xfrm>
        </p:spPr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48813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el 1">
            <a:extLst>
              <a:ext uri="{FF2B5EF4-FFF2-40B4-BE49-F238E27FC236}">
                <a16:creationId xmlns:a16="http://schemas.microsoft.com/office/drawing/2014/main" xmlns="" id="{02E1418F-13E9-4DD1-A436-757FB376FACC}"/>
              </a:ext>
            </a:extLst>
          </p:cNvPr>
          <p:cNvSpPr txBox="1">
            <a:spLocks/>
          </p:cNvSpPr>
          <p:nvPr/>
        </p:nvSpPr>
        <p:spPr>
          <a:xfrm>
            <a:off x="214313" y="-162797"/>
            <a:ext cx="8715375" cy="408888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spcBef>
                <a:spcPct val="0"/>
              </a:spcBef>
              <a:buNone/>
              <a:defRPr sz="20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endParaRPr lang="de-DE" sz="1800" dirty="0">
              <a:solidFill>
                <a:schemeClr val="accent1"/>
              </a:solidFill>
            </a:endParaRPr>
          </a:p>
        </p:txBody>
      </p:sp>
      <p:sp>
        <p:nvSpPr>
          <p:cNvPr id="23" name="Titel 22">
            <a:extLst>
              <a:ext uri="{FF2B5EF4-FFF2-40B4-BE49-F238E27FC236}">
                <a16:creationId xmlns:a16="http://schemas.microsoft.com/office/drawing/2014/main" xmlns="" id="{0F8728F2-FADF-46A9-8EB9-8EDE7B5674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>
                <a:cs typeface="Calibri" pitchFamily="34" charset="0"/>
              </a:rPr>
              <a:t>ReactJS</a:t>
            </a:r>
            <a:r>
              <a:rPr lang="de-DE" dirty="0" smtClean="0">
                <a:cs typeface="Calibri" pitchFamily="34" charset="0"/>
              </a:rPr>
              <a:t> </a:t>
            </a:r>
            <a:r>
              <a:rPr lang="de-DE" b="0" dirty="0">
                <a:cs typeface="Calibri" pitchFamily="34" charset="0"/>
              </a:rPr>
              <a:t>I</a:t>
            </a:r>
            <a:r>
              <a:rPr lang="de-DE" dirty="0">
                <a:cs typeface="Calibri" pitchFamily="34" charset="0"/>
              </a:rPr>
              <a:t> </a:t>
            </a:r>
            <a:r>
              <a:rPr lang="de-DE" b="0" dirty="0" err="1" smtClean="0">
                <a:cs typeface="Calibri" pitchFamily="34" charset="0"/>
              </a:rPr>
              <a:t>how</a:t>
            </a:r>
            <a:r>
              <a:rPr lang="de-DE" b="0" dirty="0" smtClean="0">
                <a:cs typeface="Calibri" pitchFamily="34" charset="0"/>
              </a:rPr>
              <a:t> </a:t>
            </a:r>
            <a:r>
              <a:rPr lang="de-DE" b="0" dirty="0" err="1" smtClean="0">
                <a:cs typeface="Calibri" pitchFamily="34" charset="0"/>
              </a:rPr>
              <a:t>virtual</a:t>
            </a:r>
            <a:r>
              <a:rPr lang="de-DE" b="0" dirty="0" smtClean="0">
                <a:cs typeface="Calibri" pitchFamily="34" charset="0"/>
              </a:rPr>
              <a:t> DOM </a:t>
            </a:r>
            <a:r>
              <a:rPr lang="de-DE" b="0" dirty="0" err="1" smtClean="0">
                <a:cs typeface="Calibri" pitchFamily="34" charset="0"/>
              </a:rPr>
              <a:t>libraries</a:t>
            </a:r>
            <a:r>
              <a:rPr lang="de-DE" b="0" dirty="0" smtClean="0">
                <a:cs typeface="Calibri" pitchFamily="34" charset="0"/>
              </a:rPr>
              <a:t> </a:t>
            </a:r>
            <a:r>
              <a:rPr lang="de-DE" b="0" dirty="0" err="1" smtClean="0">
                <a:cs typeface="Calibri" pitchFamily="34" charset="0"/>
              </a:rPr>
              <a:t>work</a:t>
            </a:r>
            <a:endParaRPr lang="de-DE" b="0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xmlns="" id="{EFD70B09-D19F-48AE-BC9B-E7FCFD3657A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6408" y="1023034"/>
            <a:ext cx="6300541" cy="1440000"/>
          </a:xfrm>
        </p:spPr>
        <p:txBody>
          <a:bodyPr anchor="ctr"/>
          <a:lstStyle/>
          <a:p>
            <a:pPr algn="ctr"/>
            <a:r>
              <a:rPr lang="de-DE" sz="2400" dirty="0" err="1" smtClean="0"/>
              <a:t>Is</a:t>
            </a:r>
            <a:r>
              <a:rPr lang="de-DE" sz="2400" dirty="0" smtClean="0"/>
              <a:t> a </a:t>
            </a:r>
            <a:r>
              <a:rPr lang="de-DE" sz="2400" dirty="0"/>
              <a:t>V</a:t>
            </a:r>
            <a:r>
              <a:rPr lang="de-DE" sz="2400" dirty="0" smtClean="0"/>
              <a:t>irtual DOM fast ?</a:t>
            </a:r>
            <a:endParaRPr lang="de-DE" sz="2400" dirty="0"/>
          </a:p>
        </p:txBody>
      </p:sp>
      <p:sp>
        <p:nvSpPr>
          <p:cNvPr id="5" name="Textplatzhalter 2">
            <a:extLst>
              <a:ext uri="{FF2B5EF4-FFF2-40B4-BE49-F238E27FC236}">
                <a16:creationId xmlns:a16="http://schemas.microsoft.com/office/drawing/2014/main" xmlns="" id="{EFD70B09-D19F-48AE-BC9B-E7FCFD3657AC}"/>
              </a:ext>
            </a:extLst>
          </p:cNvPr>
          <p:cNvSpPr txBox="1">
            <a:spLocks/>
          </p:cNvSpPr>
          <p:nvPr/>
        </p:nvSpPr>
        <p:spPr bwMode="gray">
          <a:xfrm>
            <a:off x="214313" y="2452614"/>
            <a:ext cx="6300541" cy="1440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1463" indent="-271463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3"/>
              </a:buClr>
              <a:buFont typeface="Arial" panose="020B0604020202020204" pitchFamily="34" charset="0"/>
              <a:buChar char="●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2698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3"/>
              </a:buClr>
              <a:buFont typeface="Arial" panose="020B0604020202020204" pitchFamily="34" charset="0"/>
              <a:buChar char="●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4863" indent="-2635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>
                <a:schemeClr val="accent3"/>
              </a:buClr>
              <a:buFont typeface="Arial" panose="020B0604020202020204" pitchFamily="34" charset="0"/>
              <a:buChar char="●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0000" indent="-2698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>
                <a:schemeClr val="accent3"/>
              </a:buClr>
              <a:buFont typeface="Arial" panose="020B0604020202020204" pitchFamily="34" charset="0"/>
              <a:buChar char="●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268288" algn="l" defTabSz="914400" rtl="0" eaLnBrk="1" latinLnBrk="0" hangingPunct="1">
              <a:spcBef>
                <a:spcPts val="600"/>
              </a:spcBef>
              <a:spcAft>
                <a:spcPts val="300"/>
              </a:spcAft>
              <a:buClr>
                <a:schemeClr val="accent3"/>
              </a:buClr>
              <a:buFont typeface="Arial" panose="020B0604020202020204" pitchFamily="34" charset="0"/>
              <a:buChar char="●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1080000" indent="-268288" algn="l" defTabSz="914400" rtl="0" eaLnBrk="1" latinLnBrk="0" hangingPunct="1">
              <a:spcBef>
                <a:spcPts val="600"/>
              </a:spcBef>
              <a:spcAft>
                <a:spcPts val="300"/>
              </a:spcAft>
              <a:buClr>
                <a:schemeClr val="accent3"/>
              </a:buClr>
              <a:buFont typeface="Arial" panose="020B0604020202020204" pitchFamily="34" charset="0"/>
              <a:buChar char="●"/>
              <a:defRPr sz="11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811712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>
                <a:schemeClr val="accent3"/>
              </a:buClr>
              <a:buSzTx/>
              <a:buFont typeface="Arial" panose="020B0604020202020204" pitchFamily="34" charset="0"/>
              <a:buNone/>
              <a:tabLst/>
              <a:defRPr sz="11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1080000" indent="-268288" algn="l" defTabSz="914400" rtl="0" eaLnBrk="1" latinLnBrk="0" hangingPunct="1">
              <a:spcBef>
                <a:spcPts val="600"/>
              </a:spcBef>
              <a:spcAft>
                <a:spcPts val="300"/>
              </a:spcAft>
              <a:buClr>
                <a:schemeClr val="accent3"/>
              </a:buClr>
              <a:buFont typeface="Arial" panose="020B0604020202020204" pitchFamily="34" charset="0"/>
              <a:buChar char="●"/>
              <a:defRPr sz="11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2400" dirty="0" err="1" smtClean="0"/>
              <a:t>Is</a:t>
            </a:r>
            <a:r>
              <a:rPr lang="de-DE" sz="2400" dirty="0" smtClean="0"/>
              <a:t> a Virtual DOM fast </a:t>
            </a:r>
            <a:r>
              <a:rPr lang="de-DE" sz="2400" dirty="0" err="1" smtClean="0"/>
              <a:t>enough</a:t>
            </a:r>
            <a:r>
              <a:rPr lang="de-DE" sz="2400" dirty="0" smtClean="0"/>
              <a:t>?</a:t>
            </a:r>
            <a:endParaRPr lang="de-DE" sz="2400" dirty="0"/>
          </a:p>
        </p:txBody>
      </p:sp>
      <p:sp>
        <p:nvSpPr>
          <p:cNvPr id="6" name="Textplatzhalter 2">
            <a:extLst>
              <a:ext uri="{FF2B5EF4-FFF2-40B4-BE49-F238E27FC236}">
                <a16:creationId xmlns:a16="http://schemas.microsoft.com/office/drawing/2014/main" xmlns="" id="{EFD70B09-D19F-48AE-BC9B-E7FCFD3657AC}"/>
              </a:ext>
            </a:extLst>
          </p:cNvPr>
          <p:cNvSpPr txBox="1">
            <a:spLocks/>
          </p:cNvSpPr>
          <p:nvPr/>
        </p:nvSpPr>
        <p:spPr bwMode="gray">
          <a:xfrm>
            <a:off x="6172084" y="1118790"/>
            <a:ext cx="2478301" cy="1440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1463" indent="-271463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3"/>
              </a:buClr>
              <a:buFont typeface="Arial" panose="020B0604020202020204" pitchFamily="34" charset="0"/>
              <a:buChar char="●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2698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3"/>
              </a:buClr>
              <a:buFont typeface="Arial" panose="020B0604020202020204" pitchFamily="34" charset="0"/>
              <a:buChar char="●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4863" indent="-2635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>
                <a:schemeClr val="accent3"/>
              </a:buClr>
              <a:buFont typeface="Arial" panose="020B0604020202020204" pitchFamily="34" charset="0"/>
              <a:buChar char="●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0000" indent="-2698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>
                <a:schemeClr val="accent3"/>
              </a:buClr>
              <a:buFont typeface="Arial" panose="020B0604020202020204" pitchFamily="34" charset="0"/>
              <a:buChar char="●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268288" algn="l" defTabSz="914400" rtl="0" eaLnBrk="1" latinLnBrk="0" hangingPunct="1">
              <a:spcBef>
                <a:spcPts val="600"/>
              </a:spcBef>
              <a:spcAft>
                <a:spcPts val="300"/>
              </a:spcAft>
              <a:buClr>
                <a:schemeClr val="accent3"/>
              </a:buClr>
              <a:buFont typeface="Arial" panose="020B0604020202020204" pitchFamily="34" charset="0"/>
              <a:buChar char="●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1080000" indent="-268288" algn="l" defTabSz="914400" rtl="0" eaLnBrk="1" latinLnBrk="0" hangingPunct="1">
              <a:spcBef>
                <a:spcPts val="600"/>
              </a:spcBef>
              <a:spcAft>
                <a:spcPts val="300"/>
              </a:spcAft>
              <a:buClr>
                <a:schemeClr val="accent3"/>
              </a:buClr>
              <a:buFont typeface="Arial" panose="020B0604020202020204" pitchFamily="34" charset="0"/>
              <a:buChar char="●"/>
              <a:defRPr sz="11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811712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>
                <a:schemeClr val="accent3"/>
              </a:buClr>
              <a:buSzTx/>
              <a:buFont typeface="Arial" panose="020B0604020202020204" pitchFamily="34" charset="0"/>
              <a:buNone/>
              <a:tabLst/>
              <a:defRPr sz="11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1080000" indent="-268288" algn="l" defTabSz="914400" rtl="0" eaLnBrk="1" latinLnBrk="0" hangingPunct="1">
              <a:spcBef>
                <a:spcPts val="600"/>
              </a:spcBef>
              <a:spcAft>
                <a:spcPts val="300"/>
              </a:spcAft>
              <a:buClr>
                <a:schemeClr val="accent3"/>
              </a:buClr>
              <a:buFont typeface="Arial" panose="020B0604020202020204" pitchFamily="34" charset="0"/>
              <a:buChar char="●"/>
              <a:defRPr sz="11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2400" dirty="0" err="1" smtClean="0"/>
              <a:t>No</a:t>
            </a:r>
            <a:endParaRPr lang="de-DE" sz="2400" dirty="0"/>
          </a:p>
        </p:txBody>
      </p:sp>
      <p:sp>
        <p:nvSpPr>
          <p:cNvPr id="7" name="Textplatzhalter 2">
            <a:extLst>
              <a:ext uri="{FF2B5EF4-FFF2-40B4-BE49-F238E27FC236}">
                <a16:creationId xmlns:a16="http://schemas.microsoft.com/office/drawing/2014/main" xmlns="" id="{EFD70B09-D19F-48AE-BC9B-E7FCFD3657AC}"/>
              </a:ext>
            </a:extLst>
          </p:cNvPr>
          <p:cNvSpPr txBox="1">
            <a:spLocks/>
          </p:cNvSpPr>
          <p:nvPr/>
        </p:nvSpPr>
        <p:spPr bwMode="gray">
          <a:xfrm>
            <a:off x="6114091" y="2575715"/>
            <a:ext cx="2478301" cy="1440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1463" indent="-271463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3"/>
              </a:buClr>
              <a:buFont typeface="Arial" panose="020B0604020202020204" pitchFamily="34" charset="0"/>
              <a:buChar char="●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2698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3"/>
              </a:buClr>
              <a:buFont typeface="Arial" panose="020B0604020202020204" pitchFamily="34" charset="0"/>
              <a:buChar char="●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4863" indent="-2635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>
                <a:schemeClr val="accent3"/>
              </a:buClr>
              <a:buFont typeface="Arial" panose="020B0604020202020204" pitchFamily="34" charset="0"/>
              <a:buChar char="●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0000" indent="-2698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>
                <a:schemeClr val="accent3"/>
              </a:buClr>
              <a:buFont typeface="Arial" panose="020B0604020202020204" pitchFamily="34" charset="0"/>
              <a:buChar char="●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268288" algn="l" defTabSz="914400" rtl="0" eaLnBrk="1" latinLnBrk="0" hangingPunct="1">
              <a:spcBef>
                <a:spcPts val="600"/>
              </a:spcBef>
              <a:spcAft>
                <a:spcPts val="300"/>
              </a:spcAft>
              <a:buClr>
                <a:schemeClr val="accent3"/>
              </a:buClr>
              <a:buFont typeface="Arial" panose="020B0604020202020204" pitchFamily="34" charset="0"/>
              <a:buChar char="●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1080000" indent="-268288" algn="l" defTabSz="914400" rtl="0" eaLnBrk="1" latinLnBrk="0" hangingPunct="1">
              <a:spcBef>
                <a:spcPts val="600"/>
              </a:spcBef>
              <a:spcAft>
                <a:spcPts val="300"/>
              </a:spcAft>
              <a:buClr>
                <a:schemeClr val="accent3"/>
              </a:buClr>
              <a:buFont typeface="Arial" panose="020B0604020202020204" pitchFamily="34" charset="0"/>
              <a:buChar char="●"/>
              <a:defRPr sz="11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811712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>
                <a:schemeClr val="accent3"/>
              </a:buClr>
              <a:buSzTx/>
              <a:buFont typeface="Arial" panose="020B0604020202020204" pitchFamily="34" charset="0"/>
              <a:buNone/>
              <a:tabLst/>
              <a:defRPr sz="11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1080000" indent="-268288" algn="l" defTabSz="914400" rtl="0" eaLnBrk="1" latinLnBrk="0" hangingPunct="1">
              <a:spcBef>
                <a:spcPts val="600"/>
              </a:spcBef>
              <a:spcAft>
                <a:spcPts val="300"/>
              </a:spcAft>
              <a:buClr>
                <a:schemeClr val="accent3"/>
              </a:buClr>
              <a:buFont typeface="Arial" panose="020B0604020202020204" pitchFamily="34" charset="0"/>
              <a:buChar char="●"/>
              <a:defRPr sz="11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2400" dirty="0" smtClean="0"/>
              <a:t>Yes</a:t>
            </a:r>
            <a:endParaRPr lang="de-DE" sz="2400" dirty="0"/>
          </a:p>
        </p:txBody>
      </p:sp>
    </p:spTree>
    <p:extLst>
      <p:ext uri="{BB962C8B-B14F-4D97-AF65-F5344CB8AC3E}">
        <p14:creationId xmlns:p14="http://schemas.microsoft.com/office/powerpoint/2010/main" val="3071817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el 1">
            <a:extLst>
              <a:ext uri="{FF2B5EF4-FFF2-40B4-BE49-F238E27FC236}">
                <a16:creationId xmlns:a16="http://schemas.microsoft.com/office/drawing/2014/main" xmlns="" id="{02E1418F-13E9-4DD1-A436-757FB376FACC}"/>
              </a:ext>
            </a:extLst>
          </p:cNvPr>
          <p:cNvSpPr txBox="1">
            <a:spLocks/>
          </p:cNvSpPr>
          <p:nvPr/>
        </p:nvSpPr>
        <p:spPr>
          <a:xfrm>
            <a:off x="214313" y="-162797"/>
            <a:ext cx="8715375" cy="408888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spcBef>
                <a:spcPct val="0"/>
              </a:spcBef>
              <a:buNone/>
              <a:defRPr sz="20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endParaRPr lang="de-DE" sz="1800" dirty="0">
              <a:solidFill>
                <a:schemeClr val="accent1"/>
              </a:solidFill>
            </a:endParaRPr>
          </a:p>
        </p:txBody>
      </p:sp>
      <p:sp>
        <p:nvSpPr>
          <p:cNvPr id="23" name="Titel 22">
            <a:extLst>
              <a:ext uri="{FF2B5EF4-FFF2-40B4-BE49-F238E27FC236}">
                <a16:creationId xmlns:a16="http://schemas.microsoft.com/office/drawing/2014/main" xmlns="" id="{0F8728F2-FADF-46A9-8EB9-8EDE7B5674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>
                <a:cs typeface="Calibri" pitchFamily="34" charset="0"/>
              </a:rPr>
              <a:t>ReactJS</a:t>
            </a:r>
            <a:r>
              <a:rPr lang="de-DE" dirty="0" smtClean="0">
                <a:cs typeface="Calibri" pitchFamily="34" charset="0"/>
              </a:rPr>
              <a:t> </a:t>
            </a:r>
            <a:r>
              <a:rPr lang="de-DE" b="0" dirty="0" smtClean="0">
                <a:cs typeface="Calibri" pitchFamily="34" charset="0"/>
              </a:rPr>
              <a:t>I </a:t>
            </a:r>
            <a:r>
              <a:rPr lang="de-DE" b="0" dirty="0" err="1" smtClean="0">
                <a:cs typeface="Calibri" pitchFamily="34" charset="0"/>
              </a:rPr>
              <a:t>abstraction</a:t>
            </a:r>
            <a:r>
              <a:rPr lang="de-DE" b="0" dirty="0" smtClean="0">
                <a:cs typeface="Calibri" pitchFamily="34" charset="0"/>
              </a:rPr>
              <a:t> </a:t>
            </a:r>
            <a:r>
              <a:rPr lang="de-DE" b="0" dirty="0" err="1" smtClean="0">
                <a:cs typeface="Calibri" pitchFamily="34" charset="0"/>
              </a:rPr>
              <a:t>leaks</a:t>
            </a:r>
            <a:endParaRPr lang="de-DE" b="0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xmlns="" id="{EFD70B09-D19F-48AE-BC9B-E7FCFD3657A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4282" y="808039"/>
            <a:ext cx="8505408" cy="3857624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err="1" smtClean="0"/>
              <a:t>Abstraction</a:t>
            </a:r>
            <a:r>
              <a:rPr lang="de-DE" dirty="0" smtClean="0"/>
              <a:t> </a:t>
            </a:r>
            <a:r>
              <a:rPr lang="de-DE" dirty="0" err="1" smtClean="0"/>
              <a:t>Leaks</a:t>
            </a:r>
            <a:endParaRPr lang="de-DE" dirty="0" smtClean="0"/>
          </a:p>
          <a:p>
            <a:pPr marL="557213" lvl="1" indent="-285750">
              <a:buFont typeface="Arial" panose="020B0604020202020204" pitchFamily="34" charset="0"/>
              <a:buChar char="•"/>
            </a:pPr>
            <a:r>
              <a:rPr lang="de-DE" dirty="0" err="1" smtClean="0"/>
              <a:t>shouldComponentUpdate</a:t>
            </a:r>
            <a:endParaRPr lang="de-DE" dirty="0" smtClean="0"/>
          </a:p>
          <a:p>
            <a:pPr marL="557213" lvl="1" indent="-285750">
              <a:buFont typeface="Arial" panose="020B0604020202020204" pitchFamily="34" charset="0"/>
              <a:buChar char="•"/>
            </a:pPr>
            <a:r>
              <a:rPr lang="de-DE" dirty="0" err="1" smtClean="0"/>
              <a:t>React.PureComponent</a:t>
            </a:r>
            <a:endParaRPr lang="de-DE" dirty="0" smtClean="0"/>
          </a:p>
          <a:p>
            <a:pPr marL="557213" lvl="1" indent="-285750">
              <a:buFont typeface="Arial" panose="020B0604020202020204" pitchFamily="34" charset="0"/>
              <a:buChar char="•"/>
            </a:pPr>
            <a:r>
              <a:rPr lang="de-DE" dirty="0" err="1" smtClean="0"/>
              <a:t>useMemo</a:t>
            </a:r>
            <a:endParaRPr lang="de-DE" dirty="0" smtClean="0"/>
          </a:p>
          <a:p>
            <a:pPr marL="557213" lvl="1" indent="-285750">
              <a:buFont typeface="Arial" panose="020B0604020202020204" pitchFamily="34" charset="0"/>
              <a:buChar char="•"/>
            </a:pPr>
            <a:r>
              <a:rPr lang="de-DE" dirty="0" err="1" smtClean="0"/>
              <a:t>useCallback</a:t>
            </a:r>
            <a:endParaRPr lang="de-DE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err="1" smtClean="0"/>
              <a:t>Amortization</a:t>
            </a:r>
            <a:endParaRPr lang="de-DE" dirty="0" smtClean="0"/>
          </a:p>
          <a:p>
            <a:pPr marL="557213" lvl="1" indent="-285750">
              <a:buFont typeface="Arial" panose="020B0604020202020204" pitchFamily="34" charset="0"/>
              <a:buChar char="•"/>
            </a:pPr>
            <a:r>
              <a:rPr lang="de-DE" dirty="0" err="1" smtClean="0"/>
              <a:t>Concurrent</a:t>
            </a:r>
            <a:r>
              <a:rPr lang="de-DE" dirty="0" smtClean="0"/>
              <a:t> </a:t>
            </a:r>
            <a:r>
              <a:rPr lang="de-DE" dirty="0" err="1" smtClean="0"/>
              <a:t>mod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1275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el 1">
            <a:extLst>
              <a:ext uri="{FF2B5EF4-FFF2-40B4-BE49-F238E27FC236}">
                <a16:creationId xmlns:a16="http://schemas.microsoft.com/office/drawing/2014/main" xmlns="" id="{02E1418F-13E9-4DD1-A436-757FB376FACC}"/>
              </a:ext>
            </a:extLst>
          </p:cNvPr>
          <p:cNvSpPr txBox="1">
            <a:spLocks/>
          </p:cNvSpPr>
          <p:nvPr/>
        </p:nvSpPr>
        <p:spPr>
          <a:xfrm>
            <a:off x="214313" y="-162797"/>
            <a:ext cx="8715375" cy="408888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spcBef>
                <a:spcPct val="0"/>
              </a:spcBef>
              <a:buNone/>
              <a:defRPr sz="20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endParaRPr lang="de-DE" sz="1800" dirty="0">
              <a:solidFill>
                <a:schemeClr val="accent1"/>
              </a:solidFill>
            </a:endParaRPr>
          </a:p>
        </p:txBody>
      </p:sp>
      <p:pic>
        <p:nvPicPr>
          <p:cNvPr id="1028" name="Picture 4" descr="C:\Users\fzentgra\Downloads\1_OJLglSTFZ1PbwpRG0U2xXA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83104" y="1389987"/>
            <a:ext cx="4377791" cy="23640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14082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el 1">
            <a:extLst>
              <a:ext uri="{FF2B5EF4-FFF2-40B4-BE49-F238E27FC236}">
                <a16:creationId xmlns:a16="http://schemas.microsoft.com/office/drawing/2014/main" xmlns="" id="{02E1418F-13E9-4DD1-A436-757FB376FACC}"/>
              </a:ext>
            </a:extLst>
          </p:cNvPr>
          <p:cNvSpPr txBox="1">
            <a:spLocks/>
          </p:cNvSpPr>
          <p:nvPr/>
        </p:nvSpPr>
        <p:spPr>
          <a:xfrm>
            <a:off x="214313" y="-162797"/>
            <a:ext cx="8715375" cy="408888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spcBef>
                <a:spcPct val="0"/>
              </a:spcBef>
              <a:buNone/>
              <a:defRPr sz="20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endParaRPr lang="de-DE" sz="1800" dirty="0">
              <a:solidFill>
                <a:schemeClr val="accent1"/>
              </a:solidFill>
            </a:endParaRPr>
          </a:p>
        </p:txBody>
      </p:sp>
      <p:sp>
        <p:nvSpPr>
          <p:cNvPr id="23" name="Titel 22">
            <a:extLst>
              <a:ext uri="{FF2B5EF4-FFF2-40B4-BE49-F238E27FC236}">
                <a16:creationId xmlns:a16="http://schemas.microsoft.com/office/drawing/2014/main" xmlns="" id="{0F8728F2-FADF-46A9-8EB9-8EDE7B5674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>
                <a:cs typeface="Calibri" pitchFamily="34" charset="0"/>
              </a:rPr>
              <a:t>SvelteJS</a:t>
            </a:r>
            <a:r>
              <a:rPr lang="de-DE" dirty="0" smtClean="0">
                <a:cs typeface="Calibri" pitchFamily="34" charset="0"/>
              </a:rPr>
              <a:t> </a:t>
            </a:r>
            <a:r>
              <a:rPr lang="de-DE" b="0" dirty="0">
                <a:cs typeface="Calibri" pitchFamily="34" charset="0"/>
              </a:rPr>
              <a:t>I</a:t>
            </a:r>
            <a:r>
              <a:rPr lang="de-DE" dirty="0">
                <a:cs typeface="Calibri" pitchFamily="34" charset="0"/>
              </a:rPr>
              <a:t> </a:t>
            </a:r>
            <a:r>
              <a:rPr lang="de-DE" b="0" dirty="0" err="1" smtClean="0">
                <a:cs typeface="Calibri" pitchFamily="34" charset="0"/>
              </a:rPr>
              <a:t>how</a:t>
            </a:r>
            <a:r>
              <a:rPr lang="de-DE" b="0" dirty="0" smtClean="0">
                <a:cs typeface="Calibri" pitchFamily="34" charset="0"/>
              </a:rPr>
              <a:t> </a:t>
            </a:r>
            <a:r>
              <a:rPr lang="de-DE" b="0" dirty="0" err="1" smtClean="0">
                <a:cs typeface="Calibri" pitchFamily="34" charset="0"/>
              </a:rPr>
              <a:t>it</a:t>
            </a:r>
            <a:r>
              <a:rPr lang="de-DE" b="0" dirty="0" smtClean="0">
                <a:cs typeface="Calibri" pitchFamily="34" charset="0"/>
              </a:rPr>
              <a:t> </a:t>
            </a:r>
            <a:r>
              <a:rPr lang="de-DE" b="0" dirty="0" err="1" smtClean="0">
                <a:cs typeface="Calibri" pitchFamily="34" charset="0"/>
              </a:rPr>
              <a:t>works</a:t>
            </a:r>
            <a:endParaRPr lang="de-DE" b="0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xmlns="" id="{EFD70B09-D19F-48AE-BC9B-E7FCFD3657A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4282" y="808039"/>
            <a:ext cx="8505408" cy="3857624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Compiler statt Framework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Kein </a:t>
            </a:r>
            <a:r>
              <a:rPr lang="de-DE" dirty="0" err="1" smtClean="0"/>
              <a:t>setState</a:t>
            </a:r>
            <a:r>
              <a:rPr lang="de-DE" dirty="0" smtClean="0"/>
              <a:t>, sondern direkt </a:t>
            </a:r>
            <a:r>
              <a:rPr lang="de-DE" dirty="0" err="1" smtClean="0"/>
              <a:t>Assignments</a:t>
            </a:r>
            <a:endParaRPr lang="de-DE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„</a:t>
            </a:r>
            <a:r>
              <a:rPr lang="de-DE" dirty="0" err="1" smtClean="0"/>
              <a:t>Svelte</a:t>
            </a:r>
            <a:r>
              <a:rPr lang="de-DE" dirty="0" smtClean="0"/>
              <a:t> 3 </a:t>
            </a:r>
            <a:r>
              <a:rPr lang="de-DE" dirty="0" err="1" smtClean="0"/>
              <a:t>Moves</a:t>
            </a:r>
            <a:r>
              <a:rPr lang="de-DE" dirty="0" smtClean="0"/>
              <a:t> </a:t>
            </a:r>
            <a:r>
              <a:rPr lang="de-DE" dirty="0" err="1" smtClean="0"/>
              <a:t>Reactivity</a:t>
            </a:r>
            <a:r>
              <a:rPr lang="de-DE" dirty="0" smtClean="0"/>
              <a:t> out </a:t>
            </a:r>
            <a:r>
              <a:rPr lang="de-DE" dirty="0" err="1" smtClean="0"/>
              <a:t>of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component</a:t>
            </a:r>
            <a:r>
              <a:rPr lang="de-DE" dirty="0" smtClean="0"/>
              <a:t> </a:t>
            </a:r>
            <a:r>
              <a:rPr lang="de-DE" dirty="0" err="1" smtClean="0"/>
              <a:t>api</a:t>
            </a:r>
            <a:r>
              <a:rPr lang="de-DE" dirty="0" smtClean="0"/>
              <a:t> </a:t>
            </a:r>
            <a:r>
              <a:rPr lang="de-DE" dirty="0" err="1" smtClean="0"/>
              <a:t>and</a:t>
            </a:r>
            <a:r>
              <a:rPr lang="de-DE" dirty="0" smtClean="0"/>
              <a:t> </a:t>
            </a:r>
            <a:r>
              <a:rPr lang="de-DE" dirty="0" err="1" smtClean="0"/>
              <a:t>into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smtClean="0"/>
              <a:t>language“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178355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81">
            <a:extLst>
              <a:ext uri="{FF2B5EF4-FFF2-40B4-BE49-F238E27FC236}">
                <a16:creationId xmlns:a16="http://schemas.microsoft.com/office/drawing/2014/main" xmlns="" id="{D3981FC8-FA70-48D4-8005-154802A41575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829558" y="370345"/>
            <a:ext cx="782852" cy="400742"/>
            <a:chOff x="1682" y="1547"/>
            <a:chExt cx="2395" cy="1226"/>
          </a:xfrm>
          <a:effectLst>
            <a:outerShdw blurRad="101600" dist="76200" dir="2700000" algn="ctr" rotWithShape="0">
              <a:srgbClr val="000000">
                <a:alpha val="29000"/>
              </a:srgbClr>
            </a:outerShdw>
          </a:effectLst>
        </p:grpSpPr>
        <p:sp>
          <p:nvSpPr>
            <p:cNvPr id="7" name="AutoShape 80">
              <a:extLst>
                <a:ext uri="{FF2B5EF4-FFF2-40B4-BE49-F238E27FC236}">
                  <a16:creationId xmlns:a16="http://schemas.microsoft.com/office/drawing/2014/main" xmlns="" id="{A457D3A1-5EE3-4DBE-9955-7A81F5555633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82" y="1547"/>
              <a:ext cx="2395" cy="122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8" name="Freeform 82">
              <a:extLst>
                <a:ext uri="{FF2B5EF4-FFF2-40B4-BE49-F238E27FC236}">
                  <a16:creationId xmlns:a16="http://schemas.microsoft.com/office/drawing/2014/main" xmlns="" id="{69637769-9543-45B2-8CC1-0278353A4D3B}"/>
                </a:ext>
              </a:extLst>
            </p:cNvPr>
            <p:cNvSpPr>
              <a:spLocks/>
            </p:cNvSpPr>
            <p:nvPr/>
          </p:nvSpPr>
          <p:spPr bwMode="auto">
            <a:xfrm>
              <a:off x="1680" y="1549"/>
              <a:ext cx="2399" cy="1224"/>
            </a:xfrm>
            <a:custGeom>
              <a:avLst/>
              <a:gdLst>
                <a:gd name="T0" fmla="*/ 1016 w 1016"/>
                <a:gd name="T1" fmla="*/ 0 h 518"/>
                <a:gd name="T2" fmla="*/ 1016 w 1016"/>
                <a:gd name="T3" fmla="*/ 443 h 518"/>
                <a:gd name="T4" fmla="*/ 991 w 1016"/>
                <a:gd name="T5" fmla="*/ 443 h 518"/>
                <a:gd name="T6" fmla="*/ 991 w 1016"/>
                <a:gd name="T7" fmla="*/ 461 h 518"/>
                <a:gd name="T8" fmla="*/ 952 w 1016"/>
                <a:gd name="T9" fmla="*/ 461 h 518"/>
                <a:gd name="T10" fmla="*/ 870 w 1016"/>
                <a:gd name="T11" fmla="*/ 518 h 518"/>
                <a:gd name="T12" fmla="*/ 788 w 1016"/>
                <a:gd name="T13" fmla="*/ 461 h 518"/>
                <a:gd name="T14" fmla="*/ 751 w 1016"/>
                <a:gd name="T15" fmla="*/ 461 h 518"/>
                <a:gd name="T16" fmla="*/ 751 w 1016"/>
                <a:gd name="T17" fmla="*/ 443 h 518"/>
                <a:gd name="T18" fmla="*/ 351 w 1016"/>
                <a:gd name="T19" fmla="*/ 443 h 518"/>
                <a:gd name="T20" fmla="*/ 265 w 1016"/>
                <a:gd name="T21" fmla="*/ 517 h 518"/>
                <a:gd name="T22" fmla="*/ 179 w 1016"/>
                <a:gd name="T23" fmla="*/ 443 h 518"/>
                <a:gd name="T24" fmla="*/ 105 w 1016"/>
                <a:gd name="T25" fmla="*/ 443 h 518"/>
                <a:gd name="T26" fmla="*/ 105 w 1016"/>
                <a:gd name="T27" fmla="*/ 456 h 518"/>
                <a:gd name="T28" fmla="*/ 0 w 1016"/>
                <a:gd name="T29" fmla="*/ 456 h 518"/>
                <a:gd name="T30" fmla="*/ 0 w 1016"/>
                <a:gd name="T31" fmla="*/ 357 h 518"/>
                <a:gd name="T32" fmla="*/ 16 w 1016"/>
                <a:gd name="T33" fmla="*/ 357 h 518"/>
                <a:gd name="T34" fmla="*/ 16 w 1016"/>
                <a:gd name="T35" fmla="*/ 237 h 518"/>
                <a:gd name="T36" fmla="*/ 51 w 1016"/>
                <a:gd name="T37" fmla="*/ 119 h 518"/>
                <a:gd name="T38" fmla="*/ 156 w 1016"/>
                <a:gd name="T39" fmla="*/ 55 h 518"/>
                <a:gd name="T40" fmla="*/ 271 w 1016"/>
                <a:gd name="T41" fmla="*/ 0 h 518"/>
                <a:gd name="T42" fmla="*/ 273 w 1016"/>
                <a:gd name="T43" fmla="*/ 0 h 518"/>
                <a:gd name="T44" fmla="*/ 1016 w 1016"/>
                <a:gd name="T45" fmla="*/ 0 h 5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016" h="518">
                  <a:moveTo>
                    <a:pt x="1016" y="0"/>
                  </a:moveTo>
                  <a:cubicBezTo>
                    <a:pt x="1016" y="443"/>
                    <a:pt x="1016" y="443"/>
                    <a:pt x="1016" y="443"/>
                  </a:cubicBezTo>
                  <a:cubicBezTo>
                    <a:pt x="991" y="443"/>
                    <a:pt x="991" y="443"/>
                    <a:pt x="991" y="443"/>
                  </a:cubicBezTo>
                  <a:cubicBezTo>
                    <a:pt x="991" y="461"/>
                    <a:pt x="991" y="461"/>
                    <a:pt x="991" y="461"/>
                  </a:cubicBezTo>
                  <a:cubicBezTo>
                    <a:pt x="952" y="461"/>
                    <a:pt x="952" y="461"/>
                    <a:pt x="952" y="461"/>
                  </a:cubicBezTo>
                  <a:cubicBezTo>
                    <a:pt x="939" y="495"/>
                    <a:pt x="907" y="518"/>
                    <a:pt x="870" y="518"/>
                  </a:cubicBezTo>
                  <a:cubicBezTo>
                    <a:pt x="833" y="518"/>
                    <a:pt x="801" y="495"/>
                    <a:pt x="788" y="461"/>
                  </a:cubicBezTo>
                  <a:cubicBezTo>
                    <a:pt x="751" y="461"/>
                    <a:pt x="751" y="461"/>
                    <a:pt x="751" y="461"/>
                  </a:cubicBezTo>
                  <a:cubicBezTo>
                    <a:pt x="751" y="443"/>
                    <a:pt x="751" y="443"/>
                    <a:pt x="751" y="443"/>
                  </a:cubicBezTo>
                  <a:cubicBezTo>
                    <a:pt x="351" y="443"/>
                    <a:pt x="351" y="443"/>
                    <a:pt x="351" y="443"/>
                  </a:cubicBezTo>
                  <a:cubicBezTo>
                    <a:pt x="345" y="485"/>
                    <a:pt x="308" y="517"/>
                    <a:pt x="265" y="517"/>
                  </a:cubicBezTo>
                  <a:cubicBezTo>
                    <a:pt x="221" y="517"/>
                    <a:pt x="185" y="485"/>
                    <a:pt x="179" y="443"/>
                  </a:cubicBezTo>
                  <a:cubicBezTo>
                    <a:pt x="105" y="443"/>
                    <a:pt x="105" y="443"/>
                    <a:pt x="105" y="443"/>
                  </a:cubicBezTo>
                  <a:cubicBezTo>
                    <a:pt x="105" y="456"/>
                    <a:pt x="105" y="456"/>
                    <a:pt x="105" y="456"/>
                  </a:cubicBezTo>
                  <a:cubicBezTo>
                    <a:pt x="0" y="456"/>
                    <a:pt x="0" y="456"/>
                    <a:pt x="0" y="456"/>
                  </a:cubicBezTo>
                  <a:cubicBezTo>
                    <a:pt x="0" y="357"/>
                    <a:pt x="0" y="357"/>
                    <a:pt x="0" y="357"/>
                  </a:cubicBezTo>
                  <a:cubicBezTo>
                    <a:pt x="16" y="357"/>
                    <a:pt x="16" y="357"/>
                    <a:pt x="16" y="357"/>
                  </a:cubicBezTo>
                  <a:cubicBezTo>
                    <a:pt x="16" y="237"/>
                    <a:pt x="16" y="237"/>
                    <a:pt x="16" y="237"/>
                  </a:cubicBezTo>
                  <a:cubicBezTo>
                    <a:pt x="51" y="119"/>
                    <a:pt x="51" y="119"/>
                    <a:pt x="51" y="119"/>
                  </a:cubicBezTo>
                  <a:cubicBezTo>
                    <a:pt x="65" y="66"/>
                    <a:pt x="129" y="57"/>
                    <a:pt x="156" y="55"/>
                  </a:cubicBezTo>
                  <a:cubicBezTo>
                    <a:pt x="209" y="7"/>
                    <a:pt x="268" y="0"/>
                    <a:pt x="271" y="0"/>
                  </a:cubicBezTo>
                  <a:cubicBezTo>
                    <a:pt x="273" y="0"/>
                    <a:pt x="273" y="0"/>
                    <a:pt x="273" y="0"/>
                  </a:cubicBezTo>
                  <a:lnTo>
                    <a:pt x="101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9" name="Freeform 83">
              <a:extLst>
                <a:ext uri="{FF2B5EF4-FFF2-40B4-BE49-F238E27FC236}">
                  <a16:creationId xmlns:a16="http://schemas.microsoft.com/office/drawing/2014/main" xmlns="" id="{D012E702-0B94-42AF-8542-196EBE2B07A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36" y="1606"/>
              <a:ext cx="2287" cy="1110"/>
            </a:xfrm>
            <a:custGeom>
              <a:avLst/>
              <a:gdLst>
                <a:gd name="T0" fmla="*/ 318 w 968"/>
                <a:gd name="T1" fmla="*/ 0 h 470"/>
                <a:gd name="T2" fmla="*/ 318 w 968"/>
                <a:gd name="T3" fmla="*/ 318 h 470"/>
                <a:gd name="T4" fmla="*/ 275 w 968"/>
                <a:gd name="T5" fmla="*/ 318 h 470"/>
                <a:gd name="T6" fmla="*/ 275 w 968"/>
                <a:gd name="T7" fmla="*/ 56 h 470"/>
                <a:gd name="T8" fmla="*/ 275 w 968"/>
                <a:gd name="T9" fmla="*/ 0 h 470"/>
                <a:gd name="T10" fmla="*/ 249 w 968"/>
                <a:gd name="T11" fmla="*/ 0 h 470"/>
                <a:gd name="T12" fmla="*/ 142 w 968"/>
                <a:gd name="T13" fmla="*/ 55 h 470"/>
                <a:gd name="T14" fmla="*/ 50 w 968"/>
                <a:gd name="T15" fmla="*/ 101 h 470"/>
                <a:gd name="T16" fmla="*/ 16 w 968"/>
                <a:gd name="T17" fmla="*/ 217 h 470"/>
                <a:gd name="T18" fmla="*/ 16 w 968"/>
                <a:gd name="T19" fmla="*/ 357 h 470"/>
                <a:gd name="T20" fmla="*/ 0 w 968"/>
                <a:gd name="T21" fmla="*/ 357 h 470"/>
                <a:gd name="T22" fmla="*/ 0 w 968"/>
                <a:gd name="T23" fmla="*/ 408 h 470"/>
                <a:gd name="T24" fmla="*/ 57 w 968"/>
                <a:gd name="T25" fmla="*/ 408 h 470"/>
                <a:gd name="T26" fmla="*/ 57 w 968"/>
                <a:gd name="T27" fmla="*/ 395 h 470"/>
                <a:gd name="T28" fmla="*/ 142 w 968"/>
                <a:gd name="T29" fmla="*/ 395 h 470"/>
                <a:gd name="T30" fmla="*/ 179 w 968"/>
                <a:gd name="T31" fmla="*/ 395 h 470"/>
                <a:gd name="T32" fmla="*/ 179 w 968"/>
                <a:gd name="T33" fmla="*/ 395 h 470"/>
                <a:gd name="T34" fmla="*/ 178 w 968"/>
                <a:gd name="T35" fmla="*/ 406 h 470"/>
                <a:gd name="T36" fmla="*/ 241 w 968"/>
                <a:gd name="T37" fmla="*/ 469 h 470"/>
                <a:gd name="T38" fmla="*/ 304 w 968"/>
                <a:gd name="T39" fmla="*/ 406 h 470"/>
                <a:gd name="T40" fmla="*/ 303 w 968"/>
                <a:gd name="T41" fmla="*/ 395 h 470"/>
                <a:gd name="T42" fmla="*/ 751 w 968"/>
                <a:gd name="T43" fmla="*/ 395 h 470"/>
                <a:gd name="T44" fmla="*/ 751 w 968"/>
                <a:gd name="T45" fmla="*/ 413 h 470"/>
                <a:gd name="T46" fmla="*/ 783 w 968"/>
                <a:gd name="T47" fmla="*/ 413 h 470"/>
                <a:gd name="T48" fmla="*/ 846 w 968"/>
                <a:gd name="T49" fmla="*/ 470 h 470"/>
                <a:gd name="T50" fmla="*/ 909 w 968"/>
                <a:gd name="T51" fmla="*/ 413 h 470"/>
                <a:gd name="T52" fmla="*/ 943 w 968"/>
                <a:gd name="T53" fmla="*/ 413 h 470"/>
                <a:gd name="T54" fmla="*/ 943 w 968"/>
                <a:gd name="T55" fmla="*/ 395 h 470"/>
                <a:gd name="T56" fmla="*/ 968 w 968"/>
                <a:gd name="T57" fmla="*/ 395 h 470"/>
                <a:gd name="T58" fmla="*/ 968 w 968"/>
                <a:gd name="T59" fmla="*/ 0 h 470"/>
                <a:gd name="T60" fmla="*/ 318 w 968"/>
                <a:gd name="T61" fmla="*/ 0 h 470"/>
                <a:gd name="T62" fmla="*/ 224 w 968"/>
                <a:gd name="T63" fmla="*/ 195 h 470"/>
                <a:gd name="T64" fmla="*/ 83 w 968"/>
                <a:gd name="T65" fmla="*/ 215 h 470"/>
                <a:gd name="T66" fmla="*/ 96 w 968"/>
                <a:gd name="T67" fmla="*/ 114 h 470"/>
                <a:gd name="T68" fmla="*/ 224 w 968"/>
                <a:gd name="T69" fmla="*/ 114 h 470"/>
                <a:gd name="T70" fmla="*/ 224 w 968"/>
                <a:gd name="T71" fmla="*/ 195 h 4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968" h="470">
                  <a:moveTo>
                    <a:pt x="318" y="0"/>
                  </a:moveTo>
                  <a:cubicBezTo>
                    <a:pt x="318" y="318"/>
                    <a:pt x="318" y="318"/>
                    <a:pt x="318" y="318"/>
                  </a:cubicBezTo>
                  <a:cubicBezTo>
                    <a:pt x="275" y="318"/>
                    <a:pt x="275" y="318"/>
                    <a:pt x="275" y="318"/>
                  </a:cubicBezTo>
                  <a:cubicBezTo>
                    <a:pt x="275" y="56"/>
                    <a:pt x="275" y="56"/>
                    <a:pt x="275" y="56"/>
                  </a:cubicBezTo>
                  <a:cubicBezTo>
                    <a:pt x="275" y="0"/>
                    <a:pt x="275" y="0"/>
                    <a:pt x="275" y="0"/>
                  </a:cubicBezTo>
                  <a:cubicBezTo>
                    <a:pt x="249" y="0"/>
                    <a:pt x="249" y="0"/>
                    <a:pt x="249" y="0"/>
                  </a:cubicBezTo>
                  <a:cubicBezTo>
                    <a:pt x="249" y="0"/>
                    <a:pt x="191" y="5"/>
                    <a:pt x="142" y="55"/>
                  </a:cubicBezTo>
                  <a:cubicBezTo>
                    <a:pt x="142" y="55"/>
                    <a:pt x="63" y="54"/>
                    <a:pt x="50" y="101"/>
                  </a:cubicBezTo>
                  <a:cubicBezTo>
                    <a:pt x="16" y="217"/>
                    <a:pt x="16" y="217"/>
                    <a:pt x="16" y="217"/>
                  </a:cubicBezTo>
                  <a:cubicBezTo>
                    <a:pt x="16" y="357"/>
                    <a:pt x="16" y="357"/>
                    <a:pt x="16" y="357"/>
                  </a:cubicBezTo>
                  <a:cubicBezTo>
                    <a:pt x="0" y="357"/>
                    <a:pt x="0" y="357"/>
                    <a:pt x="0" y="357"/>
                  </a:cubicBezTo>
                  <a:cubicBezTo>
                    <a:pt x="0" y="408"/>
                    <a:pt x="0" y="408"/>
                    <a:pt x="0" y="408"/>
                  </a:cubicBezTo>
                  <a:cubicBezTo>
                    <a:pt x="57" y="408"/>
                    <a:pt x="57" y="408"/>
                    <a:pt x="57" y="408"/>
                  </a:cubicBezTo>
                  <a:cubicBezTo>
                    <a:pt x="57" y="395"/>
                    <a:pt x="57" y="395"/>
                    <a:pt x="57" y="395"/>
                  </a:cubicBezTo>
                  <a:cubicBezTo>
                    <a:pt x="142" y="395"/>
                    <a:pt x="142" y="395"/>
                    <a:pt x="142" y="395"/>
                  </a:cubicBezTo>
                  <a:cubicBezTo>
                    <a:pt x="179" y="395"/>
                    <a:pt x="179" y="395"/>
                    <a:pt x="179" y="395"/>
                  </a:cubicBezTo>
                  <a:cubicBezTo>
                    <a:pt x="179" y="395"/>
                    <a:pt x="179" y="395"/>
                    <a:pt x="179" y="395"/>
                  </a:cubicBezTo>
                  <a:cubicBezTo>
                    <a:pt x="178" y="399"/>
                    <a:pt x="178" y="402"/>
                    <a:pt x="178" y="406"/>
                  </a:cubicBezTo>
                  <a:cubicBezTo>
                    <a:pt x="178" y="441"/>
                    <a:pt x="206" y="469"/>
                    <a:pt x="241" y="469"/>
                  </a:cubicBezTo>
                  <a:cubicBezTo>
                    <a:pt x="276" y="469"/>
                    <a:pt x="304" y="441"/>
                    <a:pt x="304" y="406"/>
                  </a:cubicBezTo>
                  <a:cubicBezTo>
                    <a:pt x="304" y="402"/>
                    <a:pt x="304" y="399"/>
                    <a:pt x="303" y="395"/>
                  </a:cubicBezTo>
                  <a:cubicBezTo>
                    <a:pt x="751" y="395"/>
                    <a:pt x="751" y="395"/>
                    <a:pt x="751" y="395"/>
                  </a:cubicBezTo>
                  <a:cubicBezTo>
                    <a:pt x="751" y="413"/>
                    <a:pt x="751" y="413"/>
                    <a:pt x="751" y="413"/>
                  </a:cubicBezTo>
                  <a:cubicBezTo>
                    <a:pt x="783" y="413"/>
                    <a:pt x="783" y="413"/>
                    <a:pt x="783" y="413"/>
                  </a:cubicBezTo>
                  <a:cubicBezTo>
                    <a:pt x="787" y="445"/>
                    <a:pt x="813" y="470"/>
                    <a:pt x="846" y="470"/>
                  </a:cubicBezTo>
                  <a:cubicBezTo>
                    <a:pt x="879" y="470"/>
                    <a:pt x="906" y="445"/>
                    <a:pt x="909" y="413"/>
                  </a:cubicBezTo>
                  <a:cubicBezTo>
                    <a:pt x="943" y="413"/>
                    <a:pt x="943" y="413"/>
                    <a:pt x="943" y="413"/>
                  </a:cubicBezTo>
                  <a:cubicBezTo>
                    <a:pt x="943" y="395"/>
                    <a:pt x="943" y="395"/>
                    <a:pt x="943" y="395"/>
                  </a:cubicBezTo>
                  <a:cubicBezTo>
                    <a:pt x="968" y="395"/>
                    <a:pt x="968" y="395"/>
                    <a:pt x="968" y="395"/>
                  </a:cubicBezTo>
                  <a:cubicBezTo>
                    <a:pt x="968" y="0"/>
                    <a:pt x="968" y="0"/>
                    <a:pt x="968" y="0"/>
                  </a:cubicBezTo>
                  <a:lnTo>
                    <a:pt x="318" y="0"/>
                  </a:lnTo>
                  <a:close/>
                  <a:moveTo>
                    <a:pt x="224" y="195"/>
                  </a:moveTo>
                  <a:cubicBezTo>
                    <a:pt x="83" y="215"/>
                    <a:pt x="83" y="215"/>
                    <a:pt x="83" y="215"/>
                  </a:cubicBezTo>
                  <a:cubicBezTo>
                    <a:pt x="96" y="114"/>
                    <a:pt x="96" y="114"/>
                    <a:pt x="96" y="114"/>
                  </a:cubicBezTo>
                  <a:cubicBezTo>
                    <a:pt x="224" y="114"/>
                    <a:pt x="224" y="114"/>
                    <a:pt x="224" y="114"/>
                  </a:cubicBezTo>
                  <a:lnTo>
                    <a:pt x="224" y="195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grpSp>
        <p:nvGrpSpPr>
          <p:cNvPr id="22" name="Group 23">
            <a:extLst>
              <a:ext uri="{FF2B5EF4-FFF2-40B4-BE49-F238E27FC236}">
                <a16:creationId xmlns:a16="http://schemas.microsoft.com/office/drawing/2014/main" xmlns="" id="{70ED22B7-CFE4-483A-B27B-7DA1D685A4B4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159310" y="942178"/>
            <a:ext cx="688637" cy="381312"/>
            <a:chOff x="1672" y="2494"/>
            <a:chExt cx="605" cy="335"/>
          </a:xfrm>
          <a:effectLst>
            <a:outerShdw blurRad="101600" dist="76200" dir="2700000" algn="ctr" rotWithShape="0">
              <a:srgbClr val="000000">
                <a:alpha val="29000"/>
              </a:srgbClr>
            </a:outerShdw>
          </a:effectLst>
        </p:grpSpPr>
        <p:sp>
          <p:nvSpPr>
            <p:cNvPr id="23" name="AutoShape 22">
              <a:extLst>
                <a:ext uri="{FF2B5EF4-FFF2-40B4-BE49-F238E27FC236}">
                  <a16:creationId xmlns:a16="http://schemas.microsoft.com/office/drawing/2014/main" xmlns="" id="{5C12DBC0-60B5-490A-A612-B214B5B8EB84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72" y="2494"/>
              <a:ext cx="605" cy="33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24">
              <a:extLst>
                <a:ext uri="{FF2B5EF4-FFF2-40B4-BE49-F238E27FC236}">
                  <a16:creationId xmlns:a16="http://schemas.microsoft.com/office/drawing/2014/main" xmlns="" id="{B747F0A7-F768-42E2-B476-65245948A885}"/>
                </a:ext>
              </a:extLst>
            </p:cNvPr>
            <p:cNvSpPr>
              <a:spLocks/>
            </p:cNvSpPr>
            <p:nvPr/>
          </p:nvSpPr>
          <p:spPr bwMode="auto">
            <a:xfrm>
              <a:off x="1672" y="2494"/>
              <a:ext cx="605" cy="334"/>
            </a:xfrm>
            <a:custGeom>
              <a:avLst/>
              <a:gdLst>
                <a:gd name="T0" fmla="*/ 605 w 605"/>
                <a:gd name="T1" fmla="*/ 75 h 334"/>
                <a:gd name="T2" fmla="*/ 605 w 605"/>
                <a:gd name="T3" fmla="*/ 334 h 334"/>
                <a:gd name="T4" fmla="*/ 182 w 605"/>
                <a:gd name="T5" fmla="*/ 334 h 334"/>
                <a:gd name="T6" fmla="*/ 182 w 605"/>
                <a:gd name="T7" fmla="*/ 334 h 334"/>
                <a:gd name="T8" fmla="*/ 0 w 605"/>
                <a:gd name="T9" fmla="*/ 334 h 334"/>
                <a:gd name="T10" fmla="*/ 0 w 605"/>
                <a:gd name="T11" fmla="*/ 58 h 334"/>
                <a:gd name="T12" fmla="*/ 188 w 605"/>
                <a:gd name="T13" fmla="*/ 0 h 334"/>
                <a:gd name="T14" fmla="*/ 188 w 605"/>
                <a:gd name="T15" fmla="*/ 0 h 334"/>
                <a:gd name="T16" fmla="*/ 605 w 605"/>
                <a:gd name="T17" fmla="*/ 75 h 3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05" h="334">
                  <a:moveTo>
                    <a:pt x="605" y="75"/>
                  </a:moveTo>
                  <a:lnTo>
                    <a:pt x="605" y="334"/>
                  </a:lnTo>
                  <a:lnTo>
                    <a:pt x="182" y="334"/>
                  </a:lnTo>
                  <a:lnTo>
                    <a:pt x="182" y="334"/>
                  </a:lnTo>
                  <a:lnTo>
                    <a:pt x="0" y="334"/>
                  </a:lnTo>
                  <a:lnTo>
                    <a:pt x="0" y="58"/>
                  </a:lnTo>
                  <a:lnTo>
                    <a:pt x="188" y="0"/>
                  </a:lnTo>
                  <a:lnTo>
                    <a:pt x="188" y="0"/>
                  </a:lnTo>
                  <a:lnTo>
                    <a:pt x="605" y="7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25">
              <a:extLst>
                <a:ext uri="{FF2B5EF4-FFF2-40B4-BE49-F238E27FC236}">
                  <a16:creationId xmlns:a16="http://schemas.microsoft.com/office/drawing/2014/main" xmlns="" id="{444A3C2B-2B1E-4295-9161-58BCD520DE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86" y="2513"/>
              <a:ext cx="577" cy="301"/>
            </a:xfrm>
            <a:custGeom>
              <a:avLst/>
              <a:gdLst>
                <a:gd name="T0" fmla="*/ 104 w 975"/>
                <a:gd name="T1" fmla="*/ 51 h 509"/>
                <a:gd name="T2" fmla="*/ 93 w 975"/>
                <a:gd name="T3" fmla="*/ 330 h 509"/>
                <a:gd name="T4" fmla="*/ 76 w 975"/>
                <a:gd name="T5" fmla="*/ 251 h 509"/>
                <a:gd name="T6" fmla="*/ 76 w 975"/>
                <a:gd name="T7" fmla="*/ 349 h 509"/>
                <a:gd name="T8" fmla="*/ 104 w 975"/>
                <a:gd name="T9" fmla="*/ 346 h 509"/>
                <a:gd name="T10" fmla="*/ 0 w 975"/>
                <a:gd name="T11" fmla="*/ 508 h 509"/>
                <a:gd name="T12" fmla="*/ 307 w 975"/>
                <a:gd name="T13" fmla="*/ 1 h 509"/>
                <a:gd name="T14" fmla="*/ 975 w 975"/>
                <a:gd name="T15" fmla="*/ 509 h 509"/>
                <a:gd name="T16" fmla="*/ 307 w 975"/>
                <a:gd name="T17" fmla="*/ 1 h 509"/>
                <a:gd name="T18" fmla="*/ 392 w 975"/>
                <a:gd name="T19" fmla="*/ 474 h 509"/>
                <a:gd name="T20" fmla="*/ 367 w 975"/>
                <a:gd name="T21" fmla="*/ 81 h 509"/>
                <a:gd name="T22" fmla="*/ 417 w 975"/>
                <a:gd name="T23" fmla="*/ 81 h 509"/>
                <a:gd name="T24" fmla="*/ 532 w 975"/>
                <a:gd name="T25" fmla="*/ 450 h 509"/>
                <a:gd name="T26" fmla="*/ 484 w 975"/>
                <a:gd name="T27" fmla="*/ 450 h 509"/>
                <a:gd name="T28" fmla="*/ 508 w 975"/>
                <a:gd name="T29" fmla="*/ 74 h 509"/>
                <a:gd name="T30" fmla="*/ 532 w 975"/>
                <a:gd name="T31" fmla="*/ 450 h 509"/>
                <a:gd name="T32" fmla="*/ 617 w 975"/>
                <a:gd name="T33" fmla="*/ 474 h 509"/>
                <a:gd name="T34" fmla="*/ 594 w 975"/>
                <a:gd name="T35" fmla="*/ 114 h 509"/>
                <a:gd name="T36" fmla="*/ 640 w 975"/>
                <a:gd name="T37" fmla="*/ 114 h 509"/>
                <a:gd name="T38" fmla="*/ 740 w 975"/>
                <a:gd name="T39" fmla="*/ 452 h 509"/>
                <a:gd name="T40" fmla="*/ 696 w 975"/>
                <a:gd name="T41" fmla="*/ 452 h 509"/>
                <a:gd name="T42" fmla="*/ 718 w 975"/>
                <a:gd name="T43" fmla="*/ 107 h 509"/>
                <a:gd name="T44" fmla="*/ 740 w 975"/>
                <a:gd name="T45" fmla="*/ 452 h 509"/>
                <a:gd name="T46" fmla="*/ 819 w 975"/>
                <a:gd name="T47" fmla="*/ 474 h 509"/>
                <a:gd name="T48" fmla="*/ 798 w 975"/>
                <a:gd name="T49" fmla="*/ 140 h 509"/>
                <a:gd name="T50" fmla="*/ 841 w 975"/>
                <a:gd name="T51" fmla="*/ 140 h 509"/>
                <a:gd name="T52" fmla="*/ 931 w 975"/>
                <a:gd name="T53" fmla="*/ 454 h 509"/>
                <a:gd name="T54" fmla="*/ 890 w 975"/>
                <a:gd name="T55" fmla="*/ 454 h 509"/>
                <a:gd name="T56" fmla="*/ 910 w 975"/>
                <a:gd name="T57" fmla="*/ 131 h 509"/>
                <a:gd name="T58" fmla="*/ 931 w 975"/>
                <a:gd name="T59" fmla="*/ 454 h 509"/>
                <a:gd name="T60" fmla="*/ 270 w 975"/>
                <a:gd name="T61" fmla="*/ 0 h 509"/>
                <a:gd name="T62" fmla="*/ 121 w 975"/>
                <a:gd name="T63" fmla="*/ 508 h 5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975" h="509">
                  <a:moveTo>
                    <a:pt x="0" y="84"/>
                  </a:moveTo>
                  <a:cubicBezTo>
                    <a:pt x="104" y="51"/>
                    <a:pt x="104" y="51"/>
                    <a:pt x="104" y="51"/>
                  </a:cubicBezTo>
                  <a:cubicBezTo>
                    <a:pt x="104" y="329"/>
                    <a:pt x="104" y="329"/>
                    <a:pt x="104" y="329"/>
                  </a:cubicBezTo>
                  <a:cubicBezTo>
                    <a:pt x="93" y="330"/>
                    <a:pt x="93" y="330"/>
                    <a:pt x="93" y="330"/>
                  </a:cubicBezTo>
                  <a:cubicBezTo>
                    <a:pt x="93" y="251"/>
                    <a:pt x="93" y="251"/>
                    <a:pt x="93" y="251"/>
                  </a:cubicBezTo>
                  <a:cubicBezTo>
                    <a:pt x="76" y="251"/>
                    <a:pt x="76" y="251"/>
                    <a:pt x="76" y="251"/>
                  </a:cubicBezTo>
                  <a:cubicBezTo>
                    <a:pt x="76" y="339"/>
                    <a:pt x="76" y="339"/>
                    <a:pt x="76" y="339"/>
                  </a:cubicBezTo>
                  <a:cubicBezTo>
                    <a:pt x="76" y="349"/>
                    <a:pt x="76" y="349"/>
                    <a:pt x="76" y="349"/>
                  </a:cubicBezTo>
                  <a:cubicBezTo>
                    <a:pt x="86" y="348"/>
                    <a:pt x="86" y="348"/>
                    <a:pt x="86" y="348"/>
                  </a:cubicBezTo>
                  <a:cubicBezTo>
                    <a:pt x="104" y="346"/>
                    <a:pt x="104" y="346"/>
                    <a:pt x="104" y="346"/>
                  </a:cubicBezTo>
                  <a:cubicBezTo>
                    <a:pt x="104" y="508"/>
                    <a:pt x="104" y="508"/>
                    <a:pt x="104" y="508"/>
                  </a:cubicBezTo>
                  <a:cubicBezTo>
                    <a:pt x="0" y="508"/>
                    <a:pt x="0" y="508"/>
                    <a:pt x="0" y="508"/>
                  </a:cubicBezTo>
                  <a:cubicBezTo>
                    <a:pt x="0" y="84"/>
                    <a:pt x="0" y="84"/>
                    <a:pt x="0" y="84"/>
                  </a:cubicBezTo>
                  <a:close/>
                  <a:moveTo>
                    <a:pt x="307" y="1"/>
                  </a:moveTo>
                  <a:cubicBezTo>
                    <a:pt x="307" y="509"/>
                    <a:pt x="307" y="509"/>
                    <a:pt x="307" y="509"/>
                  </a:cubicBezTo>
                  <a:cubicBezTo>
                    <a:pt x="975" y="509"/>
                    <a:pt x="975" y="509"/>
                    <a:pt x="975" y="509"/>
                  </a:cubicBezTo>
                  <a:cubicBezTo>
                    <a:pt x="975" y="115"/>
                    <a:pt x="975" y="115"/>
                    <a:pt x="975" y="115"/>
                  </a:cubicBezTo>
                  <a:lnTo>
                    <a:pt x="307" y="1"/>
                  </a:lnTo>
                  <a:close/>
                  <a:moveTo>
                    <a:pt x="417" y="449"/>
                  </a:moveTo>
                  <a:cubicBezTo>
                    <a:pt x="417" y="463"/>
                    <a:pt x="406" y="474"/>
                    <a:pt x="392" y="474"/>
                  </a:cubicBezTo>
                  <a:cubicBezTo>
                    <a:pt x="378" y="474"/>
                    <a:pt x="367" y="463"/>
                    <a:pt x="367" y="449"/>
                  </a:cubicBezTo>
                  <a:cubicBezTo>
                    <a:pt x="367" y="81"/>
                    <a:pt x="367" y="81"/>
                    <a:pt x="367" y="81"/>
                  </a:cubicBezTo>
                  <a:cubicBezTo>
                    <a:pt x="367" y="67"/>
                    <a:pt x="378" y="56"/>
                    <a:pt x="392" y="56"/>
                  </a:cubicBezTo>
                  <a:cubicBezTo>
                    <a:pt x="406" y="56"/>
                    <a:pt x="417" y="67"/>
                    <a:pt x="417" y="81"/>
                  </a:cubicBezTo>
                  <a:lnTo>
                    <a:pt x="417" y="449"/>
                  </a:lnTo>
                  <a:close/>
                  <a:moveTo>
                    <a:pt x="532" y="450"/>
                  </a:moveTo>
                  <a:cubicBezTo>
                    <a:pt x="532" y="463"/>
                    <a:pt x="521" y="474"/>
                    <a:pt x="508" y="474"/>
                  </a:cubicBezTo>
                  <a:cubicBezTo>
                    <a:pt x="495" y="474"/>
                    <a:pt x="484" y="463"/>
                    <a:pt x="484" y="450"/>
                  </a:cubicBezTo>
                  <a:cubicBezTo>
                    <a:pt x="484" y="98"/>
                    <a:pt x="484" y="98"/>
                    <a:pt x="484" y="98"/>
                  </a:cubicBezTo>
                  <a:cubicBezTo>
                    <a:pt x="484" y="85"/>
                    <a:pt x="495" y="74"/>
                    <a:pt x="508" y="74"/>
                  </a:cubicBezTo>
                  <a:cubicBezTo>
                    <a:pt x="521" y="74"/>
                    <a:pt x="532" y="85"/>
                    <a:pt x="532" y="98"/>
                  </a:cubicBezTo>
                  <a:lnTo>
                    <a:pt x="532" y="450"/>
                  </a:lnTo>
                  <a:close/>
                  <a:moveTo>
                    <a:pt x="640" y="451"/>
                  </a:moveTo>
                  <a:cubicBezTo>
                    <a:pt x="640" y="464"/>
                    <a:pt x="630" y="474"/>
                    <a:pt x="617" y="474"/>
                  </a:cubicBezTo>
                  <a:cubicBezTo>
                    <a:pt x="605" y="474"/>
                    <a:pt x="594" y="464"/>
                    <a:pt x="594" y="451"/>
                  </a:cubicBezTo>
                  <a:cubicBezTo>
                    <a:pt x="594" y="114"/>
                    <a:pt x="594" y="114"/>
                    <a:pt x="594" y="114"/>
                  </a:cubicBezTo>
                  <a:cubicBezTo>
                    <a:pt x="594" y="102"/>
                    <a:pt x="605" y="91"/>
                    <a:pt x="617" y="91"/>
                  </a:cubicBezTo>
                  <a:cubicBezTo>
                    <a:pt x="630" y="91"/>
                    <a:pt x="640" y="102"/>
                    <a:pt x="640" y="114"/>
                  </a:cubicBezTo>
                  <a:lnTo>
                    <a:pt x="640" y="451"/>
                  </a:lnTo>
                  <a:close/>
                  <a:moveTo>
                    <a:pt x="740" y="452"/>
                  </a:moveTo>
                  <a:cubicBezTo>
                    <a:pt x="740" y="464"/>
                    <a:pt x="730" y="474"/>
                    <a:pt x="718" y="474"/>
                  </a:cubicBezTo>
                  <a:cubicBezTo>
                    <a:pt x="706" y="474"/>
                    <a:pt x="696" y="464"/>
                    <a:pt x="696" y="452"/>
                  </a:cubicBezTo>
                  <a:cubicBezTo>
                    <a:pt x="696" y="129"/>
                    <a:pt x="696" y="129"/>
                    <a:pt x="696" y="129"/>
                  </a:cubicBezTo>
                  <a:cubicBezTo>
                    <a:pt x="696" y="117"/>
                    <a:pt x="706" y="107"/>
                    <a:pt x="718" y="107"/>
                  </a:cubicBezTo>
                  <a:cubicBezTo>
                    <a:pt x="730" y="107"/>
                    <a:pt x="740" y="117"/>
                    <a:pt x="740" y="129"/>
                  </a:cubicBezTo>
                  <a:lnTo>
                    <a:pt x="740" y="452"/>
                  </a:lnTo>
                  <a:close/>
                  <a:moveTo>
                    <a:pt x="841" y="453"/>
                  </a:moveTo>
                  <a:cubicBezTo>
                    <a:pt x="841" y="465"/>
                    <a:pt x="831" y="474"/>
                    <a:pt x="819" y="474"/>
                  </a:cubicBezTo>
                  <a:cubicBezTo>
                    <a:pt x="807" y="474"/>
                    <a:pt x="798" y="465"/>
                    <a:pt x="798" y="453"/>
                  </a:cubicBezTo>
                  <a:cubicBezTo>
                    <a:pt x="798" y="140"/>
                    <a:pt x="798" y="140"/>
                    <a:pt x="798" y="140"/>
                  </a:cubicBezTo>
                  <a:cubicBezTo>
                    <a:pt x="798" y="129"/>
                    <a:pt x="807" y="119"/>
                    <a:pt x="819" y="119"/>
                  </a:cubicBezTo>
                  <a:cubicBezTo>
                    <a:pt x="831" y="119"/>
                    <a:pt x="841" y="129"/>
                    <a:pt x="841" y="140"/>
                  </a:cubicBezTo>
                  <a:lnTo>
                    <a:pt x="841" y="453"/>
                  </a:lnTo>
                  <a:close/>
                  <a:moveTo>
                    <a:pt x="931" y="454"/>
                  </a:moveTo>
                  <a:cubicBezTo>
                    <a:pt x="931" y="465"/>
                    <a:pt x="922" y="474"/>
                    <a:pt x="910" y="474"/>
                  </a:cubicBezTo>
                  <a:cubicBezTo>
                    <a:pt x="899" y="474"/>
                    <a:pt x="890" y="465"/>
                    <a:pt x="890" y="454"/>
                  </a:cubicBezTo>
                  <a:cubicBezTo>
                    <a:pt x="890" y="152"/>
                    <a:pt x="890" y="152"/>
                    <a:pt x="890" y="152"/>
                  </a:cubicBezTo>
                  <a:cubicBezTo>
                    <a:pt x="890" y="141"/>
                    <a:pt x="899" y="131"/>
                    <a:pt x="910" y="131"/>
                  </a:cubicBezTo>
                  <a:cubicBezTo>
                    <a:pt x="922" y="131"/>
                    <a:pt x="931" y="141"/>
                    <a:pt x="931" y="152"/>
                  </a:cubicBezTo>
                  <a:lnTo>
                    <a:pt x="931" y="454"/>
                  </a:lnTo>
                  <a:close/>
                  <a:moveTo>
                    <a:pt x="121" y="46"/>
                  </a:moveTo>
                  <a:cubicBezTo>
                    <a:pt x="270" y="0"/>
                    <a:pt x="270" y="0"/>
                    <a:pt x="270" y="0"/>
                  </a:cubicBezTo>
                  <a:cubicBezTo>
                    <a:pt x="270" y="508"/>
                    <a:pt x="270" y="508"/>
                    <a:pt x="270" y="508"/>
                  </a:cubicBezTo>
                  <a:cubicBezTo>
                    <a:pt x="121" y="508"/>
                    <a:pt x="121" y="508"/>
                    <a:pt x="121" y="508"/>
                  </a:cubicBezTo>
                  <a:cubicBezTo>
                    <a:pt x="121" y="46"/>
                    <a:pt x="121" y="46"/>
                    <a:pt x="121" y="46"/>
                  </a:cubicBez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30" name="Group 79">
            <a:extLst>
              <a:ext uri="{FF2B5EF4-FFF2-40B4-BE49-F238E27FC236}">
                <a16:creationId xmlns:a16="http://schemas.microsoft.com/office/drawing/2014/main" xmlns="" id="{320A549B-F28E-44D6-8A94-28B1B3C4295B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473076" y="914797"/>
            <a:ext cx="482810" cy="469335"/>
            <a:chOff x="2253" y="1550"/>
            <a:chExt cx="1254" cy="1219"/>
          </a:xfrm>
          <a:effectLst>
            <a:outerShdw blurRad="101600" dist="76200" dir="2700000" algn="ctr" rotWithShape="0">
              <a:srgbClr val="000000">
                <a:alpha val="29000"/>
              </a:srgbClr>
            </a:outerShdw>
          </a:effectLst>
        </p:grpSpPr>
        <p:sp>
          <p:nvSpPr>
            <p:cNvPr id="31" name="AutoShape 78">
              <a:extLst>
                <a:ext uri="{FF2B5EF4-FFF2-40B4-BE49-F238E27FC236}">
                  <a16:creationId xmlns:a16="http://schemas.microsoft.com/office/drawing/2014/main" xmlns="" id="{CDABF33F-EB38-4DA5-B957-1F30D548079A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253" y="1550"/>
              <a:ext cx="1254" cy="12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80">
              <a:extLst>
                <a:ext uri="{FF2B5EF4-FFF2-40B4-BE49-F238E27FC236}">
                  <a16:creationId xmlns:a16="http://schemas.microsoft.com/office/drawing/2014/main" xmlns="" id="{18D50334-B75E-4E92-8111-DE5C6FA516B5}"/>
                </a:ext>
              </a:extLst>
            </p:cNvPr>
            <p:cNvSpPr>
              <a:spLocks/>
            </p:cNvSpPr>
            <p:nvPr/>
          </p:nvSpPr>
          <p:spPr bwMode="auto">
            <a:xfrm>
              <a:off x="2255" y="1552"/>
              <a:ext cx="1250" cy="1217"/>
            </a:xfrm>
            <a:custGeom>
              <a:avLst/>
              <a:gdLst>
                <a:gd name="T0" fmla="*/ 529 w 529"/>
                <a:gd name="T1" fmla="*/ 111 h 515"/>
                <a:gd name="T2" fmla="*/ 529 w 529"/>
                <a:gd name="T3" fmla="*/ 114 h 515"/>
                <a:gd name="T4" fmla="*/ 526 w 529"/>
                <a:gd name="T5" fmla="*/ 468 h 515"/>
                <a:gd name="T6" fmla="*/ 101 w 529"/>
                <a:gd name="T7" fmla="*/ 515 h 515"/>
                <a:gd name="T8" fmla="*/ 93 w 529"/>
                <a:gd name="T9" fmla="*/ 503 h 515"/>
                <a:gd name="T10" fmla="*/ 51 w 529"/>
                <a:gd name="T11" fmla="*/ 441 h 515"/>
                <a:gd name="T12" fmla="*/ 4 w 529"/>
                <a:gd name="T13" fmla="*/ 374 h 515"/>
                <a:gd name="T14" fmla="*/ 0 w 529"/>
                <a:gd name="T15" fmla="*/ 368 h 515"/>
                <a:gd name="T16" fmla="*/ 0 w 529"/>
                <a:gd name="T17" fmla="*/ 54 h 515"/>
                <a:gd name="T18" fmla="*/ 0 w 529"/>
                <a:gd name="T19" fmla="*/ 47 h 515"/>
                <a:gd name="T20" fmla="*/ 0 w 529"/>
                <a:gd name="T21" fmla="*/ 47 h 515"/>
                <a:gd name="T22" fmla="*/ 0 w 529"/>
                <a:gd name="T23" fmla="*/ 25 h 515"/>
                <a:gd name="T24" fmla="*/ 33 w 529"/>
                <a:gd name="T25" fmla="*/ 23 h 515"/>
                <a:gd name="T26" fmla="*/ 348 w 529"/>
                <a:gd name="T27" fmla="*/ 0 h 515"/>
                <a:gd name="T28" fmla="*/ 354 w 529"/>
                <a:gd name="T29" fmla="*/ 0 h 515"/>
                <a:gd name="T30" fmla="*/ 359 w 529"/>
                <a:gd name="T31" fmla="*/ 2 h 515"/>
                <a:gd name="T32" fmla="*/ 439 w 529"/>
                <a:gd name="T33" fmla="*/ 34 h 515"/>
                <a:gd name="T34" fmla="*/ 476 w 529"/>
                <a:gd name="T35" fmla="*/ 50 h 515"/>
                <a:gd name="T36" fmla="*/ 514 w 529"/>
                <a:gd name="T37" fmla="*/ 65 h 515"/>
                <a:gd name="T38" fmla="*/ 529 w 529"/>
                <a:gd name="T39" fmla="*/ 72 h 515"/>
                <a:gd name="T40" fmla="*/ 529 w 529"/>
                <a:gd name="T41" fmla="*/ 97 h 515"/>
                <a:gd name="T42" fmla="*/ 529 w 529"/>
                <a:gd name="T43" fmla="*/ 111 h 5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29" h="515">
                  <a:moveTo>
                    <a:pt x="529" y="111"/>
                  </a:moveTo>
                  <a:cubicBezTo>
                    <a:pt x="529" y="114"/>
                    <a:pt x="529" y="114"/>
                    <a:pt x="529" y="114"/>
                  </a:cubicBezTo>
                  <a:cubicBezTo>
                    <a:pt x="526" y="468"/>
                    <a:pt x="526" y="468"/>
                    <a:pt x="526" y="468"/>
                  </a:cubicBezTo>
                  <a:cubicBezTo>
                    <a:pt x="101" y="515"/>
                    <a:pt x="101" y="515"/>
                    <a:pt x="101" y="515"/>
                  </a:cubicBezTo>
                  <a:cubicBezTo>
                    <a:pt x="93" y="503"/>
                    <a:pt x="93" y="503"/>
                    <a:pt x="93" y="503"/>
                  </a:cubicBezTo>
                  <a:cubicBezTo>
                    <a:pt x="79" y="481"/>
                    <a:pt x="65" y="462"/>
                    <a:pt x="51" y="441"/>
                  </a:cubicBezTo>
                  <a:cubicBezTo>
                    <a:pt x="35" y="420"/>
                    <a:pt x="20" y="398"/>
                    <a:pt x="4" y="374"/>
                  </a:cubicBezTo>
                  <a:cubicBezTo>
                    <a:pt x="0" y="368"/>
                    <a:pt x="0" y="368"/>
                    <a:pt x="0" y="368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7"/>
                    <a:pt x="0" y="47"/>
                    <a:pt x="0" y="47"/>
                  </a:cubicBezTo>
                  <a:cubicBezTo>
                    <a:pt x="0" y="47"/>
                    <a:pt x="0" y="47"/>
                    <a:pt x="0" y="47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33" y="23"/>
                    <a:pt x="33" y="23"/>
                    <a:pt x="33" y="23"/>
                  </a:cubicBezTo>
                  <a:cubicBezTo>
                    <a:pt x="138" y="15"/>
                    <a:pt x="243" y="8"/>
                    <a:pt x="348" y="0"/>
                  </a:cubicBezTo>
                  <a:cubicBezTo>
                    <a:pt x="354" y="0"/>
                    <a:pt x="354" y="0"/>
                    <a:pt x="354" y="0"/>
                  </a:cubicBezTo>
                  <a:cubicBezTo>
                    <a:pt x="359" y="2"/>
                    <a:pt x="359" y="2"/>
                    <a:pt x="359" y="2"/>
                  </a:cubicBezTo>
                  <a:cubicBezTo>
                    <a:pt x="386" y="13"/>
                    <a:pt x="413" y="24"/>
                    <a:pt x="439" y="34"/>
                  </a:cubicBezTo>
                  <a:cubicBezTo>
                    <a:pt x="452" y="39"/>
                    <a:pt x="464" y="45"/>
                    <a:pt x="476" y="50"/>
                  </a:cubicBezTo>
                  <a:cubicBezTo>
                    <a:pt x="488" y="55"/>
                    <a:pt x="501" y="60"/>
                    <a:pt x="514" y="65"/>
                  </a:cubicBezTo>
                  <a:cubicBezTo>
                    <a:pt x="529" y="72"/>
                    <a:pt x="529" y="72"/>
                    <a:pt x="529" y="72"/>
                  </a:cubicBezTo>
                  <a:cubicBezTo>
                    <a:pt x="529" y="97"/>
                    <a:pt x="529" y="97"/>
                    <a:pt x="529" y="97"/>
                  </a:cubicBezTo>
                  <a:lnTo>
                    <a:pt x="529" y="11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81">
              <a:extLst>
                <a:ext uri="{FF2B5EF4-FFF2-40B4-BE49-F238E27FC236}">
                  <a16:creationId xmlns:a16="http://schemas.microsoft.com/office/drawing/2014/main" xmlns="" id="{4DC057F5-4C59-49C3-97C1-907FEB2C5A9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12" y="1609"/>
              <a:ext cx="1136" cy="1101"/>
            </a:xfrm>
            <a:custGeom>
              <a:avLst/>
              <a:gdLst>
                <a:gd name="T0" fmla="*/ 406 w 481"/>
                <a:gd name="T1" fmla="*/ 32 h 466"/>
                <a:gd name="T2" fmla="*/ 326 w 481"/>
                <a:gd name="T3" fmla="*/ 0 h 466"/>
                <a:gd name="T4" fmla="*/ 0 w 481"/>
                <a:gd name="T5" fmla="*/ 24 h 466"/>
                <a:gd name="T6" fmla="*/ 0 w 481"/>
                <a:gd name="T7" fmla="*/ 337 h 466"/>
                <a:gd name="T8" fmla="*/ 89 w 481"/>
                <a:gd name="T9" fmla="*/ 466 h 466"/>
                <a:gd name="T10" fmla="*/ 478 w 481"/>
                <a:gd name="T11" fmla="*/ 423 h 466"/>
                <a:gd name="T12" fmla="*/ 481 w 481"/>
                <a:gd name="T13" fmla="*/ 64 h 466"/>
                <a:gd name="T14" fmla="*/ 406 w 481"/>
                <a:gd name="T15" fmla="*/ 32 h 466"/>
                <a:gd name="T16" fmla="*/ 320 w 481"/>
                <a:gd name="T17" fmla="*/ 22 h 466"/>
                <a:gd name="T18" fmla="*/ 440 w 481"/>
                <a:gd name="T19" fmla="*/ 72 h 466"/>
                <a:gd name="T20" fmla="*/ 300 w 481"/>
                <a:gd name="T21" fmla="*/ 83 h 466"/>
                <a:gd name="T22" fmla="*/ 214 w 481"/>
                <a:gd name="T23" fmla="*/ 29 h 466"/>
                <a:gd name="T24" fmla="*/ 320 w 481"/>
                <a:gd name="T25" fmla="*/ 22 h 466"/>
                <a:gd name="T26" fmla="*/ 29 w 481"/>
                <a:gd name="T27" fmla="*/ 43 h 466"/>
                <a:gd name="T28" fmla="*/ 167 w 481"/>
                <a:gd name="T29" fmla="*/ 33 h 466"/>
                <a:gd name="T30" fmla="*/ 249 w 481"/>
                <a:gd name="T31" fmla="*/ 88 h 466"/>
                <a:gd name="T32" fmla="*/ 97 w 481"/>
                <a:gd name="T33" fmla="*/ 100 h 466"/>
                <a:gd name="T34" fmla="*/ 29 w 481"/>
                <a:gd name="T35" fmla="*/ 43 h 466"/>
                <a:gd name="T36" fmla="*/ 451 w 481"/>
                <a:gd name="T37" fmla="*/ 406 h 466"/>
                <a:gd name="T38" fmla="*/ 100 w 481"/>
                <a:gd name="T39" fmla="*/ 444 h 466"/>
                <a:gd name="T40" fmla="*/ 100 w 481"/>
                <a:gd name="T41" fmla="*/ 125 h 466"/>
                <a:gd name="T42" fmla="*/ 253 w 481"/>
                <a:gd name="T43" fmla="*/ 112 h 466"/>
                <a:gd name="T44" fmla="*/ 254 w 481"/>
                <a:gd name="T45" fmla="*/ 178 h 466"/>
                <a:gd name="T46" fmla="*/ 300 w 481"/>
                <a:gd name="T47" fmla="*/ 173 h 466"/>
                <a:gd name="T48" fmla="*/ 301 w 481"/>
                <a:gd name="T49" fmla="*/ 108 h 466"/>
                <a:gd name="T50" fmla="*/ 453 w 481"/>
                <a:gd name="T51" fmla="*/ 95 h 466"/>
                <a:gd name="T52" fmla="*/ 451 w 481"/>
                <a:gd name="T53" fmla="*/ 406 h 466"/>
                <a:gd name="T54" fmla="*/ 175 w 481"/>
                <a:gd name="T55" fmla="*/ 386 h 466"/>
                <a:gd name="T56" fmla="*/ 143 w 481"/>
                <a:gd name="T57" fmla="*/ 389 h 466"/>
                <a:gd name="T58" fmla="*/ 143 w 481"/>
                <a:gd name="T59" fmla="*/ 334 h 466"/>
                <a:gd name="T60" fmla="*/ 122 w 481"/>
                <a:gd name="T61" fmla="*/ 336 h 466"/>
                <a:gd name="T62" fmla="*/ 159 w 481"/>
                <a:gd name="T63" fmla="*/ 279 h 466"/>
                <a:gd name="T64" fmla="*/ 196 w 481"/>
                <a:gd name="T65" fmla="*/ 328 h 466"/>
                <a:gd name="T66" fmla="*/ 175 w 481"/>
                <a:gd name="T67" fmla="*/ 330 h 466"/>
                <a:gd name="T68" fmla="*/ 175 w 481"/>
                <a:gd name="T69" fmla="*/ 386 h 466"/>
                <a:gd name="T70" fmla="*/ 175 w 481"/>
                <a:gd name="T71" fmla="*/ 386 h 466"/>
                <a:gd name="T72" fmla="*/ 257 w 481"/>
                <a:gd name="T73" fmla="*/ 377 h 466"/>
                <a:gd name="T74" fmla="*/ 225 w 481"/>
                <a:gd name="T75" fmla="*/ 380 h 466"/>
                <a:gd name="T76" fmla="*/ 225 w 481"/>
                <a:gd name="T77" fmla="*/ 325 h 466"/>
                <a:gd name="T78" fmla="*/ 204 w 481"/>
                <a:gd name="T79" fmla="*/ 327 h 466"/>
                <a:gd name="T80" fmla="*/ 241 w 481"/>
                <a:gd name="T81" fmla="*/ 270 h 466"/>
                <a:gd name="T82" fmla="*/ 278 w 481"/>
                <a:gd name="T83" fmla="*/ 319 h 466"/>
                <a:gd name="T84" fmla="*/ 257 w 481"/>
                <a:gd name="T85" fmla="*/ 321 h 466"/>
                <a:gd name="T86" fmla="*/ 257 w 481"/>
                <a:gd name="T87" fmla="*/ 377 h 466"/>
                <a:gd name="T88" fmla="*/ 257 w 481"/>
                <a:gd name="T89" fmla="*/ 377 h 466"/>
                <a:gd name="T90" fmla="*/ 123 w 481"/>
                <a:gd name="T91" fmla="*/ 401 h 466"/>
                <a:gd name="T92" fmla="*/ 278 w 481"/>
                <a:gd name="T93" fmla="*/ 385 h 466"/>
                <a:gd name="T94" fmla="*/ 278 w 481"/>
                <a:gd name="T95" fmla="*/ 400 h 466"/>
                <a:gd name="T96" fmla="*/ 123 w 481"/>
                <a:gd name="T97" fmla="*/ 417 h 466"/>
                <a:gd name="T98" fmla="*/ 123 w 481"/>
                <a:gd name="T99" fmla="*/ 401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481" h="466">
                  <a:moveTo>
                    <a:pt x="406" y="32"/>
                  </a:moveTo>
                  <a:cubicBezTo>
                    <a:pt x="380" y="22"/>
                    <a:pt x="353" y="11"/>
                    <a:pt x="326" y="0"/>
                  </a:cubicBezTo>
                  <a:cubicBezTo>
                    <a:pt x="218" y="8"/>
                    <a:pt x="109" y="16"/>
                    <a:pt x="0" y="24"/>
                  </a:cubicBezTo>
                  <a:cubicBezTo>
                    <a:pt x="0" y="337"/>
                    <a:pt x="0" y="337"/>
                    <a:pt x="0" y="337"/>
                  </a:cubicBezTo>
                  <a:cubicBezTo>
                    <a:pt x="30" y="383"/>
                    <a:pt x="60" y="421"/>
                    <a:pt x="89" y="466"/>
                  </a:cubicBezTo>
                  <a:cubicBezTo>
                    <a:pt x="478" y="423"/>
                    <a:pt x="478" y="423"/>
                    <a:pt x="478" y="423"/>
                  </a:cubicBezTo>
                  <a:cubicBezTo>
                    <a:pt x="481" y="64"/>
                    <a:pt x="481" y="64"/>
                    <a:pt x="481" y="64"/>
                  </a:cubicBezTo>
                  <a:cubicBezTo>
                    <a:pt x="455" y="53"/>
                    <a:pt x="432" y="43"/>
                    <a:pt x="406" y="32"/>
                  </a:cubicBezTo>
                  <a:close/>
                  <a:moveTo>
                    <a:pt x="320" y="22"/>
                  </a:moveTo>
                  <a:cubicBezTo>
                    <a:pt x="440" y="72"/>
                    <a:pt x="440" y="72"/>
                    <a:pt x="440" y="72"/>
                  </a:cubicBezTo>
                  <a:cubicBezTo>
                    <a:pt x="300" y="83"/>
                    <a:pt x="300" y="83"/>
                    <a:pt x="300" y="83"/>
                  </a:cubicBezTo>
                  <a:cubicBezTo>
                    <a:pt x="214" y="29"/>
                    <a:pt x="214" y="29"/>
                    <a:pt x="214" y="29"/>
                  </a:cubicBezTo>
                  <a:lnTo>
                    <a:pt x="320" y="22"/>
                  </a:lnTo>
                  <a:close/>
                  <a:moveTo>
                    <a:pt x="29" y="43"/>
                  </a:moveTo>
                  <a:cubicBezTo>
                    <a:pt x="167" y="33"/>
                    <a:pt x="167" y="33"/>
                    <a:pt x="167" y="33"/>
                  </a:cubicBezTo>
                  <a:cubicBezTo>
                    <a:pt x="249" y="88"/>
                    <a:pt x="249" y="88"/>
                    <a:pt x="249" y="88"/>
                  </a:cubicBezTo>
                  <a:cubicBezTo>
                    <a:pt x="97" y="100"/>
                    <a:pt x="97" y="100"/>
                    <a:pt x="97" y="100"/>
                  </a:cubicBezTo>
                  <a:lnTo>
                    <a:pt x="29" y="43"/>
                  </a:lnTo>
                  <a:close/>
                  <a:moveTo>
                    <a:pt x="451" y="406"/>
                  </a:moveTo>
                  <a:cubicBezTo>
                    <a:pt x="100" y="444"/>
                    <a:pt x="100" y="444"/>
                    <a:pt x="100" y="444"/>
                  </a:cubicBezTo>
                  <a:cubicBezTo>
                    <a:pt x="100" y="125"/>
                    <a:pt x="100" y="125"/>
                    <a:pt x="100" y="125"/>
                  </a:cubicBezTo>
                  <a:cubicBezTo>
                    <a:pt x="253" y="112"/>
                    <a:pt x="253" y="112"/>
                    <a:pt x="253" y="112"/>
                  </a:cubicBezTo>
                  <a:cubicBezTo>
                    <a:pt x="253" y="134"/>
                    <a:pt x="254" y="156"/>
                    <a:pt x="254" y="178"/>
                  </a:cubicBezTo>
                  <a:cubicBezTo>
                    <a:pt x="269" y="176"/>
                    <a:pt x="284" y="174"/>
                    <a:pt x="300" y="173"/>
                  </a:cubicBezTo>
                  <a:cubicBezTo>
                    <a:pt x="300" y="151"/>
                    <a:pt x="301" y="130"/>
                    <a:pt x="301" y="108"/>
                  </a:cubicBezTo>
                  <a:cubicBezTo>
                    <a:pt x="453" y="95"/>
                    <a:pt x="453" y="95"/>
                    <a:pt x="453" y="95"/>
                  </a:cubicBezTo>
                  <a:lnTo>
                    <a:pt x="451" y="406"/>
                  </a:lnTo>
                  <a:close/>
                  <a:moveTo>
                    <a:pt x="175" y="386"/>
                  </a:moveTo>
                  <a:cubicBezTo>
                    <a:pt x="143" y="389"/>
                    <a:pt x="143" y="389"/>
                    <a:pt x="143" y="389"/>
                  </a:cubicBezTo>
                  <a:cubicBezTo>
                    <a:pt x="143" y="334"/>
                    <a:pt x="143" y="334"/>
                    <a:pt x="143" y="334"/>
                  </a:cubicBezTo>
                  <a:cubicBezTo>
                    <a:pt x="122" y="336"/>
                    <a:pt x="122" y="336"/>
                    <a:pt x="122" y="336"/>
                  </a:cubicBezTo>
                  <a:cubicBezTo>
                    <a:pt x="159" y="279"/>
                    <a:pt x="159" y="279"/>
                    <a:pt x="159" y="279"/>
                  </a:cubicBezTo>
                  <a:cubicBezTo>
                    <a:pt x="196" y="328"/>
                    <a:pt x="196" y="328"/>
                    <a:pt x="196" y="328"/>
                  </a:cubicBezTo>
                  <a:cubicBezTo>
                    <a:pt x="175" y="330"/>
                    <a:pt x="175" y="330"/>
                    <a:pt x="175" y="330"/>
                  </a:cubicBezTo>
                  <a:cubicBezTo>
                    <a:pt x="175" y="343"/>
                    <a:pt x="175" y="373"/>
                    <a:pt x="175" y="386"/>
                  </a:cubicBezTo>
                  <a:cubicBezTo>
                    <a:pt x="175" y="386"/>
                    <a:pt x="175" y="386"/>
                    <a:pt x="175" y="386"/>
                  </a:cubicBezTo>
                  <a:close/>
                  <a:moveTo>
                    <a:pt x="257" y="377"/>
                  </a:moveTo>
                  <a:cubicBezTo>
                    <a:pt x="225" y="380"/>
                    <a:pt x="225" y="380"/>
                    <a:pt x="225" y="380"/>
                  </a:cubicBezTo>
                  <a:cubicBezTo>
                    <a:pt x="225" y="325"/>
                    <a:pt x="225" y="325"/>
                    <a:pt x="225" y="325"/>
                  </a:cubicBezTo>
                  <a:cubicBezTo>
                    <a:pt x="204" y="327"/>
                    <a:pt x="204" y="327"/>
                    <a:pt x="204" y="327"/>
                  </a:cubicBezTo>
                  <a:cubicBezTo>
                    <a:pt x="241" y="270"/>
                    <a:pt x="241" y="270"/>
                    <a:pt x="241" y="270"/>
                  </a:cubicBezTo>
                  <a:cubicBezTo>
                    <a:pt x="278" y="319"/>
                    <a:pt x="278" y="319"/>
                    <a:pt x="278" y="319"/>
                  </a:cubicBezTo>
                  <a:cubicBezTo>
                    <a:pt x="257" y="321"/>
                    <a:pt x="257" y="321"/>
                    <a:pt x="257" y="321"/>
                  </a:cubicBezTo>
                  <a:cubicBezTo>
                    <a:pt x="257" y="334"/>
                    <a:pt x="257" y="364"/>
                    <a:pt x="257" y="377"/>
                  </a:cubicBezTo>
                  <a:cubicBezTo>
                    <a:pt x="257" y="377"/>
                    <a:pt x="257" y="377"/>
                    <a:pt x="257" y="377"/>
                  </a:cubicBezTo>
                  <a:close/>
                  <a:moveTo>
                    <a:pt x="123" y="401"/>
                  </a:moveTo>
                  <a:cubicBezTo>
                    <a:pt x="278" y="385"/>
                    <a:pt x="278" y="385"/>
                    <a:pt x="278" y="385"/>
                  </a:cubicBezTo>
                  <a:cubicBezTo>
                    <a:pt x="278" y="400"/>
                    <a:pt x="278" y="400"/>
                    <a:pt x="278" y="400"/>
                  </a:cubicBezTo>
                  <a:cubicBezTo>
                    <a:pt x="123" y="417"/>
                    <a:pt x="123" y="417"/>
                    <a:pt x="123" y="417"/>
                  </a:cubicBezTo>
                  <a:cubicBezTo>
                    <a:pt x="123" y="401"/>
                    <a:pt x="123" y="401"/>
                    <a:pt x="123" y="401"/>
                  </a:cubicBez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34" name="Group 74">
            <a:extLst>
              <a:ext uri="{FF2B5EF4-FFF2-40B4-BE49-F238E27FC236}">
                <a16:creationId xmlns:a16="http://schemas.microsoft.com/office/drawing/2014/main" xmlns="" id="{CF3F33C6-3AF3-4D51-A5C5-FB8A85E8928C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198995" y="387855"/>
            <a:ext cx="421887" cy="359128"/>
            <a:chOff x="3997" y="1822"/>
            <a:chExt cx="484" cy="412"/>
          </a:xfrm>
          <a:effectLst>
            <a:outerShdw blurRad="101600" dist="76200" dir="2700000" algn="ctr" rotWithShape="0">
              <a:srgbClr val="000000">
                <a:alpha val="29000"/>
              </a:srgbClr>
            </a:outerShdw>
          </a:effectLst>
        </p:grpSpPr>
        <p:sp>
          <p:nvSpPr>
            <p:cNvPr id="35" name="AutoShape 73">
              <a:extLst>
                <a:ext uri="{FF2B5EF4-FFF2-40B4-BE49-F238E27FC236}">
                  <a16:creationId xmlns:a16="http://schemas.microsoft.com/office/drawing/2014/main" xmlns="" id="{3C973959-A8FA-40F7-866C-2BF0DC6AC175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997" y="1822"/>
              <a:ext cx="484" cy="4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75">
              <a:extLst>
                <a:ext uri="{FF2B5EF4-FFF2-40B4-BE49-F238E27FC236}">
                  <a16:creationId xmlns:a16="http://schemas.microsoft.com/office/drawing/2014/main" xmlns="" id="{2568FA38-EF15-4DEC-910E-059EA33517E1}"/>
                </a:ext>
              </a:extLst>
            </p:cNvPr>
            <p:cNvSpPr>
              <a:spLocks/>
            </p:cNvSpPr>
            <p:nvPr/>
          </p:nvSpPr>
          <p:spPr bwMode="auto">
            <a:xfrm>
              <a:off x="3997" y="1821"/>
              <a:ext cx="483" cy="413"/>
            </a:xfrm>
            <a:custGeom>
              <a:avLst/>
              <a:gdLst>
                <a:gd name="T0" fmla="*/ 425 w 425"/>
                <a:gd name="T1" fmla="*/ 140 h 364"/>
                <a:gd name="T2" fmla="*/ 411 w 425"/>
                <a:gd name="T3" fmla="*/ 140 h 364"/>
                <a:gd name="T4" fmla="*/ 411 w 425"/>
                <a:gd name="T5" fmla="*/ 142 h 364"/>
                <a:gd name="T6" fmla="*/ 411 w 425"/>
                <a:gd name="T7" fmla="*/ 197 h 364"/>
                <a:gd name="T8" fmla="*/ 425 w 425"/>
                <a:gd name="T9" fmla="*/ 197 h 364"/>
                <a:gd name="T10" fmla="*/ 425 w 425"/>
                <a:gd name="T11" fmla="*/ 254 h 364"/>
                <a:gd name="T12" fmla="*/ 411 w 425"/>
                <a:gd name="T13" fmla="*/ 254 h 364"/>
                <a:gd name="T14" fmla="*/ 411 w 425"/>
                <a:gd name="T15" fmla="*/ 256 h 364"/>
                <a:gd name="T16" fmla="*/ 411 w 425"/>
                <a:gd name="T17" fmla="*/ 307 h 364"/>
                <a:gd name="T18" fmla="*/ 425 w 425"/>
                <a:gd name="T19" fmla="*/ 307 h 364"/>
                <a:gd name="T20" fmla="*/ 425 w 425"/>
                <a:gd name="T21" fmla="*/ 364 h 364"/>
                <a:gd name="T22" fmla="*/ 0 w 425"/>
                <a:gd name="T23" fmla="*/ 364 h 364"/>
                <a:gd name="T24" fmla="*/ 0 w 425"/>
                <a:gd name="T25" fmla="*/ 307 h 364"/>
                <a:gd name="T26" fmla="*/ 14 w 425"/>
                <a:gd name="T27" fmla="*/ 307 h 364"/>
                <a:gd name="T28" fmla="*/ 14 w 425"/>
                <a:gd name="T29" fmla="*/ 256 h 364"/>
                <a:gd name="T30" fmla="*/ 15 w 425"/>
                <a:gd name="T31" fmla="*/ 254 h 364"/>
                <a:gd name="T32" fmla="*/ 0 w 425"/>
                <a:gd name="T33" fmla="*/ 254 h 364"/>
                <a:gd name="T34" fmla="*/ 0 w 425"/>
                <a:gd name="T35" fmla="*/ 197 h 364"/>
                <a:gd name="T36" fmla="*/ 14 w 425"/>
                <a:gd name="T37" fmla="*/ 197 h 364"/>
                <a:gd name="T38" fmla="*/ 14 w 425"/>
                <a:gd name="T39" fmla="*/ 142 h 364"/>
                <a:gd name="T40" fmla="*/ 15 w 425"/>
                <a:gd name="T41" fmla="*/ 140 h 364"/>
                <a:gd name="T42" fmla="*/ 0 w 425"/>
                <a:gd name="T43" fmla="*/ 140 h 364"/>
                <a:gd name="T44" fmla="*/ 0 w 425"/>
                <a:gd name="T45" fmla="*/ 83 h 364"/>
                <a:gd name="T46" fmla="*/ 14 w 425"/>
                <a:gd name="T47" fmla="*/ 83 h 364"/>
                <a:gd name="T48" fmla="*/ 14 w 425"/>
                <a:gd name="T49" fmla="*/ 29 h 364"/>
                <a:gd name="T50" fmla="*/ 43 w 425"/>
                <a:gd name="T51" fmla="*/ 0 h 364"/>
                <a:gd name="T52" fmla="*/ 139 w 425"/>
                <a:gd name="T53" fmla="*/ 0 h 364"/>
                <a:gd name="T54" fmla="*/ 152 w 425"/>
                <a:gd name="T55" fmla="*/ 3 h 364"/>
                <a:gd name="T56" fmla="*/ 165 w 425"/>
                <a:gd name="T57" fmla="*/ 0 h 364"/>
                <a:gd name="T58" fmla="*/ 261 w 425"/>
                <a:gd name="T59" fmla="*/ 0 h 364"/>
                <a:gd name="T60" fmla="*/ 273 w 425"/>
                <a:gd name="T61" fmla="*/ 3 h 364"/>
                <a:gd name="T62" fmla="*/ 286 w 425"/>
                <a:gd name="T63" fmla="*/ 0 h 364"/>
                <a:gd name="T64" fmla="*/ 382 w 425"/>
                <a:gd name="T65" fmla="*/ 0 h 364"/>
                <a:gd name="T66" fmla="*/ 411 w 425"/>
                <a:gd name="T67" fmla="*/ 29 h 364"/>
                <a:gd name="T68" fmla="*/ 411 w 425"/>
                <a:gd name="T69" fmla="*/ 83 h 364"/>
                <a:gd name="T70" fmla="*/ 425 w 425"/>
                <a:gd name="T71" fmla="*/ 83 h 364"/>
                <a:gd name="T72" fmla="*/ 425 w 425"/>
                <a:gd name="T73" fmla="*/ 140 h 3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25" h="364">
                  <a:moveTo>
                    <a:pt x="425" y="140"/>
                  </a:moveTo>
                  <a:cubicBezTo>
                    <a:pt x="411" y="140"/>
                    <a:pt x="411" y="140"/>
                    <a:pt x="411" y="140"/>
                  </a:cubicBezTo>
                  <a:cubicBezTo>
                    <a:pt x="411" y="141"/>
                    <a:pt x="411" y="142"/>
                    <a:pt x="411" y="142"/>
                  </a:cubicBezTo>
                  <a:cubicBezTo>
                    <a:pt x="411" y="197"/>
                    <a:pt x="411" y="197"/>
                    <a:pt x="411" y="197"/>
                  </a:cubicBezTo>
                  <a:cubicBezTo>
                    <a:pt x="425" y="197"/>
                    <a:pt x="425" y="197"/>
                    <a:pt x="425" y="197"/>
                  </a:cubicBezTo>
                  <a:cubicBezTo>
                    <a:pt x="425" y="254"/>
                    <a:pt x="425" y="254"/>
                    <a:pt x="425" y="254"/>
                  </a:cubicBezTo>
                  <a:cubicBezTo>
                    <a:pt x="411" y="254"/>
                    <a:pt x="411" y="254"/>
                    <a:pt x="411" y="254"/>
                  </a:cubicBezTo>
                  <a:cubicBezTo>
                    <a:pt x="411" y="254"/>
                    <a:pt x="411" y="255"/>
                    <a:pt x="411" y="256"/>
                  </a:cubicBezTo>
                  <a:cubicBezTo>
                    <a:pt x="411" y="307"/>
                    <a:pt x="411" y="307"/>
                    <a:pt x="411" y="307"/>
                  </a:cubicBezTo>
                  <a:cubicBezTo>
                    <a:pt x="425" y="307"/>
                    <a:pt x="425" y="307"/>
                    <a:pt x="425" y="307"/>
                  </a:cubicBezTo>
                  <a:cubicBezTo>
                    <a:pt x="425" y="364"/>
                    <a:pt x="425" y="364"/>
                    <a:pt x="425" y="364"/>
                  </a:cubicBezTo>
                  <a:cubicBezTo>
                    <a:pt x="0" y="364"/>
                    <a:pt x="0" y="364"/>
                    <a:pt x="0" y="364"/>
                  </a:cubicBezTo>
                  <a:cubicBezTo>
                    <a:pt x="0" y="307"/>
                    <a:pt x="0" y="307"/>
                    <a:pt x="0" y="307"/>
                  </a:cubicBezTo>
                  <a:cubicBezTo>
                    <a:pt x="14" y="307"/>
                    <a:pt x="14" y="307"/>
                    <a:pt x="14" y="307"/>
                  </a:cubicBezTo>
                  <a:cubicBezTo>
                    <a:pt x="14" y="256"/>
                    <a:pt x="14" y="256"/>
                    <a:pt x="14" y="256"/>
                  </a:cubicBezTo>
                  <a:cubicBezTo>
                    <a:pt x="14" y="255"/>
                    <a:pt x="14" y="254"/>
                    <a:pt x="15" y="254"/>
                  </a:cubicBezTo>
                  <a:cubicBezTo>
                    <a:pt x="0" y="254"/>
                    <a:pt x="0" y="254"/>
                    <a:pt x="0" y="254"/>
                  </a:cubicBezTo>
                  <a:cubicBezTo>
                    <a:pt x="0" y="197"/>
                    <a:pt x="0" y="197"/>
                    <a:pt x="0" y="197"/>
                  </a:cubicBezTo>
                  <a:cubicBezTo>
                    <a:pt x="14" y="197"/>
                    <a:pt x="14" y="197"/>
                    <a:pt x="14" y="197"/>
                  </a:cubicBezTo>
                  <a:cubicBezTo>
                    <a:pt x="14" y="142"/>
                    <a:pt x="14" y="142"/>
                    <a:pt x="14" y="142"/>
                  </a:cubicBezTo>
                  <a:cubicBezTo>
                    <a:pt x="14" y="142"/>
                    <a:pt x="14" y="141"/>
                    <a:pt x="15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83"/>
                    <a:pt x="0" y="83"/>
                    <a:pt x="0" y="83"/>
                  </a:cubicBezTo>
                  <a:cubicBezTo>
                    <a:pt x="14" y="83"/>
                    <a:pt x="14" y="83"/>
                    <a:pt x="14" y="83"/>
                  </a:cubicBezTo>
                  <a:cubicBezTo>
                    <a:pt x="14" y="29"/>
                    <a:pt x="14" y="29"/>
                    <a:pt x="14" y="29"/>
                  </a:cubicBezTo>
                  <a:cubicBezTo>
                    <a:pt x="14" y="13"/>
                    <a:pt x="27" y="0"/>
                    <a:pt x="43" y="0"/>
                  </a:cubicBezTo>
                  <a:cubicBezTo>
                    <a:pt x="139" y="0"/>
                    <a:pt x="139" y="0"/>
                    <a:pt x="139" y="0"/>
                  </a:cubicBezTo>
                  <a:cubicBezTo>
                    <a:pt x="144" y="0"/>
                    <a:pt x="148" y="1"/>
                    <a:pt x="152" y="3"/>
                  </a:cubicBezTo>
                  <a:cubicBezTo>
                    <a:pt x="156" y="1"/>
                    <a:pt x="160" y="0"/>
                    <a:pt x="165" y="0"/>
                  </a:cubicBezTo>
                  <a:cubicBezTo>
                    <a:pt x="261" y="0"/>
                    <a:pt x="261" y="0"/>
                    <a:pt x="261" y="0"/>
                  </a:cubicBezTo>
                  <a:cubicBezTo>
                    <a:pt x="265" y="0"/>
                    <a:pt x="269" y="1"/>
                    <a:pt x="273" y="3"/>
                  </a:cubicBezTo>
                  <a:cubicBezTo>
                    <a:pt x="277" y="1"/>
                    <a:pt x="281" y="0"/>
                    <a:pt x="286" y="0"/>
                  </a:cubicBezTo>
                  <a:cubicBezTo>
                    <a:pt x="382" y="0"/>
                    <a:pt x="382" y="0"/>
                    <a:pt x="382" y="0"/>
                  </a:cubicBezTo>
                  <a:cubicBezTo>
                    <a:pt x="398" y="0"/>
                    <a:pt x="411" y="13"/>
                    <a:pt x="411" y="29"/>
                  </a:cubicBezTo>
                  <a:cubicBezTo>
                    <a:pt x="411" y="83"/>
                    <a:pt x="411" y="83"/>
                    <a:pt x="411" y="83"/>
                  </a:cubicBezTo>
                  <a:cubicBezTo>
                    <a:pt x="425" y="83"/>
                    <a:pt x="425" y="83"/>
                    <a:pt x="425" y="83"/>
                  </a:cubicBezTo>
                  <a:lnTo>
                    <a:pt x="425" y="14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76">
              <a:extLst>
                <a:ext uri="{FF2B5EF4-FFF2-40B4-BE49-F238E27FC236}">
                  <a16:creationId xmlns:a16="http://schemas.microsoft.com/office/drawing/2014/main" xmlns="" id="{AA6213EE-BF7F-47D5-8C3D-05F8B6181D2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24" y="1848"/>
              <a:ext cx="429" cy="359"/>
            </a:xfrm>
            <a:custGeom>
              <a:avLst/>
              <a:gdLst>
                <a:gd name="T0" fmla="*/ 115 w 377"/>
                <a:gd name="T1" fmla="*/ 67 h 316"/>
                <a:gd name="T2" fmla="*/ 14 w 377"/>
                <a:gd name="T3" fmla="*/ 62 h 316"/>
                <a:gd name="T4" fmla="*/ 19 w 377"/>
                <a:gd name="T5" fmla="*/ 0 h 316"/>
                <a:gd name="T6" fmla="*/ 120 w 377"/>
                <a:gd name="T7" fmla="*/ 5 h 316"/>
                <a:gd name="T8" fmla="*/ 241 w 377"/>
                <a:gd name="T9" fmla="*/ 5 h 316"/>
                <a:gd name="T10" fmla="*/ 141 w 377"/>
                <a:gd name="T11" fmla="*/ 0 h 316"/>
                <a:gd name="T12" fmla="*/ 136 w 377"/>
                <a:gd name="T13" fmla="*/ 62 h 316"/>
                <a:gd name="T14" fmla="*/ 237 w 377"/>
                <a:gd name="T15" fmla="*/ 67 h 316"/>
                <a:gd name="T16" fmla="*/ 241 w 377"/>
                <a:gd name="T17" fmla="*/ 5 h 316"/>
                <a:gd name="T18" fmla="*/ 358 w 377"/>
                <a:gd name="T19" fmla="*/ 0 h 316"/>
                <a:gd name="T20" fmla="*/ 257 w 377"/>
                <a:gd name="T21" fmla="*/ 5 h 316"/>
                <a:gd name="T22" fmla="*/ 262 w 377"/>
                <a:gd name="T23" fmla="*/ 67 h 316"/>
                <a:gd name="T24" fmla="*/ 363 w 377"/>
                <a:gd name="T25" fmla="*/ 62 h 316"/>
                <a:gd name="T26" fmla="*/ 377 w 377"/>
                <a:gd name="T27" fmla="*/ 83 h 316"/>
                <a:gd name="T28" fmla="*/ 0 w 377"/>
                <a:gd name="T29" fmla="*/ 92 h 316"/>
                <a:gd name="T30" fmla="*/ 377 w 377"/>
                <a:gd name="T31" fmla="*/ 83 h 316"/>
                <a:gd name="T32" fmla="*/ 115 w 377"/>
                <a:gd name="T33" fmla="*/ 114 h 316"/>
                <a:gd name="T34" fmla="*/ 14 w 377"/>
                <a:gd name="T35" fmla="*/ 118 h 316"/>
                <a:gd name="T36" fmla="*/ 19 w 377"/>
                <a:gd name="T37" fmla="*/ 180 h 316"/>
                <a:gd name="T38" fmla="*/ 120 w 377"/>
                <a:gd name="T39" fmla="*/ 176 h 316"/>
                <a:gd name="T40" fmla="*/ 241 w 377"/>
                <a:gd name="T41" fmla="*/ 118 h 316"/>
                <a:gd name="T42" fmla="*/ 141 w 377"/>
                <a:gd name="T43" fmla="*/ 114 h 316"/>
                <a:gd name="T44" fmla="*/ 136 w 377"/>
                <a:gd name="T45" fmla="*/ 176 h 316"/>
                <a:gd name="T46" fmla="*/ 237 w 377"/>
                <a:gd name="T47" fmla="*/ 180 h 316"/>
                <a:gd name="T48" fmla="*/ 241 w 377"/>
                <a:gd name="T49" fmla="*/ 118 h 316"/>
                <a:gd name="T50" fmla="*/ 358 w 377"/>
                <a:gd name="T51" fmla="*/ 114 h 316"/>
                <a:gd name="T52" fmla="*/ 257 w 377"/>
                <a:gd name="T53" fmla="*/ 118 h 316"/>
                <a:gd name="T54" fmla="*/ 262 w 377"/>
                <a:gd name="T55" fmla="*/ 180 h 316"/>
                <a:gd name="T56" fmla="*/ 363 w 377"/>
                <a:gd name="T57" fmla="*/ 176 h 316"/>
                <a:gd name="T58" fmla="*/ 377 w 377"/>
                <a:gd name="T59" fmla="*/ 197 h 316"/>
                <a:gd name="T60" fmla="*/ 0 w 377"/>
                <a:gd name="T61" fmla="*/ 206 h 316"/>
                <a:gd name="T62" fmla="*/ 377 w 377"/>
                <a:gd name="T63" fmla="*/ 197 h 316"/>
                <a:gd name="T64" fmla="*/ 115 w 377"/>
                <a:gd name="T65" fmla="*/ 227 h 316"/>
                <a:gd name="T66" fmla="*/ 14 w 377"/>
                <a:gd name="T67" fmla="*/ 232 h 316"/>
                <a:gd name="T68" fmla="*/ 19 w 377"/>
                <a:gd name="T69" fmla="*/ 294 h 316"/>
                <a:gd name="T70" fmla="*/ 120 w 377"/>
                <a:gd name="T71" fmla="*/ 289 h 316"/>
                <a:gd name="T72" fmla="*/ 241 w 377"/>
                <a:gd name="T73" fmla="*/ 232 h 316"/>
                <a:gd name="T74" fmla="*/ 141 w 377"/>
                <a:gd name="T75" fmla="*/ 227 h 316"/>
                <a:gd name="T76" fmla="*/ 136 w 377"/>
                <a:gd name="T77" fmla="*/ 289 h 316"/>
                <a:gd name="T78" fmla="*/ 237 w 377"/>
                <a:gd name="T79" fmla="*/ 294 h 316"/>
                <a:gd name="T80" fmla="*/ 241 w 377"/>
                <a:gd name="T81" fmla="*/ 232 h 316"/>
                <a:gd name="T82" fmla="*/ 358 w 377"/>
                <a:gd name="T83" fmla="*/ 227 h 316"/>
                <a:gd name="T84" fmla="*/ 257 w 377"/>
                <a:gd name="T85" fmla="*/ 232 h 316"/>
                <a:gd name="T86" fmla="*/ 262 w 377"/>
                <a:gd name="T87" fmla="*/ 294 h 316"/>
                <a:gd name="T88" fmla="*/ 363 w 377"/>
                <a:gd name="T89" fmla="*/ 289 h 316"/>
                <a:gd name="T90" fmla="*/ 377 w 377"/>
                <a:gd name="T91" fmla="*/ 307 h 316"/>
                <a:gd name="T92" fmla="*/ 0 w 377"/>
                <a:gd name="T93" fmla="*/ 316 h 316"/>
                <a:gd name="T94" fmla="*/ 377 w 377"/>
                <a:gd name="T95" fmla="*/ 307 h 3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377" h="316">
                  <a:moveTo>
                    <a:pt x="120" y="62"/>
                  </a:moveTo>
                  <a:cubicBezTo>
                    <a:pt x="120" y="65"/>
                    <a:pt x="118" y="67"/>
                    <a:pt x="115" y="67"/>
                  </a:cubicBezTo>
                  <a:cubicBezTo>
                    <a:pt x="19" y="67"/>
                    <a:pt x="19" y="67"/>
                    <a:pt x="19" y="67"/>
                  </a:cubicBezTo>
                  <a:cubicBezTo>
                    <a:pt x="17" y="67"/>
                    <a:pt x="14" y="65"/>
                    <a:pt x="14" y="62"/>
                  </a:cubicBezTo>
                  <a:cubicBezTo>
                    <a:pt x="14" y="5"/>
                    <a:pt x="14" y="5"/>
                    <a:pt x="14" y="5"/>
                  </a:cubicBezTo>
                  <a:cubicBezTo>
                    <a:pt x="14" y="2"/>
                    <a:pt x="17" y="0"/>
                    <a:pt x="19" y="0"/>
                  </a:cubicBezTo>
                  <a:cubicBezTo>
                    <a:pt x="115" y="0"/>
                    <a:pt x="115" y="0"/>
                    <a:pt x="115" y="0"/>
                  </a:cubicBezTo>
                  <a:cubicBezTo>
                    <a:pt x="118" y="0"/>
                    <a:pt x="120" y="2"/>
                    <a:pt x="120" y="5"/>
                  </a:cubicBezTo>
                  <a:lnTo>
                    <a:pt x="120" y="62"/>
                  </a:lnTo>
                  <a:close/>
                  <a:moveTo>
                    <a:pt x="241" y="5"/>
                  </a:moveTo>
                  <a:cubicBezTo>
                    <a:pt x="241" y="2"/>
                    <a:pt x="239" y="0"/>
                    <a:pt x="237" y="0"/>
                  </a:cubicBezTo>
                  <a:cubicBezTo>
                    <a:pt x="141" y="0"/>
                    <a:pt x="141" y="0"/>
                    <a:pt x="141" y="0"/>
                  </a:cubicBezTo>
                  <a:cubicBezTo>
                    <a:pt x="138" y="0"/>
                    <a:pt x="136" y="2"/>
                    <a:pt x="136" y="5"/>
                  </a:cubicBezTo>
                  <a:cubicBezTo>
                    <a:pt x="136" y="62"/>
                    <a:pt x="136" y="62"/>
                    <a:pt x="136" y="62"/>
                  </a:cubicBezTo>
                  <a:cubicBezTo>
                    <a:pt x="136" y="65"/>
                    <a:pt x="138" y="67"/>
                    <a:pt x="141" y="67"/>
                  </a:cubicBezTo>
                  <a:cubicBezTo>
                    <a:pt x="237" y="67"/>
                    <a:pt x="237" y="67"/>
                    <a:pt x="237" y="67"/>
                  </a:cubicBezTo>
                  <a:cubicBezTo>
                    <a:pt x="239" y="67"/>
                    <a:pt x="241" y="65"/>
                    <a:pt x="241" y="62"/>
                  </a:cubicBezTo>
                  <a:lnTo>
                    <a:pt x="241" y="5"/>
                  </a:lnTo>
                  <a:close/>
                  <a:moveTo>
                    <a:pt x="363" y="5"/>
                  </a:moveTo>
                  <a:cubicBezTo>
                    <a:pt x="363" y="2"/>
                    <a:pt x="360" y="0"/>
                    <a:pt x="358" y="0"/>
                  </a:cubicBezTo>
                  <a:cubicBezTo>
                    <a:pt x="262" y="0"/>
                    <a:pt x="262" y="0"/>
                    <a:pt x="262" y="0"/>
                  </a:cubicBezTo>
                  <a:cubicBezTo>
                    <a:pt x="259" y="0"/>
                    <a:pt x="257" y="2"/>
                    <a:pt x="257" y="5"/>
                  </a:cubicBezTo>
                  <a:cubicBezTo>
                    <a:pt x="257" y="62"/>
                    <a:pt x="257" y="62"/>
                    <a:pt x="257" y="62"/>
                  </a:cubicBezTo>
                  <a:cubicBezTo>
                    <a:pt x="257" y="65"/>
                    <a:pt x="259" y="67"/>
                    <a:pt x="262" y="67"/>
                  </a:cubicBezTo>
                  <a:cubicBezTo>
                    <a:pt x="358" y="67"/>
                    <a:pt x="358" y="67"/>
                    <a:pt x="358" y="67"/>
                  </a:cubicBezTo>
                  <a:cubicBezTo>
                    <a:pt x="360" y="67"/>
                    <a:pt x="363" y="65"/>
                    <a:pt x="363" y="62"/>
                  </a:cubicBezTo>
                  <a:lnTo>
                    <a:pt x="363" y="5"/>
                  </a:lnTo>
                  <a:close/>
                  <a:moveTo>
                    <a:pt x="377" y="83"/>
                  </a:moveTo>
                  <a:cubicBezTo>
                    <a:pt x="0" y="83"/>
                    <a:pt x="0" y="83"/>
                    <a:pt x="0" y="83"/>
                  </a:cubicBezTo>
                  <a:cubicBezTo>
                    <a:pt x="0" y="92"/>
                    <a:pt x="0" y="92"/>
                    <a:pt x="0" y="92"/>
                  </a:cubicBezTo>
                  <a:cubicBezTo>
                    <a:pt x="377" y="92"/>
                    <a:pt x="377" y="92"/>
                    <a:pt x="377" y="92"/>
                  </a:cubicBezTo>
                  <a:lnTo>
                    <a:pt x="377" y="83"/>
                  </a:lnTo>
                  <a:close/>
                  <a:moveTo>
                    <a:pt x="120" y="118"/>
                  </a:moveTo>
                  <a:cubicBezTo>
                    <a:pt x="120" y="116"/>
                    <a:pt x="118" y="114"/>
                    <a:pt x="115" y="114"/>
                  </a:cubicBezTo>
                  <a:cubicBezTo>
                    <a:pt x="19" y="114"/>
                    <a:pt x="19" y="114"/>
                    <a:pt x="19" y="114"/>
                  </a:cubicBezTo>
                  <a:cubicBezTo>
                    <a:pt x="17" y="114"/>
                    <a:pt x="14" y="116"/>
                    <a:pt x="14" y="118"/>
                  </a:cubicBezTo>
                  <a:cubicBezTo>
                    <a:pt x="14" y="176"/>
                    <a:pt x="14" y="176"/>
                    <a:pt x="14" y="176"/>
                  </a:cubicBezTo>
                  <a:cubicBezTo>
                    <a:pt x="14" y="178"/>
                    <a:pt x="17" y="180"/>
                    <a:pt x="19" y="180"/>
                  </a:cubicBezTo>
                  <a:cubicBezTo>
                    <a:pt x="115" y="180"/>
                    <a:pt x="115" y="180"/>
                    <a:pt x="115" y="180"/>
                  </a:cubicBezTo>
                  <a:cubicBezTo>
                    <a:pt x="118" y="180"/>
                    <a:pt x="120" y="178"/>
                    <a:pt x="120" y="176"/>
                  </a:cubicBezTo>
                  <a:lnTo>
                    <a:pt x="120" y="118"/>
                  </a:lnTo>
                  <a:close/>
                  <a:moveTo>
                    <a:pt x="241" y="118"/>
                  </a:moveTo>
                  <a:cubicBezTo>
                    <a:pt x="241" y="116"/>
                    <a:pt x="239" y="114"/>
                    <a:pt x="237" y="114"/>
                  </a:cubicBezTo>
                  <a:cubicBezTo>
                    <a:pt x="141" y="114"/>
                    <a:pt x="141" y="114"/>
                    <a:pt x="141" y="114"/>
                  </a:cubicBezTo>
                  <a:cubicBezTo>
                    <a:pt x="138" y="114"/>
                    <a:pt x="136" y="116"/>
                    <a:pt x="136" y="118"/>
                  </a:cubicBezTo>
                  <a:cubicBezTo>
                    <a:pt x="136" y="176"/>
                    <a:pt x="136" y="176"/>
                    <a:pt x="136" y="176"/>
                  </a:cubicBezTo>
                  <a:cubicBezTo>
                    <a:pt x="136" y="178"/>
                    <a:pt x="138" y="180"/>
                    <a:pt x="141" y="180"/>
                  </a:cubicBezTo>
                  <a:cubicBezTo>
                    <a:pt x="237" y="180"/>
                    <a:pt x="237" y="180"/>
                    <a:pt x="237" y="180"/>
                  </a:cubicBezTo>
                  <a:cubicBezTo>
                    <a:pt x="239" y="180"/>
                    <a:pt x="241" y="178"/>
                    <a:pt x="241" y="176"/>
                  </a:cubicBezTo>
                  <a:lnTo>
                    <a:pt x="241" y="118"/>
                  </a:lnTo>
                  <a:close/>
                  <a:moveTo>
                    <a:pt x="363" y="118"/>
                  </a:moveTo>
                  <a:cubicBezTo>
                    <a:pt x="363" y="116"/>
                    <a:pt x="360" y="114"/>
                    <a:pt x="358" y="114"/>
                  </a:cubicBezTo>
                  <a:cubicBezTo>
                    <a:pt x="262" y="114"/>
                    <a:pt x="262" y="114"/>
                    <a:pt x="262" y="114"/>
                  </a:cubicBezTo>
                  <a:cubicBezTo>
                    <a:pt x="259" y="114"/>
                    <a:pt x="257" y="116"/>
                    <a:pt x="257" y="118"/>
                  </a:cubicBezTo>
                  <a:cubicBezTo>
                    <a:pt x="257" y="176"/>
                    <a:pt x="257" y="176"/>
                    <a:pt x="257" y="176"/>
                  </a:cubicBezTo>
                  <a:cubicBezTo>
                    <a:pt x="257" y="178"/>
                    <a:pt x="259" y="180"/>
                    <a:pt x="262" y="180"/>
                  </a:cubicBezTo>
                  <a:cubicBezTo>
                    <a:pt x="358" y="180"/>
                    <a:pt x="358" y="180"/>
                    <a:pt x="358" y="180"/>
                  </a:cubicBezTo>
                  <a:cubicBezTo>
                    <a:pt x="360" y="180"/>
                    <a:pt x="363" y="178"/>
                    <a:pt x="363" y="176"/>
                  </a:cubicBezTo>
                  <a:lnTo>
                    <a:pt x="363" y="118"/>
                  </a:lnTo>
                  <a:close/>
                  <a:moveTo>
                    <a:pt x="377" y="197"/>
                  </a:moveTo>
                  <a:cubicBezTo>
                    <a:pt x="0" y="197"/>
                    <a:pt x="0" y="197"/>
                    <a:pt x="0" y="197"/>
                  </a:cubicBezTo>
                  <a:cubicBezTo>
                    <a:pt x="0" y="206"/>
                    <a:pt x="0" y="206"/>
                    <a:pt x="0" y="206"/>
                  </a:cubicBezTo>
                  <a:cubicBezTo>
                    <a:pt x="377" y="206"/>
                    <a:pt x="377" y="206"/>
                    <a:pt x="377" y="206"/>
                  </a:cubicBezTo>
                  <a:lnTo>
                    <a:pt x="377" y="197"/>
                  </a:lnTo>
                  <a:close/>
                  <a:moveTo>
                    <a:pt x="120" y="232"/>
                  </a:moveTo>
                  <a:cubicBezTo>
                    <a:pt x="120" y="229"/>
                    <a:pt x="118" y="227"/>
                    <a:pt x="115" y="227"/>
                  </a:cubicBezTo>
                  <a:cubicBezTo>
                    <a:pt x="19" y="227"/>
                    <a:pt x="19" y="227"/>
                    <a:pt x="19" y="227"/>
                  </a:cubicBezTo>
                  <a:cubicBezTo>
                    <a:pt x="17" y="227"/>
                    <a:pt x="14" y="229"/>
                    <a:pt x="14" y="232"/>
                  </a:cubicBezTo>
                  <a:cubicBezTo>
                    <a:pt x="14" y="289"/>
                    <a:pt x="14" y="289"/>
                    <a:pt x="14" y="289"/>
                  </a:cubicBezTo>
                  <a:cubicBezTo>
                    <a:pt x="14" y="292"/>
                    <a:pt x="17" y="294"/>
                    <a:pt x="19" y="294"/>
                  </a:cubicBezTo>
                  <a:cubicBezTo>
                    <a:pt x="115" y="294"/>
                    <a:pt x="115" y="294"/>
                    <a:pt x="115" y="294"/>
                  </a:cubicBezTo>
                  <a:cubicBezTo>
                    <a:pt x="118" y="294"/>
                    <a:pt x="120" y="292"/>
                    <a:pt x="120" y="289"/>
                  </a:cubicBezTo>
                  <a:lnTo>
                    <a:pt x="120" y="232"/>
                  </a:lnTo>
                  <a:close/>
                  <a:moveTo>
                    <a:pt x="241" y="232"/>
                  </a:moveTo>
                  <a:cubicBezTo>
                    <a:pt x="241" y="229"/>
                    <a:pt x="239" y="227"/>
                    <a:pt x="237" y="227"/>
                  </a:cubicBezTo>
                  <a:cubicBezTo>
                    <a:pt x="141" y="227"/>
                    <a:pt x="141" y="227"/>
                    <a:pt x="141" y="227"/>
                  </a:cubicBezTo>
                  <a:cubicBezTo>
                    <a:pt x="138" y="227"/>
                    <a:pt x="136" y="229"/>
                    <a:pt x="136" y="232"/>
                  </a:cubicBezTo>
                  <a:cubicBezTo>
                    <a:pt x="136" y="289"/>
                    <a:pt x="136" y="289"/>
                    <a:pt x="136" y="289"/>
                  </a:cubicBezTo>
                  <a:cubicBezTo>
                    <a:pt x="136" y="292"/>
                    <a:pt x="138" y="294"/>
                    <a:pt x="141" y="294"/>
                  </a:cubicBezTo>
                  <a:cubicBezTo>
                    <a:pt x="237" y="294"/>
                    <a:pt x="237" y="294"/>
                    <a:pt x="237" y="294"/>
                  </a:cubicBezTo>
                  <a:cubicBezTo>
                    <a:pt x="239" y="294"/>
                    <a:pt x="241" y="292"/>
                    <a:pt x="241" y="289"/>
                  </a:cubicBezTo>
                  <a:lnTo>
                    <a:pt x="241" y="232"/>
                  </a:lnTo>
                  <a:close/>
                  <a:moveTo>
                    <a:pt x="363" y="232"/>
                  </a:moveTo>
                  <a:cubicBezTo>
                    <a:pt x="363" y="229"/>
                    <a:pt x="360" y="227"/>
                    <a:pt x="358" y="227"/>
                  </a:cubicBezTo>
                  <a:cubicBezTo>
                    <a:pt x="262" y="227"/>
                    <a:pt x="262" y="227"/>
                    <a:pt x="262" y="227"/>
                  </a:cubicBezTo>
                  <a:cubicBezTo>
                    <a:pt x="259" y="227"/>
                    <a:pt x="257" y="229"/>
                    <a:pt x="257" y="232"/>
                  </a:cubicBezTo>
                  <a:cubicBezTo>
                    <a:pt x="257" y="289"/>
                    <a:pt x="257" y="289"/>
                    <a:pt x="257" y="289"/>
                  </a:cubicBezTo>
                  <a:cubicBezTo>
                    <a:pt x="257" y="292"/>
                    <a:pt x="259" y="294"/>
                    <a:pt x="262" y="294"/>
                  </a:cubicBezTo>
                  <a:cubicBezTo>
                    <a:pt x="358" y="294"/>
                    <a:pt x="358" y="294"/>
                    <a:pt x="358" y="294"/>
                  </a:cubicBezTo>
                  <a:cubicBezTo>
                    <a:pt x="360" y="294"/>
                    <a:pt x="363" y="292"/>
                    <a:pt x="363" y="289"/>
                  </a:cubicBezTo>
                  <a:lnTo>
                    <a:pt x="363" y="232"/>
                  </a:lnTo>
                  <a:close/>
                  <a:moveTo>
                    <a:pt x="377" y="307"/>
                  </a:moveTo>
                  <a:cubicBezTo>
                    <a:pt x="0" y="307"/>
                    <a:pt x="0" y="307"/>
                    <a:pt x="0" y="307"/>
                  </a:cubicBezTo>
                  <a:cubicBezTo>
                    <a:pt x="0" y="316"/>
                    <a:pt x="0" y="316"/>
                    <a:pt x="0" y="316"/>
                  </a:cubicBezTo>
                  <a:cubicBezTo>
                    <a:pt x="377" y="316"/>
                    <a:pt x="377" y="316"/>
                    <a:pt x="377" y="316"/>
                  </a:cubicBezTo>
                  <a:lnTo>
                    <a:pt x="377" y="307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8" name="Group 5">
            <a:extLst>
              <a:ext uri="{FF2B5EF4-FFF2-40B4-BE49-F238E27FC236}">
                <a16:creationId xmlns:a16="http://schemas.microsoft.com/office/drawing/2014/main" xmlns="" id="{D8EB022B-80C2-4EC7-851B-2FA1FBBD9927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468597" y="378072"/>
            <a:ext cx="427073" cy="365944"/>
            <a:chOff x="2210" y="2291"/>
            <a:chExt cx="517" cy="443"/>
          </a:xfrm>
          <a:effectLst>
            <a:outerShdw blurRad="101600" dist="76200" dir="2700000" algn="ctr" rotWithShape="0">
              <a:srgbClr val="000000">
                <a:alpha val="29000"/>
              </a:srgbClr>
            </a:outerShdw>
          </a:effectLst>
        </p:grpSpPr>
        <p:sp>
          <p:nvSpPr>
            <p:cNvPr id="39" name="AutoShape 4">
              <a:extLst>
                <a:ext uri="{FF2B5EF4-FFF2-40B4-BE49-F238E27FC236}">
                  <a16:creationId xmlns:a16="http://schemas.microsoft.com/office/drawing/2014/main" xmlns="" id="{39587689-D87D-44AA-866A-DE4352C9ED2A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210" y="2291"/>
              <a:ext cx="517" cy="4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6">
              <a:extLst>
                <a:ext uri="{FF2B5EF4-FFF2-40B4-BE49-F238E27FC236}">
                  <a16:creationId xmlns:a16="http://schemas.microsoft.com/office/drawing/2014/main" xmlns="" id="{B5A5093E-DA63-4581-99F5-8DEF644F123D}"/>
                </a:ext>
              </a:extLst>
            </p:cNvPr>
            <p:cNvSpPr>
              <a:spLocks/>
            </p:cNvSpPr>
            <p:nvPr/>
          </p:nvSpPr>
          <p:spPr bwMode="auto">
            <a:xfrm>
              <a:off x="2210" y="2291"/>
              <a:ext cx="516" cy="444"/>
            </a:xfrm>
            <a:custGeom>
              <a:avLst/>
              <a:gdLst>
                <a:gd name="T0" fmla="*/ 507 w 516"/>
                <a:gd name="T1" fmla="*/ 218 h 444"/>
                <a:gd name="T2" fmla="*/ 494 w 516"/>
                <a:gd name="T3" fmla="*/ 218 h 444"/>
                <a:gd name="T4" fmla="*/ 494 w 516"/>
                <a:gd name="T5" fmla="*/ 0 h 444"/>
                <a:gd name="T6" fmla="*/ 84 w 516"/>
                <a:gd name="T7" fmla="*/ 0 h 444"/>
                <a:gd name="T8" fmla="*/ 20 w 516"/>
                <a:gd name="T9" fmla="*/ 101 h 444"/>
                <a:gd name="T10" fmla="*/ 20 w 516"/>
                <a:gd name="T11" fmla="*/ 333 h 444"/>
                <a:gd name="T12" fmla="*/ 0 w 516"/>
                <a:gd name="T13" fmla="*/ 351 h 444"/>
                <a:gd name="T14" fmla="*/ 0 w 516"/>
                <a:gd name="T15" fmla="*/ 444 h 444"/>
                <a:gd name="T16" fmla="*/ 439 w 516"/>
                <a:gd name="T17" fmla="*/ 444 h 444"/>
                <a:gd name="T18" fmla="*/ 516 w 516"/>
                <a:gd name="T19" fmla="*/ 276 h 444"/>
                <a:gd name="T20" fmla="*/ 507 w 516"/>
                <a:gd name="T21" fmla="*/ 218 h 4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16" h="444">
                  <a:moveTo>
                    <a:pt x="507" y="218"/>
                  </a:moveTo>
                  <a:lnTo>
                    <a:pt x="494" y="218"/>
                  </a:lnTo>
                  <a:lnTo>
                    <a:pt x="494" y="0"/>
                  </a:lnTo>
                  <a:lnTo>
                    <a:pt x="84" y="0"/>
                  </a:lnTo>
                  <a:lnTo>
                    <a:pt x="20" y="101"/>
                  </a:lnTo>
                  <a:lnTo>
                    <a:pt x="20" y="333"/>
                  </a:lnTo>
                  <a:lnTo>
                    <a:pt x="0" y="351"/>
                  </a:lnTo>
                  <a:lnTo>
                    <a:pt x="0" y="444"/>
                  </a:lnTo>
                  <a:lnTo>
                    <a:pt x="439" y="444"/>
                  </a:lnTo>
                  <a:lnTo>
                    <a:pt x="516" y="276"/>
                  </a:lnTo>
                  <a:lnTo>
                    <a:pt x="507" y="21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Freeform 7">
              <a:extLst>
                <a:ext uri="{FF2B5EF4-FFF2-40B4-BE49-F238E27FC236}">
                  <a16:creationId xmlns:a16="http://schemas.microsoft.com/office/drawing/2014/main" xmlns="" id="{9256CB83-B7A0-4909-A30E-518795AADD1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238" y="2318"/>
              <a:ext cx="461" cy="390"/>
            </a:xfrm>
            <a:custGeom>
              <a:avLst/>
              <a:gdLst>
                <a:gd name="T0" fmla="*/ 183 w 461"/>
                <a:gd name="T1" fmla="*/ 200 h 390"/>
                <a:gd name="T2" fmla="*/ 18 w 461"/>
                <a:gd name="T3" fmla="*/ 200 h 390"/>
                <a:gd name="T4" fmla="*/ 18 w 461"/>
                <a:gd name="T5" fmla="*/ 99 h 390"/>
                <a:gd name="T6" fmla="*/ 183 w 461"/>
                <a:gd name="T7" fmla="*/ 99 h 390"/>
                <a:gd name="T8" fmla="*/ 183 w 461"/>
                <a:gd name="T9" fmla="*/ 200 h 390"/>
                <a:gd name="T10" fmla="*/ 234 w 461"/>
                <a:gd name="T11" fmla="*/ 0 h 390"/>
                <a:gd name="T12" fmla="*/ 69 w 461"/>
                <a:gd name="T13" fmla="*/ 0 h 390"/>
                <a:gd name="T14" fmla="*/ 18 w 461"/>
                <a:gd name="T15" fmla="*/ 82 h 390"/>
                <a:gd name="T16" fmla="*/ 183 w 461"/>
                <a:gd name="T17" fmla="*/ 82 h 390"/>
                <a:gd name="T18" fmla="*/ 234 w 461"/>
                <a:gd name="T19" fmla="*/ 0 h 390"/>
                <a:gd name="T20" fmla="*/ 421 w 461"/>
                <a:gd name="T21" fmla="*/ 0 h 390"/>
                <a:gd name="T22" fmla="*/ 255 w 461"/>
                <a:gd name="T23" fmla="*/ 0 h 390"/>
                <a:gd name="T24" fmla="*/ 204 w 461"/>
                <a:gd name="T25" fmla="*/ 82 h 390"/>
                <a:gd name="T26" fmla="*/ 369 w 461"/>
                <a:gd name="T27" fmla="*/ 82 h 390"/>
                <a:gd name="T28" fmla="*/ 421 w 461"/>
                <a:gd name="T29" fmla="*/ 0 h 390"/>
                <a:gd name="T30" fmla="*/ 369 w 461"/>
                <a:gd name="T31" fmla="*/ 99 h 390"/>
                <a:gd name="T32" fmla="*/ 204 w 461"/>
                <a:gd name="T33" fmla="*/ 99 h 390"/>
                <a:gd name="T34" fmla="*/ 204 w 461"/>
                <a:gd name="T35" fmla="*/ 200 h 390"/>
                <a:gd name="T36" fmla="*/ 369 w 461"/>
                <a:gd name="T37" fmla="*/ 200 h 390"/>
                <a:gd name="T38" fmla="*/ 369 w 461"/>
                <a:gd name="T39" fmla="*/ 99 h 390"/>
                <a:gd name="T40" fmla="*/ 183 w 461"/>
                <a:gd name="T41" fmla="*/ 220 h 390"/>
                <a:gd name="T42" fmla="*/ 18 w 461"/>
                <a:gd name="T43" fmla="*/ 220 h 390"/>
                <a:gd name="T44" fmla="*/ 18 w 461"/>
                <a:gd name="T45" fmla="*/ 318 h 390"/>
                <a:gd name="T46" fmla="*/ 183 w 461"/>
                <a:gd name="T47" fmla="*/ 318 h 390"/>
                <a:gd name="T48" fmla="*/ 183 w 461"/>
                <a:gd name="T49" fmla="*/ 220 h 390"/>
                <a:gd name="T50" fmla="*/ 369 w 461"/>
                <a:gd name="T51" fmla="*/ 220 h 390"/>
                <a:gd name="T52" fmla="*/ 204 w 461"/>
                <a:gd name="T53" fmla="*/ 220 h 390"/>
                <a:gd name="T54" fmla="*/ 204 w 461"/>
                <a:gd name="T55" fmla="*/ 318 h 390"/>
                <a:gd name="T56" fmla="*/ 369 w 461"/>
                <a:gd name="T57" fmla="*/ 318 h 390"/>
                <a:gd name="T58" fmla="*/ 369 w 461"/>
                <a:gd name="T59" fmla="*/ 220 h 390"/>
                <a:gd name="T60" fmla="*/ 436 w 461"/>
                <a:gd name="T61" fmla="*/ 0 h 390"/>
                <a:gd name="T62" fmla="*/ 384 w 461"/>
                <a:gd name="T63" fmla="*/ 99 h 390"/>
                <a:gd name="T64" fmla="*/ 384 w 461"/>
                <a:gd name="T65" fmla="*/ 316 h 390"/>
                <a:gd name="T66" fmla="*/ 436 w 461"/>
                <a:gd name="T67" fmla="*/ 218 h 390"/>
                <a:gd name="T68" fmla="*/ 436 w 461"/>
                <a:gd name="T69" fmla="*/ 0 h 390"/>
                <a:gd name="T70" fmla="*/ 0 w 461"/>
                <a:gd name="T71" fmla="*/ 336 h 390"/>
                <a:gd name="T72" fmla="*/ 0 w 461"/>
                <a:gd name="T73" fmla="*/ 390 h 390"/>
                <a:gd name="T74" fmla="*/ 73 w 461"/>
                <a:gd name="T75" fmla="*/ 390 h 390"/>
                <a:gd name="T76" fmla="*/ 73 w 461"/>
                <a:gd name="T77" fmla="*/ 370 h 390"/>
                <a:gd name="T78" fmla="*/ 131 w 461"/>
                <a:gd name="T79" fmla="*/ 370 h 390"/>
                <a:gd name="T80" fmla="*/ 131 w 461"/>
                <a:gd name="T81" fmla="*/ 390 h 390"/>
                <a:gd name="T82" fmla="*/ 256 w 461"/>
                <a:gd name="T83" fmla="*/ 390 h 390"/>
                <a:gd name="T84" fmla="*/ 256 w 461"/>
                <a:gd name="T85" fmla="*/ 370 h 390"/>
                <a:gd name="T86" fmla="*/ 313 w 461"/>
                <a:gd name="T87" fmla="*/ 370 h 390"/>
                <a:gd name="T88" fmla="*/ 313 w 461"/>
                <a:gd name="T89" fmla="*/ 390 h 390"/>
                <a:gd name="T90" fmla="*/ 384 w 461"/>
                <a:gd name="T91" fmla="*/ 390 h 390"/>
                <a:gd name="T92" fmla="*/ 384 w 461"/>
                <a:gd name="T93" fmla="*/ 336 h 390"/>
                <a:gd name="T94" fmla="*/ 0 w 461"/>
                <a:gd name="T95" fmla="*/ 336 h 390"/>
                <a:gd name="T96" fmla="*/ 394 w 461"/>
                <a:gd name="T97" fmla="*/ 338 h 390"/>
                <a:gd name="T98" fmla="*/ 394 w 461"/>
                <a:gd name="T99" fmla="*/ 390 h 390"/>
                <a:gd name="T100" fmla="*/ 414 w 461"/>
                <a:gd name="T101" fmla="*/ 347 h 390"/>
                <a:gd name="T102" fmla="*/ 413 w 461"/>
                <a:gd name="T103" fmla="*/ 334 h 390"/>
                <a:gd name="T104" fmla="*/ 422 w 461"/>
                <a:gd name="T105" fmla="*/ 313 h 390"/>
                <a:gd name="T106" fmla="*/ 423 w 461"/>
                <a:gd name="T107" fmla="*/ 328 h 390"/>
                <a:gd name="T108" fmla="*/ 440 w 461"/>
                <a:gd name="T109" fmla="*/ 290 h 390"/>
                <a:gd name="T110" fmla="*/ 439 w 461"/>
                <a:gd name="T111" fmla="*/ 277 h 390"/>
                <a:gd name="T112" fmla="*/ 449 w 461"/>
                <a:gd name="T113" fmla="*/ 256 h 390"/>
                <a:gd name="T114" fmla="*/ 452 w 461"/>
                <a:gd name="T115" fmla="*/ 269 h 390"/>
                <a:gd name="T116" fmla="*/ 461 w 461"/>
                <a:gd name="T117" fmla="*/ 247 h 390"/>
                <a:gd name="T118" fmla="*/ 456 w 461"/>
                <a:gd name="T119" fmla="*/ 212 h 390"/>
                <a:gd name="T120" fmla="*/ 394 w 461"/>
                <a:gd name="T121" fmla="*/ 338 h 3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61" h="390">
                  <a:moveTo>
                    <a:pt x="183" y="200"/>
                  </a:moveTo>
                  <a:lnTo>
                    <a:pt x="18" y="200"/>
                  </a:lnTo>
                  <a:lnTo>
                    <a:pt x="18" y="99"/>
                  </a:lnTo>
                  <a:lnTo>
                    <a:pt x="183" y="99"/>
                  </a:lnTo>
                  <a:lnTo>
                    <a:pt x="183" y="200"/>
                  </a:lnTo>
                  <a:close/>
                  <a:moveTo>
                    <a:pt x="234" y="0"/>
                  </a:moveTo>
                  <a:lnTo>
                    <a:pt x="69" y="0"/>
                  </a:lnTo>
                  <a:lnTo>
                    <a:pt x="18" y="82"/>
                  </a:lnTo>
                  <a:lnTo>
                    <a:pt x="183" y="82"/>
                  </a:lnTo>
                  <a:lnTo>
                    <a:pt x="234" y="0"/>
                  </a:lnTo>
                  <a:close/>
                  <a:moveTo>
                    <a:pt x="421" y="0"/>
                  </a:moveTo>
                  <a:lnTo>
                    <a:pt x="255" y="0"/>
                  </a:lnTo>
                  <a:lnTo>
                    <a:pt x="204" y="82"/>
                  </a:lnTo>
                  <a:lnTo>
                    <a:pt x="369" y="82"/>
                  </a:lnTo>
                  <a:lnTo>
                    <a:pt x="421" y="0"/>
                  </a:lnTo>
                  <a:close/>
                  <a:moveTo>
                    <a:pt x="369" y="99"/>
                  </a:moveTo>
                  <a:lnTo>
                    <a:pt x="204" y="99"/>
                  </a:lnTo>
                  <a:lnTo>
                    <a:pt x="204" y="200"/>
                  </a:lnTo>
                  <a:lnTo>
                    <a:pt x="369" y="200"/>
                  </a:lnTo>
                  <a:lnTo>
                    <a:pt x="369" y="99"/>
                  </a:lnTo>
                  <a:close/>
                  <a:moveTo>
                    <a:pt x="183" y="220"/>
                  </a:moveTo>
                  <a:lnTo>
                    <a:pt x="18" y="220"/>
                  </a:lnTo>
                  <a:lnTo>
                    <a:pt x="18" y="318"/>
                  </a:lnTo>
                  <a:lnTo>
                    <a:pt x="183" y="318"/>
                  </a:lnTo>
                  <a:lnTo>
                    <a:pt x="183" y="220"/>
                  </a:lnTo>
                  <a:close/>
                  <a:moveTo>
                    <a:pt x="369" y="220"/>
                  </a:moveTo>
                  <a:lnTo>
                    <a:pt x="204" y="220"/>
                  </a:lnTo>
                  <a:lnTo>
                    <a:pt x="204" y="318"/>
                  </a:lnTo>
                  <a:lnTo>
                    <a:pt x="369" y="318"/>
                  </a:lnTo>
                  <a:lnTo>
                    <a:pt x="369" y="220"/>
                  </a:lnTo>
                  <a:close/>
                  <a:moveTo>
                    <a:pt x="436" y="0"/>
                  </a:moveTo>
                  <a:lnTo>
                    <a:pt x="384" y="99"/>
                  </a:lnTo>
                  <a:lnTo>
                    <a:pt x="384" y="316"/>
                  </a:lnTo>
                  <a:lnTo>
                    <a:pt x="436" y="218"/>
                  </a:lnTo>
                  <a:lnTo>
                    <a:pt x="436" y="0"/>
                  </a:lnTo>
                  <a:close/>
                  <a:moveTo>
                    <a:pt x="0" y="336"/>
                  </a:moveTo>
                  <a:lnTo>
                    <a:pt x="0" y="390"/>
                  </a:lnTo>
                  <a:lnTo>
                    <a:pt x="73" y="390"/>
                  </a:lnTo>
                  <a:lnTo>
                    <a:pt x="73" y="370"/>
                  </a:lnTo>
                  <a:lnTo>
                    <a:pt x="131" y="370"/>
                  </a:lnTo>
                  <a:lnTo>
                    <a:pt x="131" y="390"/>
                  </a:lnTo>
                  <a:lnTo>
                    <a:pt x="256" y="390"/>
                  </a:lnTo>
                  <a:lnTo>
                    <a:pt x="256" y="370"/>
                  </a:lnTo>
                  <a:lnTo>
                    <a:pt x="313" y="370"/>
                  </a:lnTo>
                  <a:lnTo>
                    <a:pt x="313" y="390"/>
                  </a:lnTo>
                  <a:lnTo>
                    <a:pt x="384" y="390"/>
                  </a:lnTo>
                  <a:lnTo>
                    <a:pt x="384" y="336"/>
                  </a:lnTo>
                  <a:lnTo>
                    <a:pt x="0" y="336"/>
                  </a:lnTo>
                  <a:close/>
                  <a:moveTo>
                    <a:pt x="394" y="338"/>
                  </a:moveTo>
                  <a:lnTo>
                    <a:pt x="394" y="390"/>
                  </a:lnTo>
                  <a:lnTo>
                    <a:pt x="414" y="347"/>
                  </a:lnTo>
                  <a:lnTo>
                    <a:pt x="413" y="334"/>
                  </a:lnTo>
                  <a:lnTo>
                    <a:pt x="422" y="313"/>
                  </a:lnTo>
                  <a:lnTo>
                    <a:pt x="423" y="328"/>
                  </a:lnTo>
                  <a:lnTo>
                    <a:pt x="440" y="290"/>
                  </a:lnTo>
                  <a:lnTo>
                    <a:pt x="439" y="277"/>
                  </a:lnTo>
                  <a:lnTo>
                    <a:pt x="449" y="256"/>
                  </a:lnTo>
                  <a:lnTo>
                    <a:pt x="452" y="269"/>
                  </a:lnTo>
                  <a:lnTo>
                    <a:pt x="461" y="247"/>
                  </a:lnTo>
                  <a:lnTo>
                    <a:pt x="456" y="212"/>
                  </a:lnTo>
                  <a:lnTo>
                    <a:pt x="394" y="338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2" name="Group 162">
            <a:extLst>
              <a:ext uri="{FF2B5EF4-FFF2-40B4-BE49-F238E27FC236}">
                <a16:creationId xmlns:a16="http://schemas.microsoft.com/office/drawing/2014/main" xmlns="" id="{BFF35755-E903-49C2-9F64-C3BCA01E699F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369070" y="897163"/>
            <a:ext cx="464848" cy="472031"/>
            <a:chOff x="5770" y="2016"/>
            <a:chExt cx="453" cy="460"/>
          </a:xfrm>
          <a:effectLst>
            <a:outerShdw blurRad="101600" dist="50800" dir="2700000" algn="ctr" rotWithShape="0">
              <a:srgbClr val="000000">
                <a:alpha val="29000"/>
              </a:srgbClr>
            </a:outerShdw>
          </a:effectLst>
        </p:grpSpPr>
        <p:sp>
          <p:nvSpPr>
            <p:cNvPr id="43" name="AutoShape 161">
              <a:extLst>
                <a:ext uri="{FF2B5EF4-FFF2-40B4-BE49-F238E27FC236}">
                  <a16:creationId xmlns:a16="http://schemas.microsoft.com/office/drawing/2014/main" xmlns="" id="{C2D59DC5-5785-45E9-AFB7-D4A10122B1DB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770" y="2016"/>
              <a:ext cx="453" cy="4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4" name="Freeform 163">
              <a:extLst>
                <a:ext uri="{FF2B5EF4-FFF2-40B4-BE49-F238E27FC236}">
                  <a16:creationId xmlns:a16="http://schemas.microsoft.com/office/drawing/2014/main" xmlns="" id="{E73E9B98-988D-44B1-BACA-96E6FB7C5FF5}"/>
                </a:ext>
              </a:extLst>
            </p:cNvPr>
            <p:cNvSpPr>
              <a:spLocks/>
            </p:cNvSpPr>
            <p:nvPr/>
          </p:nvSpPr>
          <p:spPr bwMode="auto">
            <a:xfrm>
              <a:off x="5770" y="2016"/>
              <a:ext cx="453" cy="461"/>
            </a:xfrm>
            <a:custGeom>
              <a:avLst/>
              <a:gdLst>
                <a:gd name="T0" fmla="*/ 342 w 354"/>
                <a:gd name="T1" fmla="*/ 257 h 361"/>
                <a:gd name="T2" fmla="*/ 260 w 354"/>
                <a:gd name="T3" fmla="*/ 172 h 361"/>
                <a:gd name="T4" fmla="*/ 259 w 354"/>
                <a:gd name="T5" fmla="*/ 172 h 361"/>
                <a:gd name="T6" fmla="*/ 268 w 354"/>
                <a:gd name="T7" fmla="*/ 172 h 361"/>
                <a:gd name="T8" fmla="*/ 341 w 354"/>
                <a:gd name="T9" fmla="*/ 131 h 361"/>
                <a:gd name="T10" fmla="*/ 353 w 354"/>
                <a:gd name="T11" fmla="*/ 75 h 361"/>
                <a:gd name="T12" fmla="*/ 352 w 354"/>
                <a:gd name="T13" fmla="*/ 70 h 361"/>
                <a:gd name="T14" fmla="*/ 350 w 354"/>
                <a:gd name="T15" fmla="*/ 63 h 361"/>
                <a:gd name="T16" fmla="*/ 349 w 354"/>
                <a:gd name="T17" fmla="*/ 61 h 361"/>
                <a:gd name="T18" fmla="*/ 342 w 354"/>
                <a:gd name="T19" fmla="*/ 45 h 361"/>
                <a:gd name="T20" fmla="*/ 327 w 354"/>
                <a:gd name="T21" fmla="*/ 60 h 361"/>
                <a:gd name="T22" fmla="*/ 321 w 354"/>
                <a:gd name="T23" fmla="*/ 66 h 361"/>
                <a:gd name="T24" fmla="*/ 314 w 354"/>
                <a:gd name="T25" fmla="*/ 74 h 361"/>
                <a:gd name="T26" fmla="*/ 294 w 354"/>
                <a:gd name="T27" fmla="*/ 95 h 361"/>
                <a:gd name="T28" fmla="*/ 278 w 354"/>
                <a:gd name="T29" fmla="*/ 91 h 361"/>
                <a:gd name="T30" fmla="*/ 266 w 354"/>
                <a:gd name="T31" fmla="*/ 88 h 361"/>
                <a:gd name="T32" fmla="*/ 258 w 354"/>
                <a:gd name="T33" fmla="*/ 61 h 361"/>
                <a:gd name="T34" fmla="*/ 283 w 354"/>
                <a:gd name="T35" fmla="*/ 35 h 361"/>
                <a:gd name="T36" fmla="*/ 290 w 354"/>
                <a:gd name="T37" fmla="*/ 27 h 361"/>
                <a:gd name="T38" fmla="*/ 293 w 354"/>
                <a:gd name="T39" fmla="*/ 24 h 361"/>
                <a:gd name="T40" fmla="*/ 308 w 354"/>
                <a:gd name="T41" fmla="*/ 8 h 361"/>
                <a:gd name="T42" fmla="*/ 288 w 354"/>
                <a:gd name="T43" fmla="*/ 4 h 361"/>
                <a:gd name="T44" fmla="*/ 285 w 354"/>
                <a:gd name="T45" fmla="*/ 3 h 361"/>
                <a:gd name="T46" fmla="*/ 277 w 354"/>
                <a:gd name="T47" fmla="*/ 1 h 361"/>
                <a:gd name="T48" fmla="*/ 272 w 354"/>
                <a:gd name="T49" fmla="*/ 1 h 361"/>
                <a:gd name="T50" fmla="*/ 266 w 354"/>
                <a:gd name="T51" fmla="*/ 1 h 361"/>
                <a:gd name="T52" fmla="*/ 251 w 354"/>
                <a:gd name="T53" fmla="*/ 2 h 361"/>
                <a:gd name="T54" fmla="*/ 207 w 354"/>
                <a:gd name="T55" fmla="*/ 26 h 361"/>
                <a:gd name="T56" fmla="*/ 183 w 354"/>
                <a:gd name="T57" fmla="*/ 94 h 361"/>
                <a:gd name="T58" fmla="*/ 184 w 354"/>
                <a:gd name="T59" fmla="*/ 104 h 361"/>
                <a:gd name="T60" fmla="*/ 171 w 354"/>
                <a:gd name="T61" fmla="*/ 118 h 361"/>
                <a:gd name="T62" fmla="*/ 158 w 354"/>
                <a:gd name="T63" fmla="*/ 123 h 361"/>
                <a:gd name="T64" fmla="*/ 100 w 354"/>
                <a:gd name="T65" fmla="*/ 64 h 361"/>
                <a:gd name="T66" fmla="*/ 82 w 354"/>
                <a:gd name="T67" fmla="*/ 32 h 361"/>
                <a:gd name="T68" fmla="*/ 79 w 354"/>
                <a:gd name="T69" fmla="*/ 30 h 361"/>
                <a:gd name="T70" fmla="*/ 36 w 354"/>
                <a:gd name="T71" fmla="*/ 0 h 361"/>
                <a:gd name="T72" fmla="*/ 0 w 354"/>
                <a:gd name="T73" fmla="*/ 35 h 361"/>
                <a:gd name="T74" fmla="*/ 30 w 354"/>
                <a:gd name="T75" fmla="*/ 83 h 361"/>
                <a:gd name="T76" fmla="*/ 61 w 354"/>
                <a:gd name="T77" fmla="*/ 101 h 361"/>
                <a:gd name="T78" fmla="*/ 120 w 354"/>
                <a:gd name="T79" fmla="*/ 161 h 361"/>
                <a:gd name="T80" fmla="*/ 115 w 354"/>
                <a:gd name="T81" fmla="*/ 177 h 361"/>
                <a:gd name="T82" fmla="*/ 49 w 354"/>
                <a:gd name="T83" fmla="*/ 245 h 361"/>
                <a:gd name="T84" fmla="*/ 23 w 354"/>
                <a:gd name="T85" fmla="*/ 273 h 361"/>
                <a:gd name="T86" fmla="*/ 18 w 354"/>
                <a:gd name="T87" fmla="*/ 278 h 361"/>
                <a:gd name="T88" fmla="*/ 6 w 354"/>
                <a:gd name="T89" fmla="*/ 311 h 361"/>
                <a:gd name="T90" fmla="*/ 11 w 354"/>
                <a:gd name="T91" fmla="*/ 327 h 361"/>
                <a:gd name="T92" fmla="*/ 17 w 354"/>
                <a:gd name="T93" fmla="*/ 337 h 361"/>
                <a:gd name="T94" fmla="*/ 45 w 354"/>
                <a:gd name="T95" fmla="*/ 356 h 361"/>
                <a:gd name="T96" fmla="*/ 52 w 354"/>
                <a:gd name="T97" fmla="*/ 357 h 361"/>
                <a:gd name="T98" fmla="*/ 92 w 354"/>
                <a:gd name="T99" fmla="*/ 336 h 361"/>
                <a:gd name="T100" fmla="*/ 132 w 354"/>
                <a:gd name="T101" fmla="*/ 294 h 361"/>
                <a:gd name="T102" fmla="*/ 144 w 354"/>
                <a:gd name="T103" fmla="*/ 281 h 361"/>
                <a:gd name="T104" fmla="*/ 165 w 354"/>
                <a:gd name="T105" fmla="*/ 260 h 361"/>
                <a:gd name="T106" fmla="*/ 167 w 354"/>
                <a:gd name="T107" fmla="*/ 263 h 361"/>
                <a:gd name="T108" fmla="*/ 250 w 354"/>
                <a:gd name="T109" fmla="*/ 347 h 361"/>
                <a:gd name="T110" fmla="*/ 279 w 354"/>
                <a:gd name="T111" fmla="*/ 361 h 361"/>
                <a:gd name="T112" fmla="*/ 301 w 354"/>
                <a:gd name="T113" fmla="*/ 352 h 361"/>
                <a:gd name="T114" fmla="*/ 342 w 354"/>
                <a:gd name="T115" fmla="*/ 312 h 361"/>
                <a:gd name="T116" fmla="*/ 354 w 354"/>
                <a:gd name="T117" fmla="*/ 284 h 361"/>
                <a:gd name="T118" fmla="*/ 342 w 354"/>
                <a:gd name="T119" fmla="*/ 257 h 3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54" h="361">
                  <a:moveTo>
                    <a:pt x="342" y="257"/>
                  </a:moveTo>
                  <a:cubicBezTo>
                    <a:pt x="260" y="172"/>
                    <a:pt x="260" y="172"/>
                    <a:pt x="260" y="172"/>
                  </a:cubicBezTo>
                  <a:cubicBezTo>
                    <a:pt x="260" y="172"/>
                    <a:pt x="260" y="172"/>
                    <a:pt x="259" y="172"/>
                  </a:cubicBezTo>
                  <a:cubicBezTo>
                    <a:pt x="262" y="172"/>
                    <a:pt x="265" y="172"/>
                    <a:pt x="268" y="172"/>
                  </a:cubicBezTo>
                  <a:cubicBezTo>
                    <a:pt x="298" y="172"/>
                    <a:pt x="326" y="156"/>
                    <a:pt x="341" y="131"/>
                  </a:cubicBezTo>
                  <a:cubicBezTo>
                    <a:pt x="351" y="115"/>
                    <a:pt x="354" y="97"/>
                    <a:pt x="353" y="75"/>
                  </a:cubicBezTo>
                  <a:cubicBezTo>
                    <a:pt x="352" y="73"/>
                    <a:pt x="352" y="72"/>
                    <a:pt x="352" y="70"/>
                  </a:cubicBezTo>
                  <a:cubicBezTo>
                    <a:pt x="352" y="67"/>
                    <a:pt x="350" y="65"/>
                    <a:pt x="350" y="63"/>
                  </a:cubicBezTo>
                  <a:cubicBezTo>
                    <a:pt x="349" y="62"/>
                    <a:pt x="349" y="62"/>
                    <a:pt x="349" y="61"/>
                  </a:cubicBezTo>
                  <a:cubicBezTo>
                    <a:pt x="342" y="45"/>
                    <a:pt x="342" y="45"/>
                    <a:pt x="342" y="45"/>
                  </a:cubicBezTo>
                  <a:cubicBezTo>
                    <a:pt x="327" y="60"/>
                    <a:pt x="327" y="60"/>
                    <a:pt x="327" y="60"/>
                  </a:cubicBezTo>
                  <a:cubicBezTo>
                    <a:pt x="325" y="62"/>
                    <a:pt x="323" y="64"/>
                    <a:pt x="321" y="66"/>
                  </a:cubicBezTo>
                  <a:cubicBezTo>
                    <a:pt x="314" y="74"/>
                    <a:pt x="314" y="74"/>
                    <a:pt x="314" y="74"/>
                  </a:cubicBezTo>
                  <a:cubicBezTo>
                    <a:pt x="307" y="81"/>
                    <a:pt x="301" y="88"/>
                    <a:pt x="294" y="95"/>
                  </a:cubicBezTo>
                  <a:cubicBezTo>
                    <a:pt x="289" y="94"/>
                    <a:pt x="284" y="92"/>
                    <a:pt x="278" y="91"/>
                  </a:cubicBezTo>
                  <a:cubicBezTo>
                    <a:pt x="274" y="90"/>
                    <a:pt x="270" y="89"/>
                    <a:pt x="266" y="88"/>
                  </a:cubicBezTo>
                  <a:cubicBezTo>
                    <a:pt x="258" y="61"/>
                    <a:pt x="258" y="61"/>
                    <a:pt x="258" y="61"/>
                  </a:cubicBezTo>
                  <a:cubicBezTo>
                    <a:pt x="266" y="52"/>
                    <a:pt x="275" y="44"/>
                    <a:pt x="283" y="35"/>
                  </a:cubicBezTo>
                  <a:cubicBezTo>
                    <a:pt x="290" y="27"/>
                    <a:pt x="290" y="27"/>
                    <a:pt x="290" y="27"/>
                  </a:cubicBezTo>
                  <a:cubicBezTo>
                    <a:pt x="291" y="26"/>
                    <a:pt x="292" y="26"/>
                    <a:pt x="293" y="24"/>
                  </a:cubicBezTo>
                  <a:cubicBezTo>
                    <a:pt x="308" y="8"/>
                    <a:pt x="308" y="8"/>
                    <a:pt x="308" y="8"/>
                  </a:cubicBezTo>
                  <a:cubicBezTo>
                    <a:pt x="288" y="4"/>
                    <a:pt x="288" y="4"/>
                    <a:pt x="288" y="4"/>
                  </a:cubicBezTo>
                  <a:cubicBezTo>
                    <a:pt x="287" y="3"/>
                    <a:pt x="286" y="3"/>
                    <a:pt x="285" y="3"/>
                  </a:cubicBezTo>
                  <a:cubicBezTo>
                    <a:pt x="283" y="2"/>
                    <a:pt x="280" y="2"/>
                    <a:pt x="277" y="1"/>
                  </a:cubicBezTo>
                  <a:cubicBezTo>
                    <a:pt x="272" y="1"/>
                    <a:pt x="272" y="1"/>
                    <a:pt x="272" y="1"/>
                  </a:cubicBezTo>
                  <a:cubicBezTo>
                    <a:pt x="270" y="1"/>
                    <a:pt x="268" y="1"/>
                    <a:pt x="266" y="1"/>
                  </a:cubicBezTo>
                  <a:cubicBezTo>
                    <a:pt x="262" y="1"/>
                    <a:pt x="257" y="1"/>
                    <a:pt x="251" y="2"/>
                  </a:cubicBezTo>
                  <a:cubicBezTo>
                    <a:pt x="234" y="6"/>
                    <a:pt x="219" y="13"/>
                    <a:pt x="207" y="26"/>
                  </a:cubicBezTo>
                  <a:cubicBezTo>
                    <a:pt x="189" y="45"/>
                    <a:pt x="180" y="68"/>
                    <a:pt x="183" y="94"/>
                  </a:cubicBezTo>
                  <a:cubicBezTo>
                    <a:pt x="183" y="97"/>
                    <a:pt x="183" y="101"/>
                    <a:pt x="184" y="104"/>
                  </a:cubicBezTo>
                  <a:cubicBezTo>
                    <a:pt x="180" y="109"/>
                    <a:pt x="175" y="113"/>
                    <a:pt x="171" y="118"/>
                  </a:cubicBezTo>
                  <a:cubicBezTo>
                    <a:pt x="166" y="119"/>
                    <a:pt x="162" y="120"/>
                    <a:pt x="158" y="123"/>
                  </a:cubicBezTo>
                  <a:cubicBezTo>
                    <a:pt x="100" y="64"/>
                    <a:pt x="100" y="64"/>
                    <a:pt x="100" y="64"/>
                  </a:cubicBezTo>
                  <a:cubicBezTo>
                    <a:pt x="82" y="32"/>
                    <a:pt x="82" y="32"/>
                    <a:pt x="82" y="32"/>
                  </a:cubicBezTo>
                  <a:cubicBezTo>
                    <a:pt x="79" y="30"/>
                    <a:pt x="79" y="30"/>
                    <a:pt x="79" y="3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30" y="83"/>
                    <a:pt x="30" y="83"/>
                    <a:pt x="30" y="83"/>
                  </a:cubicBezTo>
                  <a:cubicBezTo>
                    <a:pt x="61" y="101"/>
                    <a:pt x="61" y="101"/>
                    <a:pt x="61" y="101"/>
                  </a:cubicBezTo>
                  <a:cubicBezTo>
                    <a:pt x="120" y="161"/>
                    <a:pt x="120" y="161"/>
                    <a:pt x="120" y="161"/>
                  </a:cubicBezTo>
                  <a:cubicBezTo>
                    <a:pt x="117" y="166"/>
                    <a:pt x="115" y="171"/>
                    <a:pt x="115" y="177"/>
                  </a:cubicBezTo>
                  <a:cubicBezTo>
                    <a:pt x="93" y="200"/>
                    <a:pt x="71" y="222"/>
                    <a:pt x="49" y="245"/>
                  </a:cubicBezTo>
                  <a:cubicBezTo>
                    <a:pt x="40" y="254"/>
                    <a:pt x="31" y="264"/>
                    <a:pt x="23" y="273"/>
                  </a:cubicBezTo>
                  <a:cubicBezTo>
                    <a:pt x="18" y="278"/>
                    <a:pt x="18" y="278"/>
                    <a:pt x="18" y="278"/>
                  </a:cubicBezTo>
                  <a:cubicBezTo>
                    <a:pt x="7" y="291"/>
                    <a:pt x="6" y="303"/>
                    <a:pt x="6" y="311"/>
                  </a:cubicBezTo>
                  <a:cubicBezTo>
                    <a:pt x="7" y="319"/>
                    <a:pt x="10" y="324"/>
                    <a:pt x="11" y="327"/>
                  </a:cubicBezTo>
                  <a:cubicBezTo>
                    <a:pt x="13" y="331"/>
                    <a:pt x="15" y="334"/>
                    <a:pt x="17" y="337"/>
                  </a:cubicBezTo>
                  <a:cubicBezTo>
                    <a:pt x="22" y="344"/>
                    <a:pt x="32" y="355"/>
                    <a:pt x="45" y="356"/>
                  </a:cubicBezTo>
                  <a:cubicBezTo>
                    <a:pt x="47" y="356"/>
                    <a:pt x="49" y="357"/>
                    <a:pt x="52" y="357"/>
                  </a:cubicBezTo>
                  <a:cubicBezTo>
                    <a:pt x="61" y="357"/>
                    <a:pt x="78" y="354"/>
                    <a:pt x="92" y="336"/>
                  </a:cubicBezTo>
                  <a:cubicBezTo>
                    <a:pt x="105" y="322"/>
                    <a:pt x="119" y="308"/>
                    <a:pt x="132" y="294"/>
                  </a:cubicBezTo>
                  <a:cubicBezTo>
                    <a:pt x="144" y="281"/>
                    <a:pt x="144" y="281"/>
                    <a:pt x="144" y="281"/>
                  </a:cubicBezTo>
                  <a:cubicBezTo>
                    <a:pt x="151" y="274"/>
                    <a:pt x="158" y="267"/>
                    <a:pt x="165" y="260"/>
                  </a:cubicBezTo>
                  <a:cubicBezTo>
                    <a:pt x="166" y="261"/>
                    <a:pt x="166" y="262"/>
                    <a:pt x="167" y="263"/>
                  </a:cubicBezTo>
                  <a:cubicBezTo>
                    <a:pt x="250" y="347"/>
                    <a:pt x="250" y="347"/>
                    <a:pt x="250" y="347"/>
                  </a:cubicBezTo>
                  <a:cubicBezTo>
                    <a:pt x="258" y="356"/>
                    <a:pt x="269" y="361"/>
                    <a:pt x="279" y="361"/>
                  </a:cubicBezTo>
                  <a:cubicBezTo>
                    <a:pt x="287" y="361"/>
                    <a:pt x="295" y="358"/>
                    <a:pt x="301" y="352"/>
                  </a:cubicBezTo>
                  <a:cubicBezTo>
                    <a:pt x="342" y="312"/>
                    <a:pt x="342" y="312"/>
                    <a:pt x="342" y="312"/>
                  </a:cubicBezTo>
                  <a:cubicBezTo>
                    <a:pt x="350" y="304"/>
                    <a:pt x="354" y="295"/>
                    <a:pt x="354" y="284"/>
                  </a:cubicBezTo>
                  <a:cubicBezTo>
                    <a:pt x="354" y="274"/>
                    <a:pt x="350" y="264"/>
                    <a:pt x="342" y="25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5" name="Freeform 164">
              <a:extLst>
                <a:ext uri="{FF2B5EF4-FFF2-40B4-BE49-F238E27FC236}">
                  <a16:creationId xmlns:a16="http://schemas.microsoft.com/office/drawing/2014/main" xmlns="" id="{09BA5FAA-DCB5-4584-B9E6-20DCC7DCECC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89" y="2033"/>
              <a:ext cx="421" cy="435"/>
            </a:xfrm>
            <a:custGeom>
              <a:avLst/>
              <a:gdLst>
                <a:gd name="T0" fmla="*/ 201 w 329"/>
                <a:gd name="T1" fmla="*/ 21 h 341"/>
                <a:gd name="T2" fmla="*/ 262 w 329"/>
                <a:gd name="T3" fmla="*/ 0 h 341"/>
                <a:gd name="T4" fmla="*/ 267 w 329"/>
                <a:gd name="T5" fmla="*/ 6 h 341"/>
                <a:gd name="T6" fmla="*/ 231 w 329"/>
                <a:gd name="T7" fmla="*/ 47 h 341"/>
                <a:gd name="T8" fmla="*/ 240 w 329"/>
                <a:gd name="T9" fmla="*/ 81 h 341"/>
                <a:gd name="T10" fmla="*/ 280 w 329"/>
                <a:gd name="T11" fmla="*/ 94 h 341"/>
                <a:gd name="T12" fmla="*/ 315 w 329"/>
                <a:gd name="T13" fmla="*/ 61 h 341"/>
                <a:gd name="T14" fmla="*/ 325 w 329"/>
                <a:gd name="T15" fmla="*/ 59 h 341"/>
                <a:gd name="T16" fmla="*/ 316 w 329"/>
                <a:gd name="T17" fmla="*/ 111 h 341"/>
                <a:gd name="T18" fmla="*/ 228 w 329"/>
                <a:gd name="T19" fmla="*/ 147 h 341"/>
                <a:gd name="T20" fmla="*/ 215 w 329"/>
                <a:gd name="T21" fmla="*/ 147 h 341"/>
                <a:gd name="T22" fmla="*/ 207 w 329"/>
                <a:gd name="T23" fmla="*/ 145 h 341"/>
                <a:gd name="T24" fmla="*/ 191 w 329"/>
                <a:gd name="T25" fmla="*/ 120 h 341"/>
                <a:gd name="T26" fmla="*/ 171 w 329"/>
                <a:gd name="T27" fmla="*/ 106 h 341"/>
                <a:gd name="T28" fmla="*/ 182 w 329"/>
                <a:gd name="T29" fmla="*/ 93 h 341"/>
                <a:gd name="T30" fmla="*/ 180 w 329"/>
                <a:gd name="T31" fmla="*/ 80 h 341"/>
                <a:gd name="T32" fmla="*/ 121 w 329"/>
                <a:gd name="T33" fmla="*/ 260 h 341"/>
                <a:gd name="T34" fmla="*/ 32 w 329"/>
                <a:gd name="T35" fmla="*/ 331 h 341"/>
                <a:gd name="T36" fmla="*/ 7 w 329"/>
                <a:gd name="T37" fmla="*/ 308 h 341"/>
                <a:gd name="T38" fmla="*/ 12 w 329"/>
                <a:gd name="T39" fmla="*/ 273 h 341"/>
                <a:gd name="T40" fmla="*/ 102 w 329"/>
                <a:gd name="T41" fmla="*/ 178 h 341"/>
                <a:gd name="T42" fmla="*/ 115 w 329"/>
                <a:gd name="T43" fmla="*/ 194 h 341"/>
                <a:gd name="T44" fmla="*/ 141 w 329"/>
                <a:gd name="T45" fmla="*/ 211 h 341"/>
                <a:gd name="T46" fmla="*/ 142 w 329"/>
                <a:gd name="T47" fmla="*/ 217 h 341"/>
                <a:gd name="T48" fmla="*/ 144 w 329"/>
                <a:gd name="T49" fmla="*/ 235 h 341"/>
                <a:gd name="T50" fmla="*/ 48 w 329"/>
                <a:gd name="T51" fmla="*/ 300 h 341"/>
                <a:gd name="T52" fmla="*/ 35 w 329"/>
                <a:gd name="T53" fmla="*/ 288 h 341"/>
                <a:gd name="T54" fmla="*/ 22 w 329"/>
                <a:gd name="T55" fmla="*/ 302 h 341"/>
                <a:gd name="T56" fmla="*/ 49 w 329"/>
                <a:gd name="T57" fmla="*/ 301 h 341"/>
                <a:gd name="T58" fmla="*/ 237 w 329"/>
                <a:gd name="T59" fmla="*/ 168 h 341"/>
                <a:gd name="T60" fmla="*/ 319 w 329"/>
                <a:gd name="T61" fmla="*/ 290 h 341"/>
                <a:gd name="T62" fmla="*/ 243 w 329"/>
                <a:gd name="T63" fmla="*/ 326 h 341"/>
                <a:gd name="T64" fmla="*/ 154 w 329"/>
                <a:gd name="T65" fmla="*/ 216 h 341"/>
                <a:gd name="T66" fmla="*/ 124 w 329"/>
                <a:gd name="T67" fmla="*/ 186 h 341"/>
                <a:gd name="T68" fmla="*/ 117 w 329"/>
                <a:gd name="T69" fmla="*/ 152 h 341"/>
                <a:gd name="T70" fmla="*/ 54 w 329"/>
                <a:gd name="T71" fmla="*/ 79 h 341"/>
                <a:gd name="T72" fmla="*/ 0 w 329"/>
                <a:gd name="T73" fmla="*/ 24 h 341"/>
                <a:gd name="T74" fmla="*/ 58 w 329"/>
                <a:gd name="T75" fmla="*/ 27 h 341"/>
                <a:gd name="T76" fmla="*/ 143 w 329"/>
                <a:gd name="T77" fmla="*/ 127 h 341"/>
                <a:gd name="T78" fmla="*/ 176 w 329"/>
                <a:gd name="T79" fmla="*/ 122 h 341"/>
                <a:gd name="T80" fmla="*/ 188 w 329"/>
                <a:gd name="T81" fmla="*/ 144 h 341"/>
                <a:gd name="T82" fmla="*/ 205 w 329"/>
                <a:gd name="T83" fmla="*/ 227 h 341"/>
                <a:gd name="T84" fmla="*/ 193 w 329"/>
                <a:gd name="T85" fmla="*/ 238 h 341"/>
                <a:gd name="T86" fmla="*/ 269 w 329"/>
                <a:gd name="T87" fmla="*/ 303 h 341"/>
                <a:gd name="T88" fmla="*/ 205 w 329"/>
                <a:gd name="T89" fmla="*/ 227 h 341"/>
                <a:gd name="T90" fmla="*/ 297 w 329"/>
                <a:gd name="T91" fmla="*/ 266 h 341"/>
                <a:gd name="T92" fmla="*/ 221 w 329"/>
                <a:gd name="T93" fmla="*/ 201 h 341"/>
                <a:gd name="T94" fmla="*/ 286 w 329"/>
                <a:gd name="T95" fmla="*/ 278 h 3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329" h="341">
                  <a:moveTo>
                    <a:pt x="180" y="80"/>
                  </a:moveTo>
                  <a:cubicBezTo>
                    <a:pt x="178" y="58"/>
                    <a:pt x="185" y="38"/>
                    <a:pt x="201" y="21"/>
                  </a:cubicBezTo>
                  <a:cubicBezTo>
                    <a:pt x="211" y="11"/>
                    <a:pt x="224" y="4"/>
                    <a:pt x="238" y="1"/>
                  </a:cubicBezTo>
                  <a:cubicBezTo>
                    <a:pt x="246" y="0"/>
                    <a:pt x="254" y="0"/>
                    <a:pt x="262" y="0"/>
                  </a:cubicBezTo>
                  <a:cubicBezTo>
                    <a:pt x="264" y="0"/>
                    <a:pt x="267" y="1"/>
                    <a:pt x="270" y="2"/>
                  </a:cubicBezTo>
                  <a:cubicBezTo>
                    <a:pt x="268" y="4"/>
                    <a:pt x="268" y="5"/>
                    <a:pt x="267" y="6"/>
                  </a:cubicBezTo>
                  <a:cubicBezTo>
                    <a:pt x="255" y="18"/>
                    <a:pt x="244" y="30"/>
                    <a:pt x="233" y="41"/>
                  </a:cubicBezTo>
                  <a:cubicBezTo>
                    <a:pt x="231" y="43"/>
                    <a:pt x="230" y="45"/>
                    <a:pt x="231" y="47"/>
                  </a:cubicBezTo>
                  <a:cubicBezTo>
                    <a:pt x="231" y="47"/>
                    <a:pt x="231" y="48"/>
                    <a:pt x="231" y="48"/>
                  </a:cubicBezTo>
                  <a:cubicBezTo>
                    <a:pt x="234" y="59"/>
                    <a:pt x="237" y="70"/>
                    <a:pt x="240" y="81"/>
                  </a:cubicBezTo>
                  <a:cubicBezTo>
                    <a:pt x="241" y="83"/>
                    <a:pt x="242" y="85"/>
                    <a:pt x="245" y="86"/>
                  </a:cubicBezTo>
                  <a:cubicBezTo>
                    <a:pt x="257" y="89"/>
                    <a:pt x="268" y="92"/>
                    <a:pt x="280" y="94"/>
                  </a:cubicBezTo>
                  <a:cubicBezTo>
                    <a:pt x="281" y="95"/>
                    <a:pt x="284" y="94"/>
                    <a:pt x="285" y="93"/>
                  </a:cubicBezTo>
                  <a:cubicBezTo>
                    <a:pt x="295" y="82"/>
                    <a:pt x="305" y="72"/>
                    <a:pt x="315" y="61"/>
                  </a:cubicBezTo>
                  <a:cubicBezTo>
                    <a:pt x="317" y="59"/>
                    <a:pt x="320" y="56"/>
                    <a:pt x="323" y="53"/>
                  </a:cubicBezTo>
                  <a:cubicBezTo>
                    <a:pt x="324" y="55"/>
                    <a:pt x="325" y="57"/>
                    <a:pt x="325" y="59"/>
                  </a:cubicBezTo>
                  <a:cubicBezTo>
                    <a:pt x="325" y="60"/>
                    <a:pt x="325" y="62"/>
                    <a:pt x="326" y="63"/>
                  </a:cubicBezTo>
                  <a:cubicBezTo>
                    <a:pt x="327" y="80"/>
                    <a:pt x="325" y="96"/>
                    <a:pt x="316" y="111"/>
                  </a:cubicBezTo>
                  <a:cubicBezTo>
                    <a:pt x="299" y="139"/>
                    <a:pt x="267" y="152"/>
                    <a:pt x="236" y="145"/>
                  </a:cubicBezTo>
                  <a:cubicBezTo>
                    <a:pt x="233" y="144"/>
                    <a:pt x="231" y="145"/>
                    <a:pt x="228" y="147"/>
                  </a:cubicBezTo>
                  <a:cubicBezTo>
                    <a:pt x="228" y="148"/>
                    <a:pt x="227" y="148"/>
                    <a:pt x="226" y="149"/>
                  </a:cubicBezTo>
                  <a:cubicBezTo>
                    <a:pt x="222" y="148"/>
                    <a:pt x="218" y="148"/>
                    <a:pt x="215" y="147"/>
                  </a:cubicBezTo>
                  <a:cubicBezTo>
                    <a:pt x="213" y="147"/>
                    <a:pt x="209" y="147"/>
                    <a:pt x="209" y="147"/>
                  </a:cubicBezTo>
                  <a:cubicBezTo>
                    <a:pt x="208" y="146"/>
                    <a:pt x="208" y="146"/>
                    <a:pt x="207" y="145"/>
                  </a:cubicBezTo>
                  <a:cubicBezTo>
                    <a:pt x="205" y="143"/>
                    <a:pt x="203" y="141"/>
                    <a:pt x="199" y="138"/>
                  </a:cubicBezTo>
                  <a:cubicBezTo>
                    <a:pt x="198" y="132"/>
                    <a:pt x="195" y="125"/>
                    <a:pt x="191" y="120"/>
                  </a:cubicBezTo>
                  <a:cubicBezTo>
                    <a:pt x="184" y="114"/>
                    <a:pt x="184" y="114"/>
                    <a:pt x="184" y="114"/>
                  </a:cubicBezTo>
                  <a:cubicBezTo>
                    <a:pt x="181" y="110"/>
                    <a:pt x="176" y="108"/>
                    <a:pt x="171" y="106"/>
                  </a:cubicBezTo>
                  <a:cubicBezTo>
                    <a:pt x="174" y="103"/>
                    <a:pt x="177" y="100"/>
                    <a:pt x="180" y="97"/>
                  </a:cubicBezTo>
                  <a:cubicBezTo>
                    <a:pt x="181" y="96"/>
                    <a:pt x="182" y="94"/>
                    <a:pt x="182" y="93"/>
                  </a:cubicBezTo>
                  <a:cubicBezTo>
                    <a:pt x="182" y="93"/>
                    <a:pt x="182" y="93"/>
                    <a:pt x="182" y="93"/>
                  </a:cubicBezTo>
                  <a:cubicBezTo>
                    <a:pt x="181" y="88"/>
                    <a:pt x="180" y="84"/>
                    <a:pt x="180" y="80"/>
                  </a:cubicBezTo>
                  <a:close/>
                  <a:moveTo>
                    <a:pt x="144" y="235"/>
                  </a:moveTo>
                  <a:cubicBezTo>
                    <a:pt x="136" y="243"/>
                    <a:pt x="128" y="251"/>
                    <a:pt x="121" y="260"/>
                  </a:cubicBezTo>
                  <a:cubicBezTo>
                    <a:pt x="103" y="278"/>
                    <a:pt x="85" y="297"/>
                    <a:pt x="68" y="315"/>
                  </a:cubicBezTo>
                  <a:cubicBezTo>
                    <a:pt x="51" y="336"/>
                    <a:pt x="32" y="331"/>
                    <a:pt x="32" y="331"/>
                  </a:cubicBezTo>
                  <a:cubicBezTo>
                    <a:pt x="25" y="331"/>
                    <a:pt x="17" y="324"/>
                    <a:pt x="11" y="317"/>
                  </a:cubicBezTo>
                  <a:cubicBezTo>
                    <a:pt x="9" y="314"/>
                    <a:pt x="8" y="311"/>
                    <a:pt x="7" y="308"/>
                  </a:cubicBezTo>
                  <a:cubicBezTo>
                    <a:pt x="7" y="308"/>
                    <a:pt x="4" y="304"/>
                    <a:pt x="3" y="297"/>
                  </a:cubicBezTo>
                  <a:cubicBezTo>
                    <a:pt x="3" y="291"/>
                    <a:pt x="4" y="282"/>
                    <a:pt x="12" y="273"/>
                  </a:cubicBezTo>
                  <a:cubicBezTo>
                    <a:pt x="22" y="262"/>
                    <a:pt x="32" y="251"/>
                    <a:pt x="43" y="241"/>
                  </a:cubicBezTo>
                  <a:cubicBezTo>
                    <a:pt x="62" y="220"/>
                    <a:pt x="82" y="199"/>
                    <a:pt x="102" y="178"/>
                  </a:cubicBezTo>
                  <a:cubicBezTo>
                    <a:pt x="104" y="182"/>
                    <a:pt x="106" y="185"/>
                    <a:pt x="108" y="188"/>
                  </a:cubicBezTo>
                  <a:cubicBezTo>
                    <a:pt x="115" y="194"/>
                    <a:pt x="115" y="194"/>
                    <a:pt x="115" y="194"/>
                  </a:cubicBezTo>
                  <a:cubicBezTo>
                    <a:pt x="120" y="200"/>
                    <a:pt x="127" y="203"/>
                    <a:pt x="134" y="204"/>
                  </a:cubicBezTo>
                  <a:cubicBezTo>
                    <a:pt x="137" y="207"/>
                    <a:pt x="139" y="210"/>
                    <a:pt x="141" y="211"/>
                  </a:cubicBezTo>
                  <a:cubicBezTo>
                    <a:pt x="141" y="211"/>
                    <a:pt x="141" y="212"/>
                    <a:pt x="141" y="212"/>
                  </a:cubicBezTo>
                  <a:cubicBezTo>
                    <a:pt x="141" y="213"/>
                    <a:pt x="142" y="215"/>
                    <a:pt x="142" y="217"/>
                  </a:cubicBezTo>
                  <a:cubicBezTo>
                    <a:pt x="142" y="218"/>
                    <a:pt x="142" y="218"/>
                    <a:pt x="142" y="218"/>
                  </a:cubicBezTo>
                  <a:cubicBezTo>
                    <a:pt x="142" y="223"/>
                    <a:pt x="142" y="229"/>
                    <a:pt x="144" y="235"/>
                  </a:cubicBezTo>
                  <a:close/>
                  <a:moveTo>
                    <a:pt x="49" y="301"/>
                  </a:moveTo>
                  <a:cubicBezTo>
                    <a:pt x="49" y="301"/>
                    <a:pt x="49" y="301"/>
                    <a:pt x="48" y="300"/>
                  </a:cubicBezTo>
                  <a:cubicBezTo>
                    <a:pt x="49" y="300"/>
                    <a:pt x="49" y="299"/>
                    <a:pt x="48" y="299"/>
                  </a:cubicBezTo>
                  <a:cubicBezTo>
                    <a:pt x="48" y="293"/>
                    <a:pt x="41" y="287"/>
                    <a:pt x="35" y="288"/>
                  </a:cubicBezTo>
                  <a:cubicBezTo>
                    <a:pt x="28" y="288"/>
                    <a:pt x="22" y="294"/>
                    <a:pt x="22" y="301"/>
                  </a:cubicBezTo>
                  <a:cubicBezTo>
                    <a:pt x="22" y="301"/>
                    <a:pt x="22" y="302"/>
                    <a:pt x="22" y="302"/>
                  </a:cubicBezTo>
                  <a:cubicBezTo>
                    <a:pt x="23" y="308"/>
                    <a:pt x="29" y="314"/>
                    <a:pt x="36" y="314"/>
                  </a:cubicBezTo>
                  <a:cubicBezTo>
                    <a:pt x="42" y="314"/>
                    <a:pt x="49" y="308"/>
                    <a:pt x="49" y="301"/>
                  </a:cubicBezTo>
                  <a:close/>
                  <a:moveTo>
                    <a:pt x="213" y="159"/>
                  </a:moveTo>
                  <a:cubicBezTo>
                    <a:pt x="222" y="160"/>
                    <a:pt x="230" y="161"/>
                    <a:pt x="237" y="168"/>
                  </a:cubicBezTo>
                  <a:cubicBezTo>
                    <a:pt x="319" y="252"/>
                    <a:pt x="319" y="252"/>
                    <a:pt x="319" y="252"/>
                  </a:cubicBezTo>
                  <a:cubicBezTo>
                    <a:pt x="329" y="263"/>
                    <a:pt x="329" y="280"/>
                    <a:pt x="319" y="290"/>
                  </a:cubicBezTo>
                  <a:cubicBezTo>
                    <a:pt x="278" y="330"/>
                    <a:pt x="278" y="330"/>
                    <a:pt x="278" y="330"/>
                  </a:cubicBezTo>
                  <a:cubicBezTo>
                    <a:pt x="267" y="341"/>
                    <a:pt x="254" y="337"/>
                    <a:pt x="243" y="326"/>
                  </a:cubicBezTo>
                  <a:cubicBezTo>
                    <a:pt x="161" y="241"/>
                    <a:pt x="161" y="241"/>
                    <a:pt x="161" y="241"/>
                  </a:cubicBezTo>
                  <a:cubicBezTo>
                    <a:pt x="154" y="234"/>
                    <a:pt x="154" y="225"/>
                    <a:pt x="154" y="216"/>
                  </a:cubicBezTo>
                  <a:cubicBezTo>
                    <a:pt x="153" y="202"/>
                    <a:pt x="153" y="209"/>
                    <a:pt x="140" y="192"/>
                  </a:cubicBezTo>
                  <a:cubicBezTo>
                    <a:pt x="134" y="192"/>
                    <a:pt x="128" y="191"/>
                    <a:pt x="124" y="186"/>
                  </a:cubicBezTo>
                  <a:cubicBezTo>
                    <a:pt x="117" y="179"/>
                    <a:pt x="117" y="179"/>
                    <a:pt x="117" y="179"/>
                  </a:cubicBezTo>
                  <a:cubicBezTo>
                    <a:pt x="110" y="172"/>
                    <a:pt x="109" y="159"/>
                    <a:pt x="117" y="152"/>
                  </a:cubicBezTo>
                  <a:cubicBezTo>
                    <a:pt x="122" y="148"/>
                    <a:pt x="122" y="148"/>
                    <a:pt x="122" y="148"/>
                  </a:cubicBezTo>
                  <a:cubicBezTo>
                    <a:pt x="54" y="79"/>
                    <a:pt x="54" y="79"/>
                    <a:pt x="54" y="79"/>
                  </a:cubicBezTo>
                  <a:cubicBezTo>
                    <a:pt x="23" y="61"/>
                    <a:pt x="23" y="61"/>
                    <a:pt x="23" y="61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21" y="4"/>
                    <a:pt x="21" y="4"/>
                    <a:pt x="21" y="4"/>
                  </a:cubicBezTo>
                  <a:cubicBezTo>
                    <a:pt x="21" y="4"/>
                    <a:pt x="58" y="27"/>
                    <a:pt x="58" y="27"/>
                  </a:cubicBezTo>
                  <a:cubicBezTo>
                    <a:pt x="75" y="58"/>
                    <a:pt x="75" y="58"/>
                    <a:pt x="75" y="58"/>
                  </a:cubicBezTo>
                  <a:cubicBezTo>
                    <a:pt x="143" y="127"/>
                    <a:pt x="143" y="127"/>
                    <a:pt x="143" y="127"/>
                  </a:cubicBezTo>
                  <a:cubicBezTo>
                    <a:pt x="149" y="121"/>
                    <a:pt x="149" y="121"/>
                    <a:pt x="149" y="121"/>
                  </a:cubicBezTo>
                  <a:cubicBezTo>
                    <a:pt x="156" y="114"/>
                    <a:pt x="168" y="114"/>
                    <a:pt x="176" y="122"/>
                  </a:cubicBezTo>
                  <a:cubicBezTo>
                    <a:pt x="182" y="129"/>
                    <a:pt x="182" y="129"/>
                    <a:pt x="182" y="129"/>
                  </a:cubicBezTo>
                  <a:cubicBezTo>
                    <a:pt x="186" y="133"/>
                    <a:pt x="188" y="139"/>
                    <a:pt x="188" y="144"/>
                  </a:cubicBezTo>
                  <a:cubicBezTo>
                    <a:pt x="205" y="158"/>
                    <a:pt x="199" y="158"/>
                    <a:pt x="213" y="159"/>
                  </a:cubicBezTo>
                  <a:moveTo>
                    <a:pt x="205" y="227"/>
                  </a:moveTo>
                  <a:cubicBezTo>
                    <a:pt x="202" y="224"/>
                    <a:pt x="198" y="224"/>
                    <a:pt x="194" y="228"/>
                  </a:cubicBezTo>
                  <a:cubicBezTo>
                    <a:pt x="191" y="231"/>
                    <a:pt x="191" y="235"/>
                    <a:pt x="193" y="238"/>
                  </a:cubicBezTo>
                  <a:cubicBezTo>
                    <a:pt x="259" y="304"/>
                    <a:pt x="259" y="304"/>
                    <a:pt x="259" y="304"/>
                  </a:cubicBezTo>
                  <a:cubicBezTo>
                    <a:pt x="261" y="307"/>
                    <a:pt x="266" y="306"/>
                    <a:pt x="269" y="303"/>
                  </a:cubicBezTo>
                  <a:cubicBezTo>
                    <a:pt x="272" y="300"/>
                    <a:pt x="273" y="295"/>
                    <a:pt x="270" y="293"/>
                  </a:cubicBezTo>
                  <a:lnTo>
                    <a:pt x="205" y="227"/>
                  </a:lnTo>
                  <a:close/>
                  <a:moveTo>
                    <a:pt x="296" y="277"/>
                  </a:moveTo>
                  <a:cubicBezTo>
                    <a:pt x="299" y="274"/>
                    <a:pt x="300" y="269"/>
                    <a:pt x="297" y="266"/>
                  </a:cubicBezTo>
                  <a:cubicBezTo>
                    <a:pt x="232" y="200"/>
                    <a:pt x="232" y="200"/>
                    <a:pt x="232" y="200"/>
                  </a:cubicBezTo>
                  <a:cubicBezTo>
                    <a:pt x="229" y="197"/>
                    <a:pt x="225" y="198"/>
                    <a:pt x="221" y="201"/>
                  </a:cubicBezTo>
                  <a:cubicBezTo>
                    <a:pt x="218" y="204"/>
                    <a:pt x="218" y="209"/>
                    <a:pt x="220" y="211"/>
                  </a:cubicBezTo>
                  <a:cubicBezTo>
                    <a:pt x="286" y="278"/>
                    <a:pt x="286" y="278"/>
                    <a:pt x="286" y="278"/>
                  </a:cubicBezTo>
                  <a:cubicBezTo>
                    <a:pt x="288" y="280"/>
                    <a:pt x="293" y="280"/>
                    <a:pt x="296" y="277"/>
                  </a:cubicBezTo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grpSp>
        <p:nvGrpSpPr>
          <p:cNvPr id="46" name="Group 5">
            <a:extLst>
              <a:ext uri="{FF2B5EF4-FFF2-40B4-BE49-F238E27FC236}">
                <a16:creationId xmlns:a16="http://schemas.microsoft.com/office/drawing/2014/main" xmlns="" id="{5F43D504-7AFF-40B9-9E4D-33E0271F2A27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51039" y="507216"/>
            <a:ext cx="441708" cy="359959"/>
            <a:chOff x="356" y="857"/>
            <a:chExt cx="670" cy="546"/>
          </a:xfrm>
          <a:effectLst>
            <a:outerShdw blurRad="101600" dist="76200" dir="2700000" algn="ctr" rotWithShape="0">
              <a:srgbClr val="000000">
                <a:alpha val="29000"/>
              </a:srgbClr>
            </a:outerShdw>
          </a:effectLst>
        </p:grpSpPr>
        <p:sp>
          <p:nvSpPr>
            <p:cNvPr id="47" name="AutoShape 4">
              <a:extLst>
                <a:ext uri="{FF2B5EF4-FFF2-40B4-BE49-F238E27FC236}">
                  <a16:creationId xmlns:a16="http://schemas.microsoft.com/office/drawing/2014/main" xmlns="" id="{E6A3EF9E-513E-44E3-A8F1-33930F35DF6A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56" y="857"/>
              <a:ext cx="670" cy="54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8" name="Freeform 6">
              <a:extLst>
                <a:ext uri="{FF2B5EF4-FFF2-40B4-BE49-F238E27FC236}">
                  <a16:creationId xmlns:a16="http://schemas.microsoft.com/office/drawing/2014/main" xmlns="" id="{53E9999C-37DF-4777-9E3D-AF522AB6C805}"/>
                </a:ext>
              </a:extLst>
            </p:cNvPr>
            <p:cNvSpPr>
              <a:spLocks/>
            </p:cNvSpPr>
            <p:nvPr/>
          </p:nvSpPr>
          <p:spPr bwMode="auto">
            <a:xfrm>
              <a:off x="352" y="856"/>
              <a:ext cx="676" cy="546"/>
            </a:xfrm>
            <a:custGeom>
              <a:avLst/>
              <a:gdLst>
                <a:gd name="T0" fmla="*/ 565 w 572"/>
                <a:gd name="T1" fmla="*/ 443 h 462"/>
                <a:gd name="T2" fmla="*/ 528 w 572"/>
                <a:gd name="T3" fmla="*/ 462 h 462"/>
                <a:gd name="T4" fmla="*/ 46 w 572"/>
                <a:gd name="T5" fmla="*/ 462 h 462"/>
                <a:gd name="T6" fmla="*/ 9 w 572"/>
                <a:gd name="T7" fmla="*/ 445 h 462"/>
                <a:gd name="T8" fmla="*/ 8 w 572"/>
                <a:gd name="T9" fmla="*/ 410 h 462"/>
                <a:gd name="T10" fmla="*/ 35 w 572"/>
                <a:gd name="T11" fmla="*/ 342 h 462"/>
                <a:gd name="T12" fmla="*/ 36 w 572"/>
                <a:gd name="T13" fmla="*/ 340 h 462"/>
                <a:gd name="T14" fmla="*/ 45 w 572"/>
                <a:gd name="T15" fmla="*/ 326 h 462"/>
                <a:gd name="T16" fmla="*/ 40 w 572"/>
                <a:gd name="T17" fmla="*/ 305 h 462"/>
                <a:gd name="T18" fmla="*/ 40 w 572"/>
                <a:gd name="T19" fmla="*/ 48 h 462"/>
                <a:gd name="T20" fmla="*/ 89 w 572"/>
                <a:gd name="T21" fmla="*/ 0 h 462"/>
                <a:gd name="T22" fmla="*/ 482 w 572"/>
                <a:gd name="T23" fmla="*/ 0 h 462"/>
                <a:gd name="T24" fmla="*/ 530 w 572"/>
                <a:gd name="T25" fmla="*/ 48 h 462"/>
                <a:gd name="T26" fmla="*/ 530 w 572"/>
                <a:gd name="T27" fmla="*/ 305 h 462"/>
                <a:gd name="T28" fmla="*/ 525 w 572"/>
                <a:gd name="T29" fmla="*/ 327 h 462"/>
                <a:gd name="T30" fmla="*/ 532 w 572"/>
                <a:gd name="T31" fmla="*/ 337 h 462"/>
                <a:gd name="T32" fmla="*/ 533 w 572"/>
                <a:gd name="T33" fmla="*/ 341 h 462"/>
                <a:gd name="T34" fmla="*/ 565 w 572"/>
                <a:gd name="T35" fmla="*/ 408 h 462"/>
                <a:gd name="T36" fmla="*/ 565 w 572"/>
                <a:gd name="T37" fmla="*/ 443 h 4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72" h="462">
                  <a:moveTo>
                    <a:pt x="565" y="443"/>
                  </a:moveTo>
                  <a:cubicBezTo>
                    <a:pt x="557" y="457"/>
                    <a:pt x="540" y="462"/>
                    <a:pt x="528" y="462"/>
                  </a:cubicBezTo>
                  <a:cubicBezTo>
                    <a:pt x="46" y="462"/>
                    <a:pt x="46" y="462"/>
                    <a:pt x="46" y="462"/>
                  </a:cubicBezTo>
                  <a:cubicBezTo>
                    <a:pt x="30" y="462"/>
                    <a:pt x="16" y="456"/>
                    <a:pt x="9" y="445"/>
                  </a:cubicBezTo>
                  <a:cubicBezTo>
                    <a:pt x="5" y="439"/>
                    <a:pt x="0" y="426"/>
                    <a:pt x="8" y="410"/>
                  </a:cubicBezTo>
                  <a:cubicBezTo>
                    <a:pt x="12" y="402"/>
                    <a:pt x="26" y="364"/>
                    <a:pt x="35" y="342"/>
                  </a:cubicBezTo>
                  <a:cubicBezTo>
                    <a:pt x="36" y="340"/>
                    <a:pt x="36" y="340"/>
                    <a:pt x="36" y="340"/>
                  </a:cubicBezTo>
                  <a:cubicBezTo>
                    <a:pt x="38" y="336"/>
                    <a:pt x="41" y="331"/>
                    <a:pt x="45" y="326"/>
                  </a:cubicBezTo>
                  <a:cubicBezTo>
                    <a:pt x="42" y="319"/>
                    <a:pt x="40" y="312"/>
                    <a:pt x="40" y="305"/>
                  </a:cubicBezTo>
                  <a:cubicBezTo>
                    <a:pt x="40" y="48"/>
                    <a:pt x="40" y="48"/>
                    <a:pt x="40" y="48"/>
                  </a:cubicBezTo>
                  <a:cubicBezTo>
                    <a:pt x="40" y="21"/>
                    <a:pt x="62" y="0"/>
                    <a:pt x="89" y="0"/>
                  </a:cubicBezTo>
                  <a:cubicBezTo>
                    <a:pt x="482" y="0"/>
                    <a:pt x="482" y="0"/>
                    <a:pt x="482" y="0"/>
                  </a:cubicBezTo>
                  <a:cubicBezTo>
                    <a:pt x="508" y="0"/>
                    <a:pt x="530" y="21"/>
                    <a:pt x="530" y="48"/>
                  </a:cubicBezTo>
                  <a:cubicBezTo>
                    <a:pt x="530" y="305"/>
                    <a:pt x="530" y="305"/>
                    <a:pt x="530" y="305"/>
                  </a:cubicBezTo>
                  <a:cubicBezTo>
                    <a:pt x="530" y="313"/>
                    <a:pt x="528" y="320"/>
                    <a:pt x="525" y="327"/>
                  </a:cubicBezTo>
                  <a:cubicBezTo>
                    <a:pt x="528" y="331"/>
                    <a:pt x="530" y="334"/>
                    <a:pt x="532" y="337"/>
                  </a:cubicBezTo>
                  <a:cubicBezTo>
                    <a:pt x="533" y="341"/>
                    <a:pt x="533" y="341"/>
                    <a:pt x="533" y="341"/>
                  </a:cubicBezTo>
                  <a:cubicBezTo>
                    <a:pt x="543" y="363"/>
                    <a:pt x="560" y="399"/>
                    <a:pt x="565" y="408"/>
                  </a:cubicBezTo>
                  <a:cubicBezTo>
                    <a:pt x="571" y="420"/>
                    <a:pt x="572" y="432"/>
                    <a:pt x="565" y="44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9" name="Freeform 7">
              <a:extLst>
                <a:ext uri="{FF2B5EF4-FFF2-40B4-BE49-F238E27FC236}">
                  <a16:creationId xmlns:a16="http://schemas.microsoft.com/office/drawing/2014/main" xmlns="" id="{C5F0E9EB-8CB4-4388-9BAA-D3B33B712D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0" y="884"/>
              <a:ext cx="624" cy="489"/>
            </a:xfrm>
            <a:custGeom>
              <a:avLst/>
              <a:gdLst>
                <a:gd name="T0" fmla="*/ 74 w 528"/>
                <a:gd name="T1" fmla="*/ 32 h 414"/>
                <a:gd name="T2" fmla="*/ 451 w 528"/>
                <a:gd name="T3" fmla="*/ 32 h 414"/>
                <a:gd name="T4" fmla="*/ 451 w 528"/>
                <a:gd name="T5" fmla="*/ 273 h 414"/>
                <a:gd name="T6" fmla="*/ 74 w 528"/>
                <a:gd name="T7" fmla="*/ 273 h 414"/>
                <a:gd name="T8" fmla="*/ 74 w 528"/>
                <a:gd name="T9" fmla="*/ 32 h 414"/>
                <a:gd name="T10" fmla="*/ 66 w 528"/>
                <a:gd name="T11" fmla="*/ 305 h 414"/>
                <a:gd name="T12" fmla="*/ 459 w 528"/>
                <a:gd name="T13" fmla="*/ 305 h 414"/>
                <a:gd name="T14" fmla="*/ 483 w 528"/>
                <a:gd name="T15" fmla="*/ 281 h 414"/>
                <a:gd name="T16" fmla="*/ 483 w 528"/>
                <a:gd name="T17" fmla="*/ 24 h 414"/>
                <a:gd name="T18" fmla="*/ 459 w 528"/>
                <a:gd name="T19" fmla="*/ 0 h 414"/>
                <a:gd name="T20" fmla="*/ 66 w 528"/>
                <a:gd name="T21" fmla="*/ 0 h 414"/>
                <a:gd name="T22" fmla="*/ 41 w 528"/>
                <a:gd name="T23" fmla="*/ 24 h 414"/>
                <a:gd name="T24" fmla="*/ 41 w 528"/>
                <a:gd name="T25" fmla="*/ 281 h 414"/>
                <a:gd name="T26" fmla="*/ 66 w 528"/>
                <a:gd name="T27" fmla="*/ 305 h 414"/>
                <a:gd name="T28" fmla="*/ 504 w 528"/>
                <a:gd name="T29" fmla="*/ 401 h 414"/>
                <a:gd name="T30" fmla="*/ 24 w 528"/>
                <a:gd name="T31" fmla="*/ 401 h 414"/>
                <a:gd name="T32" fmla="*/ 20 w 528"/>
                <a:gd name="T33" fmla="*/ 397 h 414"/>
                <a:gd name="T34" fmla="*/ 24 w 528"/>
                <a:gd name="T35" fmla="*/ 393 h 414"/>
                <a:gd name="T36" fmla="*/ 504 w 528"/>
                <a:gd name="T37" fmla="*/ 393 h 414"/>
                <a:gd name="T38" fmla="*/ 508 w 528"/>
                <a:gd name="T39" fmla="*/ 397 h 414"/>
                <a:gd name="T40" fmla="*/ 504 w 528"/>
                <a:gd name="T41" fmla="*/ 401 h 414"/>
                <a:gd name="T42" fmla="*/ 208 w 528"/>
                <a:gd name="T43" fmla="*/ 360 h 414"/>
                <a:gd name="T44" fmla="*/ 217 w 528"/>
                <a:gd name="T45" fmla="*/ 355 h 414"/>
                <a:gd name="T46" fmla="*/ 310 w 528"/>
                <a:gd name="T47" fmla="*/ 355 h 414"/>
                <a:gd name="T48" fmla="*/ 318 w 528"/>
                <a:gd name="T49" fmla="*/ 360 h 414"/>
                <a:gd name="T50" fmla="*/ 323 w 528"/>
                <a:gd name="T51" fmla="*/ 377 h 414"/>
                <a:gd name="T52" fmla="*/ 315 w 528"/>
                <a:gd name="T53" fmla="*/ 382 h 414"/>
                <a:gd name="T54" fmla="*/ 212 w 528"/>
                <a:gd name="T55" fmla="*/ 382 h 414"/>
                <a:gd name="T56" fmla="*/ 203 w 528"/>
                <a:gd name="T57" fmla="*/ 377 h 414"/>
                <a:gd name="T58" fmla="*/ 208 w 528"/>
                <a:gd name="T59" fmla="*/ 360 h 414"/>
                <a:gd name="T60" fmla="*/ 521 w 528"/>
                <a:gd name="T61" fmla="*/ 396 h 414"/>
                <a:gd name="T62" fmla="*/ 488 w 528"/>
                <a:gd name="T63" fmla="*/ 327 h 414"/>
                <a:gd name="T64" fmla="*/ 472 w 528"/>
                <a:gd name="T65" fmla="*/ 313 h 414"/>
                <a:gd name="T66" fmla="*/ 50 w 528"/>
                <a:gd name="T67" fmla="*/ 313 h 414"/>
                <a:gd name="T68" fmla="*/ 34 w 528"/>
                <a:gd name="T69" fmla="*/ 327 h 414"/>
                <a:gd name="T70" fmla="*/ 7 w 528"/>
                <a:gd name="T71" fmla="*/ 396 h 414"/>
                <a:gd name="T72" fmla="*/ 23 w 528"/>
                <a:gd name="T73" fmla="*/ 414 h 414"/>
                <a:gd name="T74" fmla="*/ 505 w 528"/>
                <a:gd name="T75" fmla="*/ 414 h 414"/>
                <a:gd name="T76" fmla="*/ 521 w 528"/>
                <a:gd name="T77" fmla="*/ 396 h 4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528" h="414">
                  <a:moveTo>
                    <a:pt x="74" y="32"/>
                  </a:moveTo>
                  <a:cubicBezTo>
                    <a:pt x="451" y="32"/>
                    <a:pt x="451" y="32"/>
                    <a:pt x="451" y="32"/>
                  </a:cubicBezTo>
                  <a:cubicBezTo>
                    <a:pt x="451" y="273"/>
                    <a:pt x="451" y="273"/>
                    <a:pt x="451" y="273"/>
                  </a:cubicBezTo>
                  <a:cubicBezTo>
                    <a:pt x="74" y="273"/>
                    <a:pt x="74" y="273"/>
                    <a:pt x="74" y="273"/>
                  </a:cubicBezTo>
                  <a:lnTo>
                    <a:pt x="74" y="32"/>
                  </a:lnTo>
                  <a:close/>
                  <a:moveTo>
                    <a:pt x="66" y="305"/>
                  </a:moveTo>
                  <a:cubicBezTo>
                    <a:pt x="459" y="305"/>
                    <a:pt x="459" y="305"/>
                    <a:pt x="459" y="305"/>
                  </a:cubicBezTo>
                  <a:cubicBezTo>
                    <a:pt x="472" y="305"/>
                    <a:pt x="483" y="294"/>
                    <a:pt x="483" y="281"/>
                  </a:cubicBezTo>
                  <a:cubicBezTo>
                    <a:pt x="483" y="24"/>
                    <a:pt x="483" y="24"/>
                    <a:pt x="483" y="24"/>
                  </a:cubicBezTo>
                  <a:cubicBezTo>
                    <a:pt x="483" y="11"/>
                    <a:pt x="472" y="0"/>
                    <a:pt x="459" y="0"/>
                  </a:cubicBezTo>
                  <a:cubicBezTo>
                    <a:pt x="66" y="0"/>
                    <a:pt x="66" y="0"/>
                    <a:pt x="66" y="0"/>
                  </a:cubicBezTo>
                  <a:cubicBezTo>
                    <a:pt x="52" y="0"/>
                    <a:pt x="41" y="11"/>
                    <a:pt x="41" y="24"/>
                  </a:cubicBezTo>
                  <a:cubicBezTo>
                    <a:pt x="41" y="281"/>
                    <a:pt x="41" y="281"/>
                    <a:pt x="41" y="281"/>
                  </a:cubicBezTo>
                  <a:cubicBezTo>
                    <a:pt x="41" y="294"/>
                    <a:pt x="52" y="305"/>
                    <a:pt x="66" y="305"/>
                  </a:cubicBezTo>
                  <a:moveTo>
                    <a:pt x="504" y="401"/>
                  </a:moveTo>
                  <a:cubicBezTo>
                    <a:pt x="24" y="401"/>
                    <a:pt x="24" y="401"/>
                    <a:pt x="24" y="401"/>
                  </a:cubicBezTo>
                  <a:cubicBezTo>
                    <a:pt x="22" y="401"/>
                    <a:pt x="20" y="399"/>
                    <a:pt x="20" y="397"/>
                  </a:cubicBezTo>
                  <a:cubicBezTo>
                    <a:pt x="20" y="395"/>
                    <a:pt x="22" y="393"/>
                    <a:pt x="24" y="393"/>
                  </a:cubicBezTo>
                  <a:cubicBezTo>
                    <a:pt x="504" y="393"/>
                    <a:pt x="504" y="393"/>
                    <a:pt x="504" y="393"/>
                  </a:cubicBezTo>
                  <a:cubicBezTo>
                    <a:pt x="506" y="393"/>
                    <a:pt x="508" y="395"/>
                    <a:pt x="508" y="397"/>
                  </a:cubicBezTo>
                  <a:cubicBezTo>
                    <a:pt x="508" y="399"/>
                    <a:pt x="506" y="401"/>
                    <a:pt x="504" y="401"/>
                  </a:cubicBezTo>
                  <a:moveTo>
                    <a:pt x="208" y="360"/>
                  </a:moveTo>
                  <a:cubicBezTo>
                    <a:pt x="208" y="358"/>
                    <a:pt x="212" y="355"/>
                    <a:pt x="217" y="355"/>
                  </a:cubicBezTo>
                  <a:cubicBezTo>
                    <a:pt x="310" y="355"/>
                    <a:pt x="310" y="355"/>
                    <a:pt x="310" y="355"/>
                  </a:cubicBezTo>
                  <a:cubicBezTo>
                    <a:pt x="314" y="355"/>
                    <a:pt x="318" y="358"/>
                    <a:pt x="318" y="360"/>
                  </a:cubicBezTo>
                  <a:cubicBezTo>
                    <a:pt x="323" y="377"/>
                    <a:pt x="323" y="377"/>
                    <a:pt x="323" y="377"/>
                  </a:cubicBezTo>
                  <a:cubicBezTo>
                    <a:pt x="323" y="380"/>
                    <a:pt x="319" y="382"/>
                    <a:pt x="315" y="382"/>
                  </a:cubicBezTo>
                  <a:cubicBezTo>
                    <a:pt x="212" y="382"/>
                    <a:pt x="212" y="382"/>
                    <a:pt x="212" y="382"/>
                  </a:cubicBezTo>
                  <a:cubicBezTo>
                    <a:pt x="207" y="382"/>
                    <a:pt x="203" y="380"/>
                    <a:pt x="203" y="377"/>
                  </a:cubicBezTo>
                  <a:lnTo>
                    <a:pt x="208" y="360"/>
                  </a:lnTo>
                  <a:close/>
                  <a:moveTo>
                    <a:pt x="521" y="396"/>
                  </a:moveTo>
                  <a:cubicBezTo>
                    <a:pt x="514" y="383"/>
                    <a:pt x="488" y="327"/>
                    <a:pt x="488" y="327"/>
                  </a:cubicBezTo>
                  <a:cubicBezTo>
                    <a:pt x="483" y="318"/>
                    <a:pt x="481" y="313"/>
                    <a:pt x="472" y="313"/>
                  </a:cubicBezTo>
                  <a:cubicBezTo>
                    <a:pt x="50" y="313"/>
                    <a:pt x="50" y="313"/>
                    <a:pt x="50" y="313"/>
                  </a:cubicBezTo>
                  <a:cubicBezTo>
                    <a:pt x="42" y="313"/>
                    <a:pt x="39" y="317"/>
                    <a:pt x="34" y="327"/>
                  </a:cubicBezTo>
                  <a:cubicBezTo>
                    <a:pt x="34" y="327"/>
                    <a:pt x="12" y="385"/>
                    <a:pt x="7" y="396"/>
                  </a:cubicBezTo>
                  <a:cubicBezTo>
                    <a:pt x="0" y="410"/>
                    <a:pt x="14" y="414"/>
                    <a:pt x="23" y="414"/>
                  </a:cubicBezTo>
                  <a:cubicBezTo>
                    <a:pt x="505" y="414"/>
                    <a:pt x="505" y="414"/>
                    <a:pt x="505" y="414"/>
                  </a:cubicBezTo>
                  <a:cubicBezTo>
                    <a:pt x="514" y="414"/>
                    <a:pt x="528" y="409"/>
                    <a:pt x="521" y="396"/>
                  </a:cubicBezTo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grpSp>
        <p:nvGrpSpPr>
          <p:cNvPr id="50" name="Group 11">
            <a:extLst>
              <a:ext uri="{FF2B5EF4-FFF2-40B4-BE49-F238E27FC236}">
                <a16:creationId xmlns:a16="http://schemas.microsoft.com/office/drawing/2014/main" xmlns="" id="{76856D07-6196-4679-B2FC-509EF1A94CF1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857783" y="511872"/>
            <a:ext cx="562123" cy="351162"/>
            <a:chOff x="1179" y="871"/>
            <a:chExt cx="850" cy="531"/>
          </a:xfrm>
          <a:effectLst>
            <a:outerShdw blurRad="101600" dist="76200" dir="2700000" algn="ctr" rotWithShape="0">
              <a:srgbClr val="000000">
                <a:alpha val="29000"/>
              </a:srgbClr>
            </a:outerShdw>
          </a:effectLst>
        </p:grpSpPr>
        <p:sp>
          <p:nvSpPr>
            <p:cNvPr id="51" name="AutoShape 10">
              <a:extLst>
                <a:ext uri="{FF2B5EF4-FFF2-40B4-BE49-F238E27FC236}">
                  <a16:creationId xmlns:a16="http://schemas.microsoft.com/office/drawing/2014/main" xmlns="" id="{BEB361D1-0D44-4F73-A5AB-89005E9B3BBB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179" y="871"/>
              <a:ext cx="850" cy="53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2" name="Freeform 12">
              <a:extLst>
                <a:ext uri="{FF2B5EF4-FFF2-40B4-BE49-F238E27FC236}">
                  <a16:creationId xmlns:a16="http://schemas.microsoft.com/office/drawing/2014/main" xmlns="" id="{00BAB5DE-83E2-4F23-9579-23A3E6B2E8D7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0" y="871"/>
              <a:ext cx="848" cy="532"/>
            </a:xfrm>
            <a:custGeom>
              <a:avLst/>
              <a:gdLst>
                <a:gd name="T0" fmla="*/ 718 w 718"/>
                <a:gd name="T1" fmla="*/ 367 h 451"/>
                <a:gd name="T2" fmla="*/ 718 w 718"/>
                <a:gd name="T3" fmla="*/ 425 h 451"/>
                <a:gd name="T4" fmla="*/ 676 w 718"/>
                <a:gd name="T5" fmla="*/ 451 h 451"/>
                <a:gd name="T6" fmla="*/ 43 w 718"/>
                <a:gd name="T7" fmla="*/ 451 h 451"/>
                <a:gd name="T8" fmla="*/ 0 w 718"/>
                <a:gd name="T9" fmla="*/ 426 h 451"/>
                <a:gd name="T10" fmla="*/ 0 w 718"/>
                <a:gd name="T11" fmla="*/ 367 h 451"/>
                <a:gd name="T12" fmla="*/ 84 w 718"/>
                <a:gd name="T13" fmla="*/ 367 h 451"/>
                <a:gd name="T14" fmla="*/ 84 w 718"/>
                <a:gd name="T15" fmla="*/ 35 h 451"/>
                <a:gd name="T16" fmla="*/ 118 w 718"/>
                <a:gd name="T17" fmla="*/ 0 h 451"/>
                <a:gd name="T18" fmla="*/ 601 w 718"/>
                <a:gd name="T19" fmla="*/ 0 h 451"/>
                <a:gd name="T20" fmla="*/ 635 w 718"/>
                <a:gd name="T21" fmla="*/ 35 h 451"/>
                <a:gd name="T22" fmla="*/ 635 w 718"/>
                <a:gd name="T23" fmla="*/ 367 h 451"/>
                <a:gd name="T24" fmla="*/ 718 w 718"/>
                <a:gd name="T25" fmla="*/ 367 h 4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18" h="451">
                  <a:moveTo>
                    <a:pt x="718" y="367"/>
                  </a:moveTo>
                  <a:cubicBezTo>
                    <a:pt x="718" y="425"/>
                    <a:pt x="718" y="425"/>
                    <a:pt x="718" y="425"/>
                  </a:cubicBezTo>
                  <a:cubicBezTo>
                    <a:pt x="676" y="451"/>
                    <a:pt x="676" y="451"/>
                    <a:pt x="676" y="451"/>
                  </a:cubicBezTo>
                  <a:cubicBezTo>
                    <a:pt x="43" y="451"/>
                    <a:pt x="43" y="451"/>
                    <a:pt x="43" y="451"/>
                  </a:cubicBezTo>
                  <a:cubicBezTo>
                    <a:pt x="0" y="426"/>
                    <a:pt x="0" y="426"/>
                    <a:pt x="0" y="426"/>
                  </a:cubicBezTo>
                  <a:cubicBezTo>
                    <a:pt x="0" y="367"/>
                    <a:pt x="0" y="367"/>
                    <a:pt x="0" y="367"/>
                  </a:cubicBezTo>
                  <a:cubicBezTo>
                    <a:pt x="84" y="367"/>
                    <a:pt x="84" y="367"/>
                    <a:pt x="84" y="367"/>
                  </a:cubicBezTo>
                  <a:cubicBezTo>
                    <a:pt x="84" y="35"/>
                    <a:pt x="84" y="35"/>
                    <a:pt x="84" y="35"/>
                  </a:cubicBezTo>
                  <a:cubicBezTo>
                    <a:pt x="84" y="13"/>
                    <a:pt x="101" y="0"/>
                    <a:pt x="118" y="0"/>
                  </a:cubicBezTo>
                  <a:cubicBezTo>
                    <a:pt x="601" y="0"/>
                    <a:pt x="601" y="0"/>
                    <a:pt x="601" y="0"/>
                  </a:cubicBezTo>
                  <a:cubicBezTo>
                    <a:pt x="622" y="0"/>
                    <a:pt x="635" y="18"/>
                    <a:pt x="635" y="35"/>
                  </a:cubicBezTo>
                  <a:cubicBezTo>
                    <a:pt x="635" y="367"/>
                    <a:pt x="635" y="367"/>
                    <a:pt x="635" y="367"/>
                  </a:cubicBezTo>
                  <a:lnTo>
                    <a:pt x="718" y="36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3" name="Freeform 13">
              <a:extLst>
                <a:ext uri="{FF2B5EF4-FFF2-40B4-BE49-F238E27FC236}">
                  <a16:creationId xmlns:a16="http://schemas.microsoft.com/office/drawing/2014/main" xmlns="" id="{68016CAD-AF12-4D26-8AC2-C76C6ABF2F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09" y="899"/>
              <a:ext cx="790" cy="476"/>
            </a:xfrm>
            <a:custGeom>
              <a:avLst/>
              <a:gdLst>
                <a:gd name="T0" fmla="*/ 577 w 670"/>
                <a:gd name="T1" fmla="*/ 0 h 403"/>
                <a:gd name="T2" fmla="*/ 94 w 670"/>
                <a:gd name="T3" fmla="*/ 0 h 403"/>
                <a:gd name="T4" fmla="*/ 84 w 670"/>
                <a:gd name="T5" fmla="*/ 11 h 403"/>
                <a:gd name="T6" fmla="*/ 84 w 670"/>
                <a:gd name="T7" fmla="*/ 346 h 403"/>
                <a:gd name="T8" fmla="*/ 94 w 670"/>
                <a:gd name="T9" fmla="*/ 357 h 403"/>
                <a:gd name="T10" fmla="*/ 577 w 670"/>
                <a:gd name="T11" fmla="*/ 357 h 403"/>
                <a:gd name="T12" fmla="*/ 587 w 670"/>
                <a:gd name="T13" fmla="*/ 346 h 403"/>
                <a:gd name="T14" fmla="*/ 587 w 670"/>
                <a:gd name="T15" fmla="*/ 11 h 403"/>
                <a:gd name="T16" fmla="*/ 577 w 670"/>
                <a:gd name="T17" fmla="*/ 0 h 403"/>
                <a:gd name="T18" fmla="*/ 562 w 670"/>
                <a:gd name="T19" fmla="*/ 331 h 403"/>
                <a:gd name="T20" fmla="*/ 109 w 670"/>
                <a:gd name="T21" fmla="*/ 331 h 403"/>
                <a:gd name="T22" fmla="*/ 109 w 670"/>
                <a:gd name="T23" fmla="*/ 25 h 403"/>
                <a:gd name="T24" fmla="*/ 562 w 670"/>
                <a:gd name="T25" fmla="*/ 25 h 403"/>
                <a:gd name="T26" fmla="*/ 562 w 670"/>
                <a:gd name="T27" fmla="*/ 331 h 403"/>
                <a:gd name="T28" fmla="*/ 670 w 670"/>
                <a:gd name="T29" fmla="*/ 367 h 403"/>
                <a:gd name="T30" fmla="*/ 670 w 670"/>
                <a:gd name="T31" fmla="*/ 388 h 403"/>
                <a:gd name="T32" fmla="*/ 646 w 670"/>
                <a:gd name="T33" fmla="*/ 403 h 403"/>
                <a:gd name="T34" fmla="*/ 25 w 670"/>
                <a:gd name="T35" fmla="*/ 403 h 403"/>
                <a:gd name="T36" fmla="*/ 0 w 670"/>
                <a:gd name="T37" fmla="*/ 388 h 403"/>
                <a:gd name="T38" fmla="*/ 0 w 670"/>
                <a:gd name="T39" fmla="*/ 367 h 403"/>
                <a:gd name="T40" fmla="*/ 287 w 670"/>
                <a:gd name="T41" fmla="*/ 367 h 403"/>
                <a:gd name="T42" fmla="*/ 287 w 670"/>
                <a:gd name="T43" fmla="*/ 384 h 403"/>
                <a:gd name="T44" fmla="*/ 384 w 670"/>
                <a:gd name="T45" fmla="*/ 384 h 403"/>
                <a:gd name="T46" fmla="*/ 384 w 670"/>
                <a:gd name="T47" fmla="*/ 367 h 403"/>
                <a:gd name="T48" fmla="*/ 670 w 670"/>
                <a:gd name="T49" fmla="*/ 367 h 4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670" h="403">
                  <a:moveTo>
                    <a:pt x="577" y="0"/>
                  </a:moveTo>
                  <a:cubicBezTo>
                    <a:pt x="94" y="0"/>
                    <a:pt x="94" y="0"/>
                    <a:pt x="94" y="0"/>
                  </a:cubicBezTo>
                  <a:cubicBezTo>
                    <a:pt x="94" y="0"/>
                    <a:pt x="84" y="0"/>
                    <a:pt x="84" y="11"/>
                  </a:cubicBezTo>
                  <a:cubicBezTo>
                    <a:pt x="84" y="346"/>
                    <a:pt x="84" y="346"/>
                    <a:pt x="84" y="346"/>
                  </a:cubicBezTo>
                  <a:cubicBezTo>
                    <a:pt x="84" y="346"/>
                    <a:pt x="84" y="357"/>
                    <a:pt x="94" y="357"/>
                  </a:cubicBezTo>
                  <a:cubicBezTo>
                    <a:pt x="577" y="357"/>
                    <a:pt x="577" y="357"/>
                    <a:pt x="577" y="357"/>
                  </a:cubicBezTo>
                  <a:cubicBezTo>
                    <a:pt x="577" y="357"/>
                    <a:pt x="587" y="357"/>
                    <a:pt x="587" y="346"/>
                  </a:cubicBezTo>
                  <a:cubicBezTo>
                    <a:pt x="587" y="11"/>
                    <a:pt x="587" y="11"/>
                    <a:pt x="587" y="11"/>
                  </a:cubicBezTo>
                  <a:cubicBezTo>
                    <a:pt x="587" y="11"/>
                    <a:pt x="587" y="0"/>
                    <a:pt x="577" y="0"/>
                  </a:cubicBezTo>
                  <a:close/>
                  <a:moveTo>
                    <a:pt x="562" y="331"/>
                  </a:moveTo>
                  <a:cubicBezTo>
                    <a:pt x="109" y="331"/>
                    <a:pt x="109" y="331"/>
                    <a:pt x="109" y="331"/>
                  </a:cubicBezTo>
                  <a:cubicBezTo>
                    <a:pt x="109" y="25"/>
                    <a:pt x="109" y="25"/>
                    <a:pt x="109" y="25"/>
                  </a:cubicBezTo>
                  <a:cubicBezTo>
                    <a:pt x="562" y="25"/>
                    <a:pt x="562" y="25"/>
                    <a:pt x="562" y="25"/>
                  </a:cubicBezTo>
                  <a:lnTo>
                    <a:pt x="562" y="331"/>
                  </a:lnTo>
                  <a:close/>
                  <a:moveTo>
                    <a:pt x="670" y="367"/>
                  </a:moveTo>
                  <a:cubicBezTo>
                    <a:pt x="670" y="388"/>
                    <a:pt x="670" y="388"/>
                    <a:pt x="670" y="388"/>
                  </a:cubicBezTo>
                  <a:cubicBezTo>
                    <a:pt x="646" y="403"/>
                    <a:pt x="646" y="403"/>
                    <a:pt x="646" y="403"/>
                  </a:cubicBezTo>
                  <a:cubicBezTo>
                    <a:pt x="25" y="403"/>
                    <a:pt x="25" y="403"/>
                    <a:pt x="25" y="403"/>
                  </a:cubicBezTo>
                  <a:cubicBezTo>
                    <a:pt x="0" y="388"/>
                    <a:pt x="0" y="388"/>
                    <a:pt x="0" y="388"/>
                  </a:cubicBezTo>
                  <a:cubicBezTo>
                    <a:pt x="0" y="367"/>
                    <a:pt x="0" y="367"/>
                    <a:pt x="0" y="367"/>
                  </a:cubicBezTo>
                  <a:cubicBezTo>
                    <a:pt x="287" y="367"/>
                    <a:pt x="287" y="367"/>
                    <a:pt x="287" y="367"/>
                  </a:cubicBezTo>
                  <a:cubicBezTo>
                    <a:pt x="287" y="384"/>
                    <a:pt x="287" y="384"/>
                    <a:pt x="287" y="384"/>
                  </a:cubicBezTo>
                  <a:cubicBezTo>
                    <a:pt x="384" y="384"/>
                    <a:pt x="384" y="384"/>
                    <a:pt x="384" y="384"/>
                  </a:cubicBezTo>
                  <a:cubicBezTo>
                    <a:pt x="384" y="367"/>
                    <a:pt x="384" y="367"/>
                    <a:pt x="384" y="367"/>
                  </a:cubicBezTo>
                  <a:lnTo>
                    <a:pt x="670" y="367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grpSp>
        <p:nvGrpSpPr>
          <p:cNvPr id="54" name="Group 29">
            <a:extLst>
              <a:ext uri="{FF2B5EF4-FFF2-40B4-BE49-F238E27FC236}">
                <a16:creationId xmlns:a16="http://schemas.microsoft.com/office/drawing/2014/main" xmlns="" id="{7EECFAAE-B14C-4531-8733-C3EBB39F3809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501762" y="356730"/>
            <a:ext cx="240940" cy="504601"/>
            <a:chOff x="4567" y="834"/>
            <a:chExt cx="456" cy="955"/>
          </a:xfrm>
          <a:effectLst>
            <a:outerShdw blurRad="101600" dist="76200" dir="2700000" algn="ctr" rotWithShape="0">
              <a:srgbClr val="000000">
                <a:alpha val="29000"/>
              </a:srgbClr>
            </a:outerShdw>
          </a:effectLst>
        </p:grpSpPr>
        <p:sp>
          <p:nvSpPr>
            <p:cNvPr id="55" name="AutoShape 28">
              <a:extLst>
                <a:ext uri="{FF2B5EF4-FFF2-40B4-BE49-F238E27FC236}">
                  <a16:creationId xmlns:a16="http://schemas.microsoft.com/office/drawing/2014/main" xmlns="" id="{4532A078-44B8-4A28-A257-932D125E0A11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4567" y="834"/>
              <a:ext cx="456" cy="95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6" name="Freeform 30">
              <a:extLst>
                <a:ext uri="{FF2B5EF4-FFF2-40B4-BE49-F238E27FC236}">
                  <a16:creationId xmlns:a16="http://schemas.microsoft.com/office/drawing/2014/main" xmlns="" id="{8CB53D47-C730-430C-A10B-9503CF4A7EB1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6" y="834"/>
              <a:ext cx="456" cy="954"/>
            </a:xfrm>
            <a:custGeom>
              <a:avLst/>
              <a:gdLst>
                <a:gd name="T0" fmla="*/ 375 w 375"/>
                <a:gd name="T1" fmla="*/ 45 h 785"/>
                <a:gd name="T2" fmla="*/ 375 w 375"/>
                <a:gd name="T3" fmla="*/ 740 h 785"/>
                <a:gd name="T4" fmla="*/ 331 w 375"/>
                <a:gd name="T5" fmla="*/ 785 h 785"/>
                <a:gd name="T6" fmla="*/ 44 w 375"/>
                <a:gd name="T7" fmla="*/ 785 h 785"/>
                <a:gd name="T8" fmla="*/ 0 w 375"/>
                <a:gd name="T9" fmla="*/ 740 h 785"/>
                <a:gd name="T10" fmla="*/ 0 w 375"/>
                <a:gd name="T11" fmla="*/ 45 h 785"/>
                <a:gd name="T12" fmla="*/ 44 w 375"/>
                <a:gd name="T13" fmla="*/ 0 h 785"/>
                <a:gd name="T14" fmla="*/ 331 w 375"/>
                <a:gd name="T15" fmla="*/ 0 h 785"/>
                <a:gd name="T16" fmla="*/ 375 w 375"/>
                <a:gd name="T17" fmla="*/ 45 h 7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75" h="785">
                  <a:moveTo>
                    <a:pt x="375" y="45"/>
                  </a:moveTo>
                  <a:cubicBezTo>
                    <a:pt x="375" y="740"/>
                    <a:pt x="375" y="740"/>
                    <a:pt x="375" y="740"/>
                  </a:cubicBezTo>
                  <a:cubicBezTo>
                    <a:pt x="375" y="769"/>
                    <a:pt x="352" y="785"/>
                    <a:pt x="331" y="785"/>
                  </a:cubicBezTo>
                  <a:cubicBezTo>
                    <a:pt x="44" y="785"/>
                    <a:pt x="44" y="785"/>
                    <a:pt x="44" y="785"/>
                  </a:cubicBezTo>
                  <a:cubicBezTo>
                    <a:pt x="15" y="785"/>
                    <a:pt x="0" y="762"/>
                    <a:pt x="0" y="740"/>
                  </a:cubicBezTo>
                  <a:cubicBezTo>
                    <a:pt x="0" y="45"/>
                    <a:pt x="0" y="45"/>
                    <a:pt x="0" y="45"/>
                  </a:cubicBezTo>
                  <a:cubicBezTo>
                    <a:pt x="0" y="16"/>
                    <a:pt x="23" y="0"/>
                    <a:pt x="44" y="0"/>
                  </a:cubicBezTo>
                  <a:cubicBezTo>
                    <a:pt x="331" y="0"/>
                    <a:pt x="331" y="0"/>
                    <a:pt x="331" y="0"/>
                  </a:cubicBezTo>
                  <a:cubicBezTo>
                    <a:pt x="359" y="0"/>
                    <a:pt x="375" y="23"/>
                    <a:pt x="375" y="4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7" name="Rectangle 31">
              <a:extLst>
                <a:ext uri="{FF2B5EF4-FFF2-40B4-BE49-F238E27FC236}">
                  <a16:creationId xmlns:a16="http://schemas.microsoft.com/office/drawing/2014/main" xmlns="" id="{3C3781EF-9D59-4E7F-A8BA-6DBEA45E62C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95" y="1021"/>
              <a:ext cx="398" cy="133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8" name="Freeform 32">
              <a:extLst>
                <a:ext uri="{FF2B5EF4-FFF2-40B4-BE49-F238E27FC236}">
                  <a16:creationId xmlns:a16="http://schemas.microsoft.com/office/drawing/2014/main" xmlns="" id="{E92412B0-433D-4369-A490-A4C34CECAD3C}"/>
                </a:ext>
              </a:extLst>
            </p:cNvPr>
            <p:cNvSpPr>
              <a:spLocks/>
            </p:cNvSpPr>
            <p:nvPr/>
          </p:nvSpPr>
          <p:spPr bwMode="auto">
            <a:xfrm>
              <a:off x="4595" y="862"/>
              <a:ext cx="398" cy="142"/>
            </a:xfrm>
            <a:custGeom>
              <a:avLst/>
              <a:gdLst>
                <a:gd name="T0" fmla="*/ 327 w 327"/>
                <a:gd name="T1" fmla="*/ 117 h 117"/>
                <a:gd name="T2" fmla="*/ 327 w 327"/>
                <a:gd name="T3" fmla="*/ 20 h 117"/>
                <a:gd name="T4" fmla="*/ 307 w 327"/>
                <a:gd name="T5" fmla="*/ 0 h 117"/>
                <a:gd name="T6" fmla="*/ 20 w 327"/>
                <a:gd name="T7" fmla="*/ 0 h 117"/>
                <a:gd name="T8" fmla="*/ 0 w 327"/>
                <a:gd name="T9" fmla="*/ 20 h 117"/>
                <a:gd name="T10" fmla="*/ 0 w 327"/>
                <a:gd name="T11" fmla="*/ 117 h 117"/>
                <a:gd name="T12" fmla="*/ 327 w 327"/>
                <a:gd name="T13" fmla="*/ 117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7" h="117">
                  <a:moveTo>
                    <a:pt x="327" y="117"/>
                  </a:moveTo>
                  <a:cubicBezTo>
                    <a:pt x="327" y="20"/>
                    <a:pt x="327" y="20"/>
                    <a:pt x="327" y="20"/>
                  </a:cubicBezTo>
                  <a:cubicBezTo>
                    <a:pt x="327" y="20"/>
                    <a:pt x="327" y="0"/>
                    <a:pt x="307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20" y="0"/>
                    <a:pt x="0" y="0"/>
                    <a:pt x="0" y="20"/>
                  </a:cubicBezTo>
                  <a:cubicBezTo>
                    <a:pt x="0" y="117"/>
                    <a:pt x="0" y="117"/>
                    <a:pt x="0" y="117"/>
                  </a:cubicBezTo>
                  <a:lnTo>
                    <a:pt x="327" y="117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9" name="Freeform 33">
              <a:extLst>
                <a:ext uri="{FF2B5EF4-FFF2-40B4-BE49-F238E27FC236}">
                  <a16:creationId xmlns:a16="http://schemas.microsoft.com/office/drawing/2014/main" xmlns="" id="{13F04C4D-4064-4466-9454-36D980971A3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595" y="1171"/>
              <a:ext cx="398" cy="585"/>
            </a:xfrm>
            <a:custGeom>
              <a:avLst/>
              <a:gdLst>
                <a:gd name="T0" fmla="*/ 0 w 327"/>
                <a:gd name="T1" fmla="*/ 0 h 482"/>
                <a:gd name="T2" fmla="*/ 0 w 327"/>
                <a:gd name="T3" fmla="*/ 462 h 482"/>
                <a:gd name="T4" fmla="*/ 20 w 327"/>
                <a:gd name="T5" fmla="*/ 482 h 482"/>
                <a:gd name="T6" fmla="*/ 307 w 327"/>
                <a:gd name="T7" fmla="*/ 482 h 482"/>
                <a:gd name="T8" fmla="*/ 327 w 327"/>
                <a:gd name="T9" fmla="*/ 462 h 482"/>
                <a:gd name="T10" fmla="*/ 327 w 327"/>
                <a:gd name="T11" fmla="*/ 0 h 482"/>
                <a:gd name="T12" fmla="*/ 0 w 327"/>
                <a:gd name="T13" fmla="*/ 0 h 482"/>
                <a:gd name="T14" fmla="*/ 163 w 327"/>
                <a:gd name="T15" fmla="*/ 405 h 482"/>
                <a:gd name="T16" fmla="*/ 141 w 327"/>
                <a:gd name="T17" fmla="*/ 382 h 482"/>
                <a:gd name="T18" fmla="*/ 163 w 327"/>
                <a:gd name="T19" fmla="*/ 360 h 482"/>
                <a:gd name="T20" fmla="*/ 186 w 327"/>
                <a:gd name="T21" fmla="*/ 382 h 482"/>
                <a:gd name="T22" fmla="*/ 163 w 327"/>
                <a:gd name="T23" fmla="*/ 405 h 4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27" h="482">
                  <a:moveTo>
                    <a:pt x="0" y="0"/>
                  </a:moveTo>
                  <a:cubicBezTo>
                    <a:pt x="0" y="462"/>
                    <a:pt x="0" y="462"/>
                    <a:pt x="0" y="462"/>
                  </a:cubicBezTo>
                  <a:cubicBezTo>
                    <a:pt x="0" y="462"/>
                    <a:pt x="0" y="482"/>
                    <a:pt x="20" y="482"/>
                  </a:cubicBezTo>
                  <a:cubicBezTo>
                    <a:pt x="307" y="482"/>
                    <a:pt x="307" y="482"/>
                    <a:pt x="307" y="482"/>
                  </a:cubicBezTo>
                  <a:cubicBezTo>
                    <a:pt x="307" y="482"/>
                    <a:pt x="327" y="482"/>
                    <a:pt x="327" y="462"/>
                  </a:cubicBezTo>
                  <a:cubicBezTo>
                    <a:pt x="327" y="0"/>
                    <a:pt x="327" y="0"/>
                    <a:pt x="327" y="0"/>
                  </a:cubicBezTo>
                  <a:lnTo>
                    <a:pt x="0" y="0"/>
                  </a:lnTo>
                  <a:close/>
                  <a:moveTo>
                    <a:pt x="163" y="405"/>
                  </a:moveTo>
                  <a:cubicBezTo>
                    <a:pt x="151" y="405"/>
                    <a:pt x="141" y="395"/>
                    <a:pt x="141" y="382"/>
                  </a:cubicBezTo>
                  <a:cubicBezTo>
                    <a:pt x="141" y="370"/>
                    <a:pt x="151" y="360"/>
                    <a:pt x="163" y="360"/>
                  </a:cubicBezTo>
                  <a:cubicBezTo>
                    <a:pt x="176" y="360"/>
                    <a:pt x="186" y="370"/>
                    <a:pt x="186" y="382"/>
                  </a:cubicBezTo>
                  <a:cubicBezTo>
                    <a:pt x="186" y="395"/>
                    <a:pt x="176" y="405"/>
                    <a:pt x="163" y="405"/>
                  </a:cubicBez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grpSp>
        <p:nvGrpSpPr>
          <p:cNvPr id="60" name="Group 113">
            <a:extLst>
              <a:ext uri="{FF2B5EF4-FFF2-40B4-BE49-F238E27FC236}">
                <a16:creationId xmlns:a16="http://schemas.microsoft.com/office/drawing/2014/main" xmlns="" id="{338271AF-1B0D-4314-A545-4C92AF877462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075685" y="1131877"/>
            <a:ext cx="175362" cy="317516"/>
            <a:chOff x="1990" y="1951"/>
            <a:chExt cx="301" cy="545"/>
          </a:xfrm>
          <a:effectLst>
            <a:outerShdw blurRad="101600" dist="76200" dir="2700000" algn="ctr" rotWithShape="0">
              <a:srgbClr val="000000">
                <a:alpha val="29000"/>
              </a:srgbClr>
            </a:outerShdw>
          </a:effectLst>
        </p:grpSpPr>
        <p:sp>
          <p:nvSpPr>
            <p:cNvPr id="61" name="AutoShape 112">
              <a:extLst>
                <a:ext uri="{FF2B5EF4-FFF2-40B4-BE49-F238E27FC236}">
                  <a16:creationId xmlns:a16="http://schemas.microsoft.com/office/drawing/2014/main" xmlns="" id="{D57CC129-A099-4553-8A81-06CC058749E5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990" y="1951"/>
              <a:ext cx="301" cy="54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2" name="Freeform 114">
              <a:extLst>
                <a:ext uri="{FF2B5EF4-FFF2-40B4-BE49-F238E27FC236}">
                  <a16:creationId xmlns:a16="http://schemas.microsoft.com/office/drawing/2014/main" xmlns="" id="{606563F6-9273-4789-9272-2BC60F45B94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91" y="1952"/>
              <a:ext cx="301" cy="544"/>
            </a:xfrm>
            <a:custGeom>
              <a:avLst/>
              <a:gdLst>
                <a:gd name="T0" fmla="*/ 291 w 291"/>
                <a:gd name="T1" fmla="*/ 65 h 524"/>
                <a:gd name="T2" fmla="*/ 291 w 291"/>
                <a:gd name="T3" fmla="*/ 460 h 524"/>
                <a:gd name="T4" fmla="*/ 226 w 291"/>
                <a:gd name="T5" fmla="*/ 524 h 524"/>
                <a:gd name="T6" fmla="*/ 64 w 291"/>
                <a:gd name="T7" fmla="*/ 524 h 524"/>
                <a:gd name="T8" fmla="*/ 0 w 291"/>
                <a:gd name="T9" fmla="*/ 460 h 524"/>
                <a:gd name="T10" fmla="*/ 0 w 291"/>
                <a:gd name="T11" fmla="*/ 65 h 524"/>
                <a:gd name="T12" fmla="*/ 64 w 291"/>
                <a:gd name="T13" fmla="*/ 0 h 524"/>
                <a:gd name="T14" fmla="*/ 226 w 291"/>
                <a:gd name="T15" fmla="*/ 0 h 524"/>
                <a:gd name="T16" fmla="*/ 291 w 291"/>
                <a:gd name="T17" fmla="*/ 65 h 5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91" h="524">
                  <a:moveTo>
                    <a:pt x="291" y="65"/>
                  </a:moveTo>
                  <a:cubicBezTo>
                    <a:pt x="291" y="460"/>
                    <a:pt x="291" y="460"/>
                    <a:pt x="291" y="460"/>
                  </a:cubicBezTo>
                  <a:cubicBezTo>
                    <a:pt x="291" y="496"/>
                    <a:pt x="262" y="524"/>
                    <a:pt x="226" y="524"/>
                  </a:cubicBezTo>
                  <a:cubicBezTo>
                    <a:pt x="64" y="524"/>
                    <a:pt x="64" y="524"/>
                    <a:pt x="64" y="524"/>
                  </a:cubicBezTo>
                  <a:cubicBezTo>
                    <a:pt x="29" y="524"/>
                    <a:pt x="0" y="496"/>
                    <a:pt x="0" y="460"/>
                  </a:cubicBezTo>
                  <a:cubicBezTo>
                    <a:pt x="0" y="65"/>
                    <a:pt x="0" y="65"/>
                    <a:pt x="0" y="65"/>
                  </a:cubicBezTo>
                  <a:cubicBezTo>
                    <a:pt x="0" y="29"/>
                    <a:pt x="29" y="0"/>
                    <a:pt x="64" y="0"/>
                  </a:cubicBezTo>
                  <a:cubicBezTo>
                    <a:pt x="226" y="0"/>
                    <a:pt x="226" y="0"/>
                    <a:pt x="226" y="0"/>
                  </a:cubicBezTo>
                  <a:cubicBezTo>
                    <a:pt x="262" y="0"/>
                    <a:pt x="291" y="29"/>
                    <a:pt x="291" y="6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63" name="Freeform 115">
              <a:extLst>
                <a:ext uri="{FF2B5EF4-FFF2-40B4-BE49-F238E27FC236}">
                  <a16:creationId xmlns:a16="http://schemas.microsoft.com/office/drawing/2014/main" xmlns="" id="{6C662152-D273-4C34-9BFA-56B59AD4D37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16" y="1977"/>
              <a:ext cx="251" cy="494"/>
            </a:xfrm>
            <a:custGeom>
              <a:avLst/>
              <a:gdLst>
                <a:gd name="T0" fmla="*/ 202 w 243"/>
                <a:gd name="T1" fmla="*/ 0 h 476"/>
                <a:gd name="T2" fmla="*/ 40 w 243"/>
                <a:gd name="T3" fmla="*/ 0 h 476"/>
                <a:gd name="T4" fmla="*/ 0 w 243"/>
                <a:gd name="T5" fmla="*/ 41 h 476"/>
                <a:gd name="T6" fmla="*/ 0 w 243"/>
                <a:gd name="T7" fmla="*/ 436 h 476"/>
                <a:gd name="T8" fmla="*/ 40 w 243"/>
                <a:gd name="T9" fmla="*/ 476 h 476"/>
                <a:gd name="T10" fmla="*/ 202 w 243"/>
                <a:gd name="T11" fmla="*/ 476 h 476"/>
                <a:gd name="T12" fmla="*/ 243 w 243"/>
                <a:gd name="T13" fmla="*/ 436 h 476"/>
                <a:gd name="T14" fmla="*/ 243 w 243"/>
                <a:gd name="T15" fmla="*/ 41 h 476"/>
                <a:gd name="T16" fmla="*/ 202 w 243"/>
                <a:gd name="T17" fmla="*/ 0 h 476"/>
                <a:gd name="T18" fmla="*/ 94 w 243"/>
                <a:gd name="T19" fmla="*/ 29 h 476"/>
                <a:gd name="T20" fmla="*/ 148 w 243"/>
                <a:gd name="T21" fmla="*/ 29 h 476"/>
                <a:gd name="T22" fmla="*/ 148 w 243"/>
                <a:gd name="T23" fmla="*/ 37 h 476"/>
                <a:gd name="T24" fmla="*/ 94 w 243"/>
                <a:gd name="T25" fmla="*/ 37 h 476"/>
                <a:gd name="T26" fmla="*/ 94 w 243"/>
                <a:gd name="T27" fmla="*/ 29 h 476"/>
                <a:gd name="T28" fmla="*/ 121 w 243"/>
                <a:gd name="T29" fmla="*/ 456 h 476"/>
                <a:gd name="T30" fmla="*/ 104 w 243"/>
                <a:gd name="T31" fmla="*/ 439 h 476"/>
                <a:gd name="T32" fmla="*/ 121 w 243"/>
                <a:gd name="T33" fmla="*/ 422 h 476"/>
                <a:gd name="T34" fmla="*/ 138 w 243"/>
                <a:gd name="T35" fmla="*/ 439 h 476"/>
                <a:gd name="T36" fmla="*/ 121 w 243"/>
                <a:gd name="T37" fmla="*/ 456 h 476"/>
                <a:gd name="T38" fmla="*/ 228 w 243"/>
                <a:gd name="T39" fmla="*/ 403 h 476"/>
                <a:gd name="T40" fmla="*/ 15 w 243"/>
                <a:gd name="T41" fmla="*/ 403 h 476"/>
                <a:gd name="T42" fmla="*/ 15 w 243"/>
                <a:gd name="T43" fmla="*/ 64 h 476"/>
                <a:gd name="T44" fmla="*/ 228 w 243"/>
                <a:gd name="T45" fmla="*/ 64 h 476"/>
                <a:gd name="T46" fmla="*/ 228 w 243"/>
                <a:gd name="T47" fmla="*/ 403 h 4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476">
                  <a:moveTo>
                    <a:pt x="202" y="0"/>
                  </a:moveTo>
                  <a:cubicBezTo>
                    <a:pt x="40" y="0"/>
                    <a:pt x="40" y="0"/>
                    <a:pt x="40" y="0"/>
                  </a:cubicBezTo>
                  <a:cubicBezTo>
                    <a:pt x="18" y="0"/>
                    <a:pt x="0" y="18"/>
                    <a:pt x="0" y="41"/>
                  </a:cubicBezTo>
                  <a:cubicBezTo>
                    <a:pt x="0" y="436"/>
                    <a:pt x="0" y="436"/>
                    <a:pt x="0" y="436"/>
                  </a:cubicBezTo>
                  <a:cubicBezTo>
                    <a:pt x="0" y="458"/>
                    <a:pt x="18" y="476"/>
                    <a:pt x="40" y="476"/>
                  </a:cubicBezTo>
                  <a:cubicBezTo>
                    <a:pt x="202" y="476"/>
                    <a:pt x="202" y="476"/>
                    <a:pt x="202" y="476"/>
                  </a:cubicBezTo>
                  <a:cubicBezTo>
                    <a:pt x="225" y="476"/>
                    <a:pt x="243" y="458"/>
                    <a:pt x="243" y="436"/>
                  </a:cubicBezTo>
                  <a:cubicBezTo>
                    <a:pt x="243" y="41"/>
                    <a:pt x="243" y="41"/>
                    <a:pt x="243" y="41"/>
                  </a:cubicBezTo>
                  <a:cubicBezTo>
                    <a:pt x="243" y="18"/>
                    <a:pt x="225" y="0"/>
                    <a:pt x="202" y="0"/>
                  </a:cubicBezTo>
                  <a:close/>
                  <a:moveTo>
                    <a:pt x="94" y="29"/>
                  </a:moveTo>
                  <a:cubicBezTo>
                    <a:pt x="148" y="29"/>
                    <a:pt x="148" y="29"/>
                    <a:pt x="148" y="29"/>
                  </a:cubicBezTo>
                  <a:cubicBezTo>
                    <a:pt x="148" y="37"/>
                    <a:pt x="148" y="37"/>
                    <a:pt x="148" y="37"/>
                  </a:cubicBezTo>
                  <a:cubicBezTo>
                    <a:pt x="94" y="37"/>
                    <a:pt x="94" y="37"/>
                    <a:pt x="94" y="37"/>
                  </a:cubicBezTo>
                  <a:lnTo>
                    <a:pt x="94" y="29"/>
                  </a:lnTo>
                  <a:close/>
                  <a:moveTo>
                    <a:pt x="121" y="456"/>
                  </a:moveTo>
                  <a:cubicBezTo>
                    <a:pt x="112" y="456"/>
                    <a:pt x="104" y="448"/>
                    <a:pt x="104" y="439"/>
                  </a:cubicBezTo>
                  <a:cubicBezTo>
                    <a:pt x="104" y="429"/>
                    <a:pt x="112" y="422"/>
                    <a:pt x="121" y="422"/>
                  </a:cubicBezTo>
                  <a:cubicBezTo>
                    <a:pt x="131" y="422"/>
                    <a:pt x="138" y="429"/>
                    <a:pt x="138" y="439"/>
                  </a:cubicBezTo>
                  <a:cubicBezTo>
                    <a:pt x="138" y="448"/>
                    <a:pt x="131" y="456"/>
                    <a:pt x="121" y="456"/>
                  </a:cubicBezTo>
                  <a:close/>
                  <a:moveTo>
                    <a:pt x="228" y="403"/>
                  </a:moveTo>
                  <a:cubicBezTo>
                    <a:pt x="15" y="403"/>
                    <a:pt x="15" y="403"/>
                    <a:pt x="15" y="403"/>
                  </a:cubicBezTo>
                  <a:cubicBezTo>
                    <a:pt x="15" y="64"/>
                    <a:pt x="15" y="64"/>
                    <a:pt x="15" y="64"/>
                  </a:cubicBezTo>
                  <a:cubicBezTo>
                    <a:pt x="228" y="64"/>
                    <a:pt x="228" y="64"/>
                    <a:pt x="228" y="64"/>
                  </a:cubicBezTo>
                  <a:lnTo>
                    <a:pt x="228" y="403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grpSp>
        <p:nvGrpSpPr>
          <p:cNvPr id="64" name="Group 119">
            <a:extLst>
              <a:ext uri="{FF2B5EF4-FFF2-40B4-BE49-F238E27FC236}">
                <a16:creationId xmlns:a16="http://schemas.microsoft.com/office/drawing/2014/main" xmlns="" id="{B92C9669-7A91-4D9D-9BFA-0D72CB710796}"/>
              </a:ext>
            </a:extLst>
          </p:cNvPr>
          <p:cNvGrpSpPr>
            <a:grpSpLocks noChangeAspect="1"/>
          </p:cNvGrpSpPr>
          <p:nvPr/>
        </p:nvGrpSpPr>
        <p:grpSpPr bwMode="auto">
          <a:xfrm rot="5400000">
            <a:off x="287996" y="1029861"/>
            <a:ext cx="506752" cy="366862"/>
            <a:chOff x="2139" y="2299"/>
            <a:chExt cx="547" cy="396"/>
          </a:xfrm>
          <a:effectLst>
            <a:outerShdw blurRad="101600" dist="76200" dir="2700000" algn="ctr" rotWithShape="0">
              <a:srgbClr val="000000">
                <a:alpha val="29000"/>
              </a:srgbClr>
            </a:outerShdw>
          </a:effectLst>
        </p:grpSpPr>
        <p:sp>
          <p:nvSpPr>
            <p:cNvPr id="65" name="AutoShape 118">
              <a:extLst>
                <a:ext uri="{FF2B5EF4-FFF2-40B4-BE49-F238E27FC236}">
                  <a16:creationId xmlns:a16="http://schemas.microsoft.com/office/drawing/2014/main" xmlns="" id="{2E5E55DF-052D-4B4D-AAE6-6015886051B4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139" y="2299"/>
              <a:ext cx="547" cy="39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6" name="Freeform 120">
              <a:extLst>
                <a:ext uri="{FF2B5EF4-FFF2-40B4-BE49-F238E27FC236}">
                  <a16:creationId xmlns:a16="http://schemas.microsoft.com/office/drawing/2014/main" xmlns="" id="{E5A17345-F9D2-4AA0-8025-9B5734B61BBC}"/>
                </a:ext>
              </a:extLst>
            </p:cNvPr>
            <p:cNvSpPr>
              <a:spLocks/>
            </p:cNvSpPr>
            <p:nvPr/>
          </p:nvSpPr>
          <p:spPr bwMode="auto">
            <a:xfrm>
              <a:off x="2138" y="2300"/>
              <a:ext cx="547" cy="395"/>
            </a:xfrm>
            <a:custGeom>
              <a:avLst/>
              <a:gdLst>
                <a:gd name="T0" fmla="*/ 627 w 627"/>
                <a:gd name="T1" fmla="*/ 46 h 452"/>
                <a:gd name="T2" fmla="*/ 627 w 627"/>
                <a:gd name="T3" fmla="*/ 406 h 452"/>
                <a:gd name="T4" fmla="*/ 580 w 627"/>
                <a:gd name="T5" fmla="*/ 452 h 452"/>
                <a:gd name="T6" fmla="*/ 47 w 627"/>
                <a:gd name="T7" fmla="*/ 452 h 452"/>
                <a:gd name="T8" fmla="*/ 0 w 627"/>
                <a:gd name="T9" fmla="*/ 406 h 452"/>
                <a:gd name="T10" fmla="*/ 0 w 627"/>
                <a:gd name="T11" fmla="*/ 46 h 452"/>
                <a:gd name="T12" fmla="*/ 47 w 627"/>
                <a:gd name="T13" fmla="*/ 0 h 452"/>
                <a:gd name="T14" fmla="*/ 580 w 627"/>
                <a:gd name="T15" fmla="*/ 0 h 452"/>
                <a:gd name="T16" fmla="*/ 627 w 627"/>
                <a:gd name="T17" fmla="*/ 46 h 4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27" h="452">
                  <a:moveTo>
                    <a:pt x="627" y="46"/>
                  </a:moveTo>
                  <a:cubicBezTo>
                    <a:pt x="627" y="406"/>
                    <a:pt x="627" y="406"/>
                    <a:pt x="627" y="406"/>
                  </a:cubicBezTo>
                  <a:cubicBezTo>
                    <a:pt x="627" y="431"/>
                    <a:pt x="606" y="452"/>
                    <a:pt x="580" y="452"/>
                  </a:cubicBezTo>
                  <a:cubicBezTo>
                    <a:pt x="47" y="452"/>
                    <a:pt x="47" y="452"/>
                    <a:pt x="47" y="452"/>
                  </a:cubicBezTo>
                  <a:cubicBezTo>
                    <a:pt x="21" y="452"/>
                    <a:pt x="0" y="431"/>
                    <a:pt x="0" y="406"/>
                  </a:cubicBezTo>
                  <a:cubicBezTo>
                    <a:pt x="0" y="46"/>
                    <a:pt x="0" y="46"/>
                    <a:pt x="0" y="46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580" y="0"/>
                    <a:pt x="580" y="0"/>
                    <a:pt x="580" y="0"/>
                  </a:cubicBezTo>
                  <a:cubicBezTo>
                    <a:pt x="606" y="0"/>
                    <a:pt x="627" y="20"/>
                    <a:pt x="627" y="4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7" name="Freeform 121">
              <a:extLst>
                <a:ext uri="{FF2B5EF4-FFF2-40B4-BE49-F238E27FC236}">
                  <a16:creationId xmlns:a16="http://schemas.microsoft.com/office/drawing/2014/main" xmlns="" id="{343A2A05-03D3-4A58-B8E1-50D080F5D55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59" y="2321"/>
              <a:ext cx="505" cy="353"/>
            </a:xfrm>
            <a:custGeom>
              <a:avLst/>
              <a:gdLst>
                <a:gd name="T0" fmla="*/ 556 w 579"/>
                <a:gd name="T1" fmla="*/ 0 h 404"/>
                <a:gd name="T2" fmla="*/ 23 w 579"/>
                <a:gd name="T3" fmla="*/ 0 h 404"/>
                <a:gd name="T4" fmla="*/ 0 w 579"/>
                <a:gd name="T5" fmla="*/ 22 h 404"/>
                <a:gd name="T6" fmla="*/ 0 w 579"/>
                <a:gd name="T7" fmla="*/ 382 h 404"/>
                <a:gd name="T8" fmla="*/ 23 w 579"/>
                <a:gd name="T9" fmla="*/ 404 h 404"/>
                <a:gd name="T10" fmla="*/ 556 w 579"/>
                <a:gd name="T11" fmla="*/ 404 h 404"/>
                <a:gd name="T12" fmla="*/ 579 w 579"/>
                <a:gd name="T13" fmla="*/ 382 h 404"/>
                <a:gd name="T14" fmla="*/ 579 w 579"/>
                <a:gd name="T15" fmla="*/ 22 h 404"/>
                <a:gd name="T16" fmla="*/ 556 w 579"/>
                <a:gd name="T17" fmla="*/ 0 h 404"/>
                <a:gd name="T18" fmla="*/ 27 w 579"/>
                <a:gd name="T19" fmla="*/ 208 h 404"/>
                <a:gd name="T20" fmla="*/ 21 w 579"/>
                <a:gd name="T21" fmla="*/ 202 h 404"/>
                <a:gd name="T22" fmla="*/ 27 w 579"/>
                <a:gd name="T23" fmla="*/ 196 h 404"/>
                <a:gd name="T24" fmla="*/ 32 w 579"/>
                <a:gd name="T25" fmla="*/ 202 h 404"/>
                <a:gd name="T26" fmla="*/ 27 w 579"/>
                <a:gd name="T27" fmla="*/ 208 h 404"/>
                <a:gd name="T28" fmla="*/ 527 w 579"/>
                <a:gd name="T29" fmla="*/ 378 h 404"/>
                <a:gd name="T30" fmla="*/ 52 w 579"/>
                <a:gd name="T31" fmla="*/ 378 h 404"/>
                <a:gd name="T32" fmla="*/ 52 w 579"/>
                <a:gd name="T33" fmla="*/ 26 h 404"/>
                <a:gd name="T34" fmla="*/ 527 w 579"/>
                <a:gd name="T35" fmla="*/ 26 h 404"/>
                <a:gd name="T36" fmla="*/ 527 w 579"/>
                <a:gd name="T37" fmla="*/ 378 h 404"/>
                <a:gd name="T38" fmla="*/ 553 w 579"/>
                <a:gd name="T39" fmla="*/ 216 h 404"/>
                <a:gd name="T40" fmla="*/ 539 w 579"/>
                <a:gd name="T41" fmla="*/ 202 h 404"/>
                <a:gd name="T42" fmla="*/ 553 w 579"/>
                <a:gd name="T43" fmla="*/ 188 h 404"/>
                <a:gd name="T44" fmla="*/ 567 w 579"/>
                <a:gd name="T45" fmla="*/ 202 h 404"/>
                <a:gd name="T46" fmla="*/ 553 w 579"/>
                <a:gd name="T47" fmla="*/ 216 h 4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579" h="404">
                  <a:moveTo>
                    <a:pt x="556" y="0"/>
                  </a:moveTo>
                  <a:cubicBezTo>
                    <a:pt x="23" y="0"/>
                    <a:pt x="23" y="0"/>
                    <a:pt x="23" y="0"/>
                  </a:cubicBezTo>
                  <a:cubicBezTo>
                    <a:pt x="11" y="0"/>
                    <a:pt x="0" y="10"/>
                    <a:pt x="0" y="22"/>
                  </a:cubicBezTo>
                  <a:cubicBezTo>
                    <a:pt x="0" y="382"/>
                    <a:pt x="0" y="382"/>
                    <a:pt x="0" y="382"/>
                  </a:cubicBezTo>
                  <a:cubicBezTo>
                    <a:pt x="0" y="394"/>
                    <a:pt x="11" y="404"/>
                    <a:pt x="23" y="404"/>
                  </a:cubicBezTo>
                  <a:cubicBezTo>
                    <a:pt x="556" y="404"/>
                    <a:pt x="556" y="404"/>
                    <a:pt x="556" y="404"/>
                  </a:cubicBezTo>
                  <a:cubicBezTo>
                    <a:pt x="568" y="404"/>
                    <a:pt x="579" y="394"/>
                    <a:pt x="579" y="382"/>
                  </a:cubicBezTo>
                  <a:cubicBezTo>
                    <a:pt x="579" y="22"/>
                    <a:pt x="579" y="22"/>
                    <a:pt x="579" y="22"/>
                  </a:cubicBezTo>
                  <a:cubicBezTo>
                    <a:pt x="579" y="10"/>
                    <a:pt x="568" y="0"/>
                    <a:pt x="556" y="0"/>
                  </a:cubicBezTo>
                  <a:close/>
                  <a:moveTo>
                    <a:pt x="27" y="208"/>
                  </a:moveTo>
                  <a:cubicBezTo>
                    <a:pt x="23" y="208"/>
                    <a:pt x="21" y="205"/>
                    <a:pt x="21" y="202"/>
                  </a:cubicBezTo>
                  <a:cubicBezTo>
                    <a:pt x="21" y="199"/>
                    <a:pt x="23" y="196"/>
                    <a:pt x="27" y="196"/>
                  </a:cubicBezTo>
                  <a:cubicBezTo>
                    <a:pt x="30" y="196"/>
                    <a:pt x="32" y="199"/>
                    <a:pt x="32" y="202"/>
                  </a:cubicBezTo>
                  <a:cubicBezTo>
                    <a:pt x="32" y="205"/>
                    <a:pt x="30" y="208"/>
                    <a:pt x="27" y="208"/>
                  </a:cubicBezTo>
                  <a:close/>
                  <a:moveTo>
                    <a:pt x="527" y="378"/>
                  </a:moveTo>
                  <a:cubicBezTo>
                    <a:pt x="52" y="378"/>
                    <a:pt x="52" y="378"/>
                    <a:pt x="52" y="378"/>
                  </a:cubicBezTo>
                  <a:cubicBezTo>
                    <a:pt x="52" y="26"/>
                    <a:pt x="52" y="26"/>
                    <a:pt x="52" y="26"/>
                  </a:cubicBezTo>
                  <a:cubicBezTo>
                    <a:pt x="527" y="26"/>
                    <a:pt x="527" y="26"/>
                    <a:pt x="527" y="26"/>
                  </a:cubicBezTo>
                  <a:lnTo>
                    <a:pt x="527" y="378"/>
                  </a:lnTo>
                  <a:close/>
                  <a:moveTo>
                    <a:pt x="553" y="216"/>
                  </a:moveTo>
                  <a:cubicBezTo>
                    <a:pt x="545" y="216"/>
                    <a:pt x="539" y="210"/>
                    <a:pt x="539" y="202"/>
                  </a:cubicBezTo>
                  <a:cubicBezTo>
                    <a:pt x="539" y="194"/>
                    <a:pt x="545" y="188"/>
                    <a:pt x="553" y="188"/>
                  </a:cubicBezTo>
                  <a:cubicBezTo>
                    <a:pt x="561" y="188"/>
                    <a:pt x="567" y="194"/>
                    <a:pt x="567" y="202"/>
                  </a:cubicBezTo>
                  <a:cubicBezTo>
                    <a:pt x="567" y="210"/>
                    <a:pt x="561" y="216"/>
                    <a:pt x="553" y="216"/>
                  </a:cubicBez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grpSp>
        <p:nvGrpSpPr>
          <p:cNvPr id="68" name="Group 5">
            <a:extLst>
              <a:ext uri="{FF2B5EF4-FFF2-40B4-BE49-F238E27FC236}">
                <a16:creationId xmlns:a16="http://schemas.microsoft.com/office/drawing/2014/main" xmlns="" id="{3917EED2-8DC4-4392-BE2D-AFC6CBB76918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465936" y="2755542"/>
            <a:ext cx="373263" cy="460483"/>
            <a:chOff x="2306" y="2377"/>
            <a:chExt cx="398" cy="491"/>
          </a:xfrm>
          <a:effectLst>
            <a:outerShdw blurRad="101600" dist="76200" dir="2700000" algn="ctr" rotWithShape="0">
              <a:srgbClr val="000000">
                <a:alpha val="29000"/>
              </a:srgbClr>
            </a:outerShdw>
          </a:effectLst>
        </p:grpSpPr>
        <p:sp>
          <p:nvSpPr>
            <p:cNvPr id="69" name="AutoShape 4">
              <a:extLst>
                <a:ext uri="{FF2B5EF4-FFF2-40B4-BE49-F238E27FC236}">
                  <a16:creationId xmlns:a16="http://schemas.microsoft.com/office/drawing/2014/main" xmlns="" id="{88EA5906-6197-45B8-BBBB-CE6C9CD7CD27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306" y="2377"/>
              <a:ext cx="398" cy="4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0" name="Freeform 6">
              <a:extLst>
                <a:ext uri="{FF2B5EF4-FFF2-40B4-BE49-F238E27FC236}">
                  <a16:creationId xmlns:a16="http://schemas.microsoft.com/office/drawing/2014/main" xmlns="" id="{CECC302C-EA80-4838-AC94-DFC7712D5551}"/>
                </a:ext>
              </a:extLst>
            </p:cNvPr>
            <p:cNvSpPr>
              <a:spLocks/>
            </p:cNvSpPr>
            <p:nvPr/>
          </p:nvSpPr>
          <p:spPr bwMode="auto">
            <a:xfrm>
              <a:off x="2307" y="2376"/>
              <a:ext cx="397" cy="492"/>
            </a:xfrm>
            <a:custGeom>
              <a:avLst/>
              <a:gdLst>
                <a:gd name="T0" fmla="*/ 485 w 485"/>
                <a:gd name="T1" fmla="*/ 106 h 601"/>
                <a:gd name="T2" fmla="*/ 443 w 485"/>
                <a:gd name="T3" fmla="*/ 35 h 601"/>
                <a:gd name="T4" fmla="*/ 246 w 485"/>
                <a:gd name="T5" fmla="*/ 0 h 601"/>
                <a:gd name="T6" fmla="*/ 41 w 485"/>
                <a:gd name="T7" fmla="*/ 35 h 601"/>
                <a:gd name="T8" fmla="*/ 40 w 485"/>
                <a:gd name="T9" fmla="*/ 36 h 601"/>
                <a:gd name="T10" fmla="*/ 0 w 485"/>
                <a:gd name="T11" fmla="*/ 104 h 601"/>
                <a:gd name="T12" fmla="*/ 0 w 485"/>
                <a:gd name="T13" fmla="*/ 493 h 601"/>
                <a:gd name="T14" fmla="*/ 42 w 485"/>
                <a:gd name="T15" fmla="*/ 563 h 601"/>
                <a:gd name="T16" fmla="*/ 235 w 485"/>
                <a:gd name="T17" fmla="*/ 601 h 601"/>
                <a:gd name="T18" fmla="*/ 448 w 485"/>
                <a:gd name="T19" fmla="*/ 560 h 601"/>
                <a:gd name="T20" fmla="*/ 485 w 485"/>
                <a:gd name="T21" fmla="*/ 495 h 601"/>
                <a:gd name="T22" fmla="*/ 485 w 485"/>
                <a:gd name="T23" fmla="*/ 106 h 6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85" h="601">
                  <a:moveTo>
                    <a:pt x="485" y="106"/>
                  </a:moveTo>
                  <a:cubicBezTo>
                    <a:pt x="485" y="70"/>
                    <a:pt x="470" y="46"/>
                    <a:pt x="443" y="35"/>
                  </a:cubicBezTo>
                  <a:cubicBezTo>
                    <a:pt x="381" y="12"/>
                    <a:pt x="315" y="0"/>
                    <a:pt x="246" y="0"/>
                  </a:cubicBezTo>
                  <a:cubicBezTo>
                    <a:pt x="129" y="0"/>
                    <a:pt x="42" y="35"/>
                    <a:pt x="41" y="35"/>
                  </a:cubicBezTo>
                  <a:cubicBezTo>
                    <a:pt x="40" y="36"/>
                    <a:pt x="40" y="36"/>
                    <a:pt x="40" y="36"/>
                  </a:cubicBezTo>
                  <a:cubicBezTo>
                    <a:pt x="13" y="50"/>
                    <a:pt x="0" y="81"/>
                    <a:pt x="0" y="104"/>
                  </a:cubicBezTo>
                  <a:cubicBezTo>
                    <a:pt x="1" y="236"/>
                    <a:pt x="1" y="365"/>
                    <a:pt x="0" y="493"/>
                  </a:cubicBezTo>
                  <a:cubicBezTo>
                    <a:pt x="0" y="527"/>
                    <a:pt x="14" y="552"/>
                    <a:pt x="42" y="563"/>
                  </a:cubicBezTo>
                  <a:cubicBezTo>
                    <a:pt x="102" y="588"/>
                    <a:pt x="167" y="601"/>
                    <a:pt x="235" y="601"/>
                  </a:cubicBezTo>
                  <a:cubicBezTo>
                    <a:pt x="356" y="601"/>
                    <a:pt x="447" y="560"/>
                    <a:pt x="448" y="560"/>
                  </a:cubicBezTo>
                  <a:cubicBezTo>
                    <a:pt x="472" y="548"/>
                    <a:pt x="485" y="526"/>
                    <a:pt x="485" y="495"/>
                  </a:cubicBezTo>
                  <a:cubicBezTo>
                    <a:pt x="484" y="350"/>
                    <a:pt x="484" y="223"/>
                    <a:pt x="485" y="10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1" name="Freeform 7">
              <a:extLst>
                <a:ext uri="{FF2B5EF4-FFF2-40B4-BE49-F238E27FC236}">
                  <a16:creationId xmlns:a16="http://schemas.microsoft.com/office/drawing/2014/main" xmlns="" id="{E0EB677F-15B6-4FB3-B184-BDFE22C836E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32" y="2412"/>
              <a:ext cx="345" cy="421"/>
            </a:xfrm>
            <a:custGeom>
              <a:avLst/>
              <a:gdLst>
                <a:gd name="T0" fmla="*/ 3 w 421"/>
                <a:gd name="T1" fmla="*/ 151 h 514"/>
                <a:gd name="T2" fmla="*/ 16 w 421"/>
                <a:gd name="T3" fmla="*/ 107 h 514"/>
                <a:gd name="T4" fmla="*/ 407 w 421"/>
                <a:gd name="T5" fmla="*/ 107 h 514"/>
                <a:gd name="T6" fmla="*/ 419 w 421"/>
                <a:gd name="T7" fmla="*/ 116 h 514"/>
                <a:gd name="T8" fmla="*/ 419 w 421"/>
                <a:gd name="T9" fmla="*/ 130 h 514"/>
                <a:gd name="T10" fmla="*/ 418 w 421"/>
                <a:gd name="T11" fmla="*/ 189 h 514"/>
                <a:gd name="T12" fmla="*/ 381 w 421"/>
                <a:gd name="T13" fmla="*/ 212 h 514"/>
                <a:gd name="T14" fmla="*/ 297 w 421"/>
                <a:gd name="T15" fmla="*/ 232 h 514"/>
                <a:gd name="T16" fmla="*/ 59 w 421"/>
                <a:gd name="T17" fmla="*/ 219 h 514"/>
                <a:gd name="T18" fmla="*/ 55 w 421"/>
                <a:gd name="T19" fmla="*/ 218 h 514"/>
                <a:gd name="T20" fmla="*/ 420 w 421"/>
                <a:gd name="T21" fmla="*/ 391 h 514"/>
                <a:gd name="T22" fmla="*/ 407 w 421"/>
                <a:gd name="T23" fmla="*/ 382 h 514"/>
                <a:gd name="T24" fmla="*/ 16 w 421"/>
                <a:gd name="T25" fmla="*/ 382 h 514"/>
                <a:gd name="T26" fmla="*/ 3 w 421"/>
                <a:gd name="T27" fmla="*/ 424 h 514"/>
                <a:gd name="T28" fmla="*/ 61 w 421"/>
                <a:gd name="T29" fmla="*/ 495 h 514"/>
                <a:gd name="T30" fmla="*/ 208 w 421"/>
                <a:gd name="T31" fmla="*/ 514 h 514"/>
                <a:gd name="T32" fmla="*/ 383 w 421"/>
                <a:gd name="T33" fmla="*/ 486 h 514"/>
                <a:gd name="T34" fmla="*/ 419 w 421"/>
                <a:gd name="T35" fmla="*/ 460 h 514"/>
                <a:gd name="T36" fmla="*/ 420 w 421"/>
                <a:gd name="T37" fmla="*/ 404 h 514"/>
                <a:gd name="T38" fmla="*/ 57 w 421"/>
                <a:gd name="T39" fmla="*/ 356 h 514"/>
                <a:gd name="T40" fmla="*/ 61 w 421"/>
                <a:gd name="T41" fmla="*/ 357 h 514"/>
                <a:gd name="T42" fmla="*/ 295 w 421"/>
                <a:gd name="T43" fmla="*/ 370 h 514"/>
                <a:gd name="T44" fmla="*/ 381 w 421"/>
                <a:gd name="T45" fmla="*/ 349 h 514"/>
                <a:gd name="T46" fmla="*/ 419 w 421"/>
                <a:gd name="T47" fmla="*/ 324 h 514"/>
                <a:gd name="T48" fmla="*/ 420 w 421"/>
                <a:gd name="T49" fmla="*/ 254 h 514"/>
                <a:gd name="T50" fmla="*/ 407 w 421"/>
                <a:gd name="T51" fmla="*/ 244 h 514"/>
                <a:gd name="T52" fmla="*/ 16 w 421"/>
                <a:gd name="T53" fmla="*/ 244 h 514"/>
                <a:gd name="T54" fmla="*/ 3 w 421"/>
                <a:gd name="T55" fmla="*/ 288 h 514"/>
                <a:gd name="T56" fmla="*/ 219 w 421"/>
                <a:gd name="T57" fmla="*/ 103 h 514"/>
                <a:gd name="T58" fmla="*/ 415 w 421"/>
                <a:gd name="T59" fmla="*/ 55 h 514"/>
                <a:gd name="T60" fmla="*/ 414 w 421"/>
                <a:gd name="T61" fmla="*/ 41 h 514"/>
                <a:gd name="T62" fmla="*/ 384 w 421"/>
                <a:gd name="T63" fmla="*/ 24 h 514"/>
                <a:gd name="T64" fmla="*/ 40 w 421"/>
                <a:gd name="T65" fmla="*/ 24 h 514"/>
                <a:gd name="T66" fmla="*/ 0 w 421"/>
                <a:gd name="T67" fmla="*/ 49 h 514"/>
                <a:gd name="T68" fmla="*/ 37 w 421"/>
                <a:gd name="T69" fmla="*/ 73 h 5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21" h="514">
                  <a:moveTo>
                    <a:pt x="55" y="218"/>
                  </a:moveTo>
                  <a:cubicBezTo>
                    <a:pt x="6" y="203"/>
                    <a:pt x="3" y="200"/>
                    <a:pt x="3" y="151"/>
                  </a:cubicBezTo>
                  <a:cubicBezTo>
                    <a:pt x="3" y="103"/>
                    <a:pt x="3" y="103"/>
                    <a:pt x="3" y="103"/>
                  </a:cubicBezTo>
                  <a:cubicBezTo>
                    <a:pt x="16" y="107"/>
                    <a:pt x="16" y="107"/>
                    <a:pt x="16" y="107"/>
                  </a:cubicBezTo>
                  <a:cubicBezTo>
                    <a:pt x="81" y="126"/>
                    <a:pt x="147" y="136"/>
                    <a:pt x="212" y="136"/>
                  </a:cubicBezTo>
                  <a:cubicBezTo>
                    <a:pt x="276" y="136"/>
                    <a:pt x="341" y="126"/>
                    <a:pt x="407" y="107"/>
                  </a:cubicBezTo>
                  <a:cubicBezTo>
                    <a:pt x="419" y="103"/>
                    <a:pt x="419" y="103"/>
                    <a:pt x="419" y="103"/>
                  </a:cubicBezTo>
                  <a:cubicBezTo>
                    <a:pt x="419" y="116"/>
                    <a:pt x="419" y="116"/>
                    <a:pt x="419" y="116"/>
                  </a:cubicBezTo>
                  <a:cubicBezTo>
                    <a:pt x="419" y="120"/>
                    <a:pt x="419" y="125"/>
                    <a:pt x="419" y="129"/>
                  </a:cubicBezTo>
                  <a:cubicBezTo>
                    <a:pt x="419" y="130"/>
                    <a:pt x="419" y="130"/>
                    <a:pt x="419" y="130"/>
                  </a:cubicBezTo>
                  <a:cubicBezTo>
                    <a:pt x="420" y="150"/>
                    <a:pt x="420" y="168"/>
                    <a:pt x="418" y="188"/>
                  </a:cubicBezTo>
                  <a:cubicBezTo>
                    <a:pt x="418" y="189"/>
                    <a:pt x="418" y="189"/>
                    <a:pt x="418" y="189"/>
                  </a:cubicBezTo>
                  <a:cubicBezTo>
                    <a:pt x="416" y="198"/>
                    <a:pt x="403" y="205"/>
                    <a:pt x="396" y="207"/>
                  </a:cubicBezTo>
                  <a:cubicBezTo>
                    <a:pt x="391" y="209"/>
                    <a:pt x="386" y="210"/>
                    <a:pt x="381" y="212"/>
                  </a:cubicBezTo>
                  <a:cubicBezTo>
                    <a:pt x="379" y="212"/>
                    <a:pt x="379" y="212"/>
                    <a:pt x="379" y="212"/>
                  </a:cubicBezTo>
                  <a:cubicBezTo>
                    <a:pt x="352" y="220"/>
                    <a:pt x="325" y="228"/>
                    <a:pt x="297" y="232"/>
                  </a:cubicBezTo>
                  <a:cubicBezTo>
                    <a:pt x="267" y="236"/>
                    <a:pt x="236" y="238"/>
                    <a:pt x="207" y="238"/>
                  </a:cubicBezTo>
                  <a:cubicBezTo>
                    <a:pt x="156" y="238"/>
                    <a:pt x="106" y="232"/>
                    <a:pt x="59" y="219"/>
                  </a:cubicBezTo>
                  <a:cubicBezTo>
                    <a:pt x="59" y="219"/>
                    <a:pt x="58" y="219"/>
                    <a:pt x="58" y="219"/>
                  </a:cubicBezTo>
                  <a:cubicBezTo>
                    <a:pt x="57" y="219"/>
                    <a:pt x="56" y="218"/>
                    <a:pt x="55" y="218"/>
                  </a:cubicBezTo>
                  <a:close/>
                  <a:moveTo>
                    <a:pt x="420" y="404"/>
                  </a:moveTo>
                  <a:cubicBezTo>
                    <a:pt x="420" y="400"/>
                    <a:pt x="420" y="396"/>
                    <a:pt x="420" y="391"/>
                  </a:cubicBezTo>
                  <a:cubicBezTo>
                    <a:pt x="420" y="378"/>
                    <a:pt x="420" y="378"/>
                    <a:pt x="420" y="378"/>
                  </a:cubicBezTo>
                  <a:cubicBezTo>
                    <a:pt x="407" y="382"/>
                    <a:pt x="407" y="382"/>
                    <a:pt x="407" y="382"/>
                  </a:cubicBezTo>
                  <a:cubicBezTo>
                    <a:pt x="342" y="401"/>
                    <a:pt x="276" y="411"/>
                    <a:pt x="212" y="411"/>
                  </a:cubicBezTo>
                  <a:cubicBezTo>
                    <a:pt x="147" y="411"/>
                    <a:pt x="81" y="401"/>
                    <a:pt x="16" y="382"/>
                  </a:cubicBezTo>
                  <a:cubicBezTo>
                    <a:pt x="3" y="378"/>
                    <a:pt x="3" y="378"/>
                    <a:pt x="3" y="378"/>
                  </a:cubicBezTo>
                  <a:cubicBezTo>
                    <a:pt x="3" y="424"/>
                    <a:pt x="3" y="424"/>
                    <a:pt x="3" y="424"/>
                  </a:cubicBezTo>
                  <a:cubicBezTo>
                    <a:pt x="3" y="475"/>
                    <a:pt x="6" y="479"/>
                    <a:pt x="59" y="495"/>
                  </a:cubicBezTo>
                  <a:cubicBezTo>
                    <a:pt x="60" y="495"/>
                    <a:pt x="60" y="495"/>
                    <a:pt x="61" y="495"/>
                  </a:cubicBezTo>
                  <a:cubicBezTo>
                    <a:pt x="62" y="495"/>
                    <a:pt x="62" y="495"/>
                    <a:pt x="63" y="495"/>
                  </a:cubicBezTo>
                  <a:cubicBezTo>
                    <a:pt x="110" y="508"/>
                    <a:pt x="158" y="514"/>
                    <a:pt x="208" y="514"/>
                  </a:cubicBezTo>
                  <a:cubicBezTo>
                    <a:pt x="235" y="514"/>
                    <a:pt x="264" y="512"/>
                    <a:pt x="293" y="508"/>
                  </a:cubicBezTo>
                  <a:cubicBezTo>
                    <a:pt x="323" y="504"/>
                    <a:pt x="354" y="495"/>
                    <a:pt x="383" y="486"/>
                  </a:cubicBezTo>
                  <a:cubicBezTo>
                    <a:pt x="397" y="482"/>
                    <a:pt x="397" y="482"/>
                    <a:pt x="397" y="482"/>
                  </a:cubicBezTo>
                  <a:cubicBezTo>
                    <a:pt x="405" y="480"/>
                    <a:pt x="418" y="470"/>
                    <a:pt x="419" y="460"/>
                  </a:cubicBezTo>
                  <a:cubicBezTo>
                    <a:pt x="421" y="442"/>
                    <a:pt x="420" y="424"/>
                    <a:pt x="420" y="405"/>
                  </a:cubicBezTo>
                  <a:lnTo>
                    <a:pt x="420" y="404"/>
                  </a:lnTo>
                  <a:close/>
                  <a:moveTo>
                    <a:pt x="3" y="288"/>
                  </a:moveTo>
                  <a:cubicBezTo>
                    <a:pt x="3" y="338"/>
                    <a:pt x="6" y="342"/>
                    <a:pt x="57" y="356"/>
                  </a:cubicBezTo>
                  <a:cubicBezTo>
                    <a:pt x="58" y="357"/>
                    <a:pt x="59" y="357"/>
                    <a:pt x="59" y="357"/>
                  </a:cubicBezTo>
                  <a:cubicBezTo>
                    <a:pt x="60" y="357"/>
                    <a:pt x="60" y="357"/>
                    <a:pt x="61" y="357"/>
                  </a:cubicBezTo>
                  <a:cubicBezTo>
                    <a:pt x="108" y="370"/>
                    <a:pt x="157" y="376"/>
                    <a:pt x="207" y="376"/>
                  </a:cubicBezTo>
                  <a:cubicBezTo>
                    <a:pt x="236" y="376"/>
                    <a:pt x="265" y="374"/>
                    <a:pt x="295" y="370"/>
                  </a:cubicBezTo>
                  <a:cubicBezTo>
                    <a:pt x="324" y="366"/>
                    <a:pt x="353" y="358"/>
                    <a:pt x="380" y="349"/>
                  </a:cubicBezTo>
                  <a:cubicBezTo>
                    <a:pt x="381" y="349"/>
                    <a:pt x="381" y="349"/>
                    <a:pt x="381" y="349"/>
                  </a:cubicBezTo>
                  <a:cubicBezTo>
                    <a:pt x="386" y="347"/>
                    <a:pt x="392" y="346"/>
                    <a:pt x="397" y="344"/>
                  </a:cubicBezTo>
                  <a:cubicBezTo>
                    <a:pt x="405" y="342"/>
                    <a:pt x="418" y="333"/>
                    <a:pt x="419" y="324"/>
                  </a:cubicBezTo>
                  <a:cubicBezTo>
                    <a:pt x="420" y="305"/>
                    <a:pt x="420" y="286"/>
                    <a:pt x="420" y="267"/>
                  </a:cubicBezTo>
                  <a:cubicBezTo>
                    <a:pt x="420" y="263"/>
                    <a:pt x="420" y="258"/>
                    <a:pt x="420" y="254"/>
                  </a:cubicBezTo>
                  <a:cubicBezTo>
                    <a:pt x="420" y="241"/>
                    <a:pt x="420" y="241"/>
                    <a:pt x="420" y="241"/>
                  </a:cubicBezTo>
                  <a:cubicBezTo>
                    <a:pt x="407" y="244"/>
                    <a:pt x="407" y="244"/>
                    <a:pt x="407" y="244"/>
                  </a:cubicBezTo>
                  <a:cubicBezTo>
                    <a:pt x="342" y="264"/>
                    <a:pt x="276" y="273"/>
                    <a:pt x="212" y="273"/>
                  </a:cubicBezTo>
                  <a:cubicBezTo>
                    <a:pt x="147" y="273"/>
                    <a:pt x="81" y="264"/>
                    <a:pt x="16" y="244"/>
                  </a:cubicBezTo>
                  <a:cubicBezTo>
                    <a:pt x="3" y="240"/>
                    <a:pt x="3" y="240"/>
                    <a:pt x="3" y="240"/>
                  </a:cubicBezTo>
                  <a:lnTo>
                    <a:pt x="3" y="288"/>
                  </a:lnTo>
                  <a:close/>
                  <a:moveTo>
                    <a:pt x="37" y="73"/>
                  </a:moveTo>
                  <a:cubicBezTo>
                    <a:pt x="38" y="74"/>
                    <a:pt x="117" y="103"/>
                    <a:pt x="219" y="103"/>
                  </a:cubicBezTo>
                  <a:cubicBezTo>
                    <a:pt x="278" y="103"/>
                    <a:pt x="333" y="94"/>
                    <a:pt x="383" y="75"/>
                  </a:cubicBezTo>
                  <a:cubicBezTo>
                    <a:pt x="393" y="71"/>
                    <a:pt x="407" y="64"/>
                    <a:pt x="415" y="55"/>
                  </a:cubicBezTo>
                  <a:cubicBezTo>
                    <a:pt x="421" y="48"/>
                    <a:pt x="421" y="48"/>
                    <a:pt x="421" y="48"/>
                  </a:cubicBezTo>
                  <a:cubicBezTo>
                    <a:pt x="414" y="41"/>
                    <a:pt x="414" y="41"/>
                    <a:pt x="414" y="41"/>
                  </a:cubicBezTo>
                  <a:cubicBezTo>
                    <a:pt x="405" y="33"/>
                    <a:pt x="393" y="27"/>
                    <a:pt x="385" y="24"/>
                  </a:cubicBezTo>
                  <a:cubicBezTo>
                    <a:pt x="384" y="24"/>
                    <a:pt x="384" y="24"/>
                    <a:pt x="384" y="24"/>
                  </a:cubicBezTo>
                  <a:cubicBezTo>
                    <a:pt x="373" y="19"/>
                    <a:pt x="305" y="0"/>
                    <a:pt x="201" y="0"/>
                  </a:cubicBezTo>
                  <a:cubicBezTo>
                    <a:pt x="144" y="0"/>
                    <a:pt x="91" y="8"/>
                    <a:pt x="40" y="24"/>
                  </a:cubicBezTo>
                  <a:cubicBezTo>
                    <a:pt x="39" y="25"/>
                    <a:pt x="22" y="30"/>
                    <a:pt x="9" y="42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23" y="68"/>
                    <a:pt x="37" y="73"/>
                    <a:pt x="37" y="73"/>
                  </a:cubicBez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72" name="Group 5">
            <a:extLst>
              <a:ext uri="{FF2B5EF4-FFF2-40B4-BE49-F238E27FC236}">
                <a16:creationId xmlns:a16="http://schemas.microsoft.com/office/drawing/2014/main" xmlns="" id="{32EC3103-CF4B-43B4-8EA7-239965C20E3B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080616" y="352183"/>
            <a:ext cx="396460" cy="396460"/>
            <a:chOff x="422" y="1032"/>
            <a:chExt cx="328" cy="328"/>
          </a:xfrm>
          <a:effectLst>
            <a:outerShdw blurRad="101600" dist="76200" dir="2700000" algn="ctr" rotWithShape="0">
              <a:srgbClr val="000000">
                <a:alpha val="29000"/>
              </a:srgbClr>
            </a:outerShdw>
          </a:effectLst>
        </p:grpSpPr>
        <p:sp>
          <p:nvSpPr>
            <p:cNvPr id="73" name="AutoShape 4">
              <a:extLst>
                <a:ext uri="{FF2B5EF4-FFF2-40B4-BE49-F238E27FC236}">
                  <a16:creationId xmlns:a16="http://schemas.microsoft.com/office/drawing/2014/main" xmlns="" id="{60F7D7DD-35F4-4F2B-964C-D6716CAC9831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422" y="1032"/>
              <a:ext cx="328" cy="3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4" name="Oval 6">
              <a:extLst>
                <a:ext uri="{FF2B5EF4-FFF2-40B4-BE49-F238E27FC236}">
                  <a16:creationId xmlns:a16="http://schemas.microsoft.com/office/drawing/2014/main" xmlns="" id="{901333EC-0392-4940-87B7-C18B4F4821C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2" y="1031"/>
              <a:ext cx="328" cy="328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5" name="Freeform 7">
              <a:extLst>
                <a:ext uri="{FF2B5EF4-FFF2-40B4-BE49-F238E27FC236}">
                  <a16:creationId xmlns:a16="http://schemas.microsoft.com/office/drawing/2014/main" xmlns="" id="{715C6C24-BE14-4813-8164-B98AE6FA4D5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32" y="1288"/>
              <a:ext cx="189" cy="64"/>
            </a:xfrm>
            <a:custGeom>
              <a:avLst/>
              <a:gdLst>
                <a:gd name="T0" fmla="*/ 1 w 189"/>
                <a:gd name="T1" fmla="*/ 61 h 64"/>
                <a:gd name="T2" fmla="*/ 0 w 189"/>
                <a:gd name="T3" fmla="*/ 62 h 64"/>
                <a:gd name="T4" fmla="*/ 7 w 189"/>
                <a:gd name="T5" fmla="*/ 64 h 64"/>
                <a:gd name="T6" fmla="*/ 1 w 189"/>
                <a:gd name="T7" fmla="*/ 61 h 64"/>
                <a:gd name="T8" fmla="*/ 189 w 189"/>
                <a:gd name="T9" fmla="*/ 0 h 64"/>
                <a:gd name="T10" fmla="*/ 188 w 189"/>
                <a:gd name="T11" fmla="*/ 2 h 64"/>
                <a:gd name="T12" fmla="*/ 189 w 189"/>
                <a:gd name="T13" fmla="*/ 0 h 64"/>
                <a:gd name="T14" fmla="*/ 189 w 189"/>
                <a:gd name="T15" fmla="*/ 0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9" h="64">
                  <a:moveTo>
                    <a:pt x="1" y="61"/>
                  </a:moveTo>
                  <a:lnTo>
                    <a:pt x="0" y="62"/>
                  </a:lnTo>
                  <a:lnTo>
                    <a:pt x="7" y="64"/>
                  </a:lnTo>
                  <a:lnTo>
                    <a:pt x="1" y="61"/>
                  </a:lnTo>
                  <a:close/>
                  <a:moveTo>
                    <a:pt x="189" y="0"/>
                  </a:moveTo>
                  <a:lnTo>
                    <a:pt x="188" y="2"/>
                  </a:lnTo>
                  <a:lnTo>
                    <a:pt x="189" y="0"/>
                  </a:lnTo>
                  <a:lnTo>
                    <a:pt x="189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6" name="Freeform 8">
              <a:extLst>
                <a:ext uri="{FF2B5EF4-FFF2-40B4-BE49-F238E27FC236}">
                  <a16:creationId xmlns:a16="http://schemas.microsoft.com/office/drawing/2014/main" xmlns="" id="{DE90FD89-451F-4A42-B007-E18E3236574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6" y="1049"/>
              <a:ext cx="296" cy="298"/>
            </a:xfrm>
            <a:custGeom>
              <a:avLst/>
              <a:gdLst>
                <a:gd name="T0" fmla="*/ 190 w 393"/>
                <a:gd name="T1" fmla="*/ 179 h 395"/>
                <a:gd name="T2" fmla="*/ 8 w 393"/>
                <a:gd name="T3" fmla="*/ 209 h 395"/>
                <a:gd name="T4" fmla="*/ 165 w 393"/>
                <a:gd name="T5" fmla="*/ 4 h 395"/>
                <a:gd name="T6" fmla="*/ 190 w 393"/>
                <a:gd name="T7" fmla="*/ 0 h 395"/>
                <a:gd name="T8" fmla="*/ 190 w 393"/>
                <a:gd name="T9" fmla="*/ 179 h 395"/>
                <a:gd name="T10" fmla="*/ 11 w 393"/>
                <a:gd name="T11" fmla="*/ 230 h 395"/>
                <a:gd name="T12" fmla="*/ 134 w 393"/>
                <a:gd name="T13" fmla="*/ 374 h 395"/>
                <a:gd name="T14" fmla="*/ 189 w 393"/>
                <a:gd name="T15" fmla="*/ 202 h 395"/>
                <a:gd name="T16" fmla="*/ 11 w 393"/>
                <a:gd name="T17" fmla="*/ 230 h 395"/>
                <a:gd name="T18" fmla="*/ 159 w 393"/>
                <a:gd name="T19" fmla="*/ 381 h 395"/>
                <a:gd name="T20" fmla="*/ 345 w 393"/>
                <a:gd name="T21" fmla="*/ 320 h 395"/>
                <a:gd name="T22" fmla="*/ 210 w 393"/>
                <a:gd name="T23" fmla="*/ 207 h 395"/>
                <a:gd name="T24" fmla="*/ 159 w 393"/>
                <a:gd name="T25" fmla="*/ 381 h 395"/>
                <a:gd name="T26" fmla="*/ 361 w 393"/>
                <a:gd name="T27" fmla="*/ 300 h 395"/>
                <a:gd name="T28" fmla="*/ 393 w 393"/>
                <a:gd name="T29" fmla="*/ 179 h 395"/>
                <a:gd name="T30" fmla="*/ 217 w 393"/>
                <a:gd name="T31" fmla="*/ 1 h 395"/>
                <a:gd name="T32" fmla="*/ 217 w 393"/>
                <a:gd name="T33" fmla="*/ 179 h 395"/>
                <a:gd name="T34" fmla="*/ 361 w 393"/>
                <a:gd name="T35" fmla="*/ 300 h 3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93" h="395">
                  <a:moveTo>
                    <a:pt x="190" y="179"/>
                  </a:moveTo>
                  <a:cubicBezTo>
                    <a:pt x="8" y="209"/>
                    <a:pt x="8" y="209"/>
                    <a:pt x="8" y="209"/>
                  </a:cubicBezTo>
                  <a:cubicBezTo>
                    <a:pt x="0" y="114"/>
                    <a:pt x="69" y="19"/>
                    <a:pt x="165" y="4"/>
                  </a:cubicBezTo>
                  <a:cubicBezTo>
                    <a:pt x="173" y="2"/>
                    <a:pt x="182" y="0"/>
                    <a:pt x="190" y="0"/>
                  </a:cubicBezTo>
                  <a:lnTo>
                    <a:pt x="190" y="179"/>
                  </a:lnTo>
                  <a:close/>
                  <a:moveTo>
                    <a:pt x="11" y="230"/>
                  </a:moveTo>
                  <a:cubicBezTo>
                    <a:pt x="22" y="300"/>
                    <a:pt x="69" y="346"/>
                    <a:pt x="134" y="374"/>
                  </a:cubicBezTo>
                  <a:cubicBezTo>
                    <a:pt x="189" y="202"/>
                    <a:pt x="189" y="202"/>
                    <a:pt x="189" y="202"/>
                  </a:cubicBezTo>
                  <a:lnTo>
                    <a:pt x="11" y="230"/>
                  </a:lnTo>
                  <a:close/>
                  <a:moveTo>
                    <a:pt x="159" y="381"/>
                  </a:moveTo>
                  <a:cubicBezTo>
                    <a:pt x="229" y="395"/>
                    <a:pt x="299" y="374"/>
                    <a:pt x="345" y="320"/>
                  </a:cubicBezTo>
                  <a:cubicBezTo>
                    <a:pt x="210" y="207"/>
                    <a:pt x="210" y="207"/>
                    <a:pt x="210" y="207"/>
                  </a:cubicBezTo>
                  <a:lnTo>
                    <a:pt x="159" y="381"/>
                  </a:lnTo>
                  <a:close/>
                  <a:moveTo>
                    <a:pt x="361" y="300"/>
                  </a:moveTo>
                  <a:cubicBezTo>
                    <a:pt x="385" y="264"/>
                    <a:pt x="393" y="223"/>
                    <a:pt x="393" y="179"/>
                  </a:cubicBezTo>
                  <a:cubicBezTo>
                    <a:pt x="386" y="83"/>
                    <a:pt x="313" y="12"/>
                    <a:pt x="217" y="1"/>
                  </a:cubicBezTo>
                  <a:cubicBezTo>
                    <a:pt x="217" y="179"/>
                    <a:pt x="217" y="179"/>
                    <a:pt x="217" y="179"/>
                  </a:cubicBezTo>
                  <a:lnTo>
                    <a:pt x="361" y="300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77" name="Group 12">
            <a:extLst>
              <a:ext uri="{FF2B5EF4-FFF2-40B4-BE49-F238E27FC236}">
                <a16:creationId xmlns:a16="http://schemas.microsoft.com/office/drawing/2014/main" xmlns="" id="{EE09A5A8-A711-47E5-970E-F5B7129B4414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072707" y="1296713"/>
            <a:ext cx="394646" cy="397668"/>
            <a:chOff x="2423" y="1699"/>
            <a:chExt cx="914" cy="921"/>
          </a:xfrm>
          <a:effectLst>
            <a:outerShdw blurRad="101600" dist="76200" dir="2700000" algn="ctr" rotWithShape="0">
              <a:srgbClr val="000000">
                <a:alpha val="29000"/>
              </a:srgbClr>
            </a:outerShdw>
          </a:effectLst>
        </p:grpSpPr>
        <p:sp>
          <p:nvSpPr>
            <p:cNvPr id="78" name="AutoShape 11">
              <a:extLst>
                <a:ext uri="{FF2B5EF4-FFF2-40B4-BE49-F238E27FC236}">
                  <a16:creationId xmlns:a16="http://schemas.microsoft.com/office/drawing/2014/main" xmlns="" id="{2FEFCE70-429B-42BA-9921-927E3F36B89C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423" y="1699"/>
              <a:ext cx="914" cy="9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9" name="Rectangle 13">
              <a:extLst>
                <a:ext uri="{FF2B5EF4-FFF2-40B4-BE49-F238E27FC236}">
                  <a16:creationId xmlns:a16="http://schemas.microsoft.com/office/drawing/2014/main" xmlns="" id="{E0A9CA65-AEF6-4EAD-931F-39E815CCF98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423" y="1701"/>
              <a:ext cx="916" cy="917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0" name="Freeform 14">
              <a:extLst>
                <a:ext uri="{FF2B5EF4-FFF2-40B4-BE49-F238E27FC236}">
                  <a16:creationId xmlns:a16="http://schemas.microsoft.com/office/drawing/2014/main" xmlns="" id="{BD53AB8B-6A54-47F6-87BB-0414BADF7CF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80" y="1758"/>
              <a:ext cx="803" cy="803"/>
            </a:xfrm>
            <a:custGeom>
              <a:avLst/>
              <a:gdLst>
                <a:gd name="T0" fmla="*/ 0 w 340"/>
                <a:gd name="T1" fmla="*/ 0 h 340"/>
                <a:gd name="T2" fmla="*/ 0 w 340"/>
                <a:gd name="T3" fmla="*/ 340 h 340"/>
                <a:gd name="T4" fmla="*/ 340 w 340"/>
                <a:gd name="T5" fmla="*/ 340 h 340"/>
                <a:gd name="T6" fmla="*/ 340 w 340"/>
                <a:gd name="T7" fmla="*/ 0 h 340"/>
                <a:gd name="T8" fmla="*/ 0 w 340"/>
                <a:gd name="T9" fmla="*/ 0 h 340"/>
                <a:gd name="T10" fmla="*/ 89 w 340"/>
                <a:gd name="T11" fmla="*/ 199 h 340"/>
                <a:gd name="T12" fmla="*/ 151 w 340"/>
                <a:gd name="T13" fmla="*/ 137 h 340"/>
                <a:gd name="T14" fmla="*/ 179 w 340"/>
                <a:gd name="T15" fmla="*/ 137 h 340"/>
                <a:gd name="T16" fmla="*/ 202 w 340"/>
                <a:gd name="T17" fmla="*/ 160 h 340"/>
                <a:gd name="T18" fmla="*/ 264 w 340"/>
                <a:gd name="T19" fmla="*/ 98 h 340"/>
                <a:gd name="T20" fmla="*/ 292 w 340"/>
                <a:gd name="T21" fmla="*/ 97 h 340"/>
                <a:gd name="T22" fmla="*/ 292 w 340"/>
                <a:gd name="T23" fmla="*/ 126 h 340"/>
                <a:gd name="T24" fmla="*/ 217 w 340"/>
                <a:gd name="T25" fmla="*/ 203 h 340"/>
                <a:gd name="T26" fmla="*/ 189 w 340"/>
                <a:gd name="T27" fmla="*/ 203 h 340"/>
                <a:gd name="T28" fmla="*/ 188 w 340"/>
                <a:gd name="T29" fmla="*/ 203 h 340"/>
                <a:gd name="T30" fmla="*/ 188 w 340"/>
                <a:gd name="T31" fmla="*/ 203 h 340"/>
                <a:gd name="T32" fmla="*/ 165 w 340"/>
                <a:gd name="T33" fmla="*/ 180 h 340"/>
                <a:gd name="T34" fmla="*/ 117 w 340"/>
                <a:gd name="T35" fmla="*/ 228 h 340"/>
                <a:gd name="T36" fmla="*/ 89 w 340"/>
                <a:gd name="T37" fmla="*/ 228 h 340"/>
                <a:gd name="T38" fmla="*/ 89 w 340"/>
                <a:gd name="T39" fmla="*/ 199 h 340"/>
                <a:gd name="T40" fmla="*/ 313 w 340"/>
                <a:gd name="T41" fmla="*/ 281 h 340"/>
                <a:gd name="T42" fmla="*/ 298 w 340"/>
                <a:gd name="T43" fmla="*/ 297 h 340"/>
                <a:gd name="T44" fmla="*/ 52 w 340"/>
                <a:gd name="T45" fmla="*/ 297 h 340"/>
                <a:gd name="T46" fmla="*/ 52 w 340"/>
                <a:gd name="T47" fmla="*/ 297 h 340"/>
                <a:gd name="T48" fmla="*/ 36 w 340"/>
                <a:gd name="T49" fmla="*/ 281 h 340"/>
                <a:gd name="T50" fmla="*/ 36 w 340"/>
                <a:gd name="T51" fmla="*/ 281 h 340"/>
                <a:gd name="T52" fmla="*/ 36 w 340"/>
                <a:gd name="T53" fmla="*/ 61 h 340"/>
                <a:gd name="T54" fmla="*/ 52 w 340"/>
                <a:gd name="T55" fmla="*/ 46 h 340"/>
                <a:gd name="T56" fmla="*/ 52 w 340"/>
                <a:gd name="T57" fmla="*/ 46 h 340"/>
                <a:gd name="T58" fmla="*/ 67 w 340"/>
                <a:gd name="T59" fmla="*/ 61 h 340"/>
                <a:gd name="T60" fmla="*/ 67 w 340"/>
                <a:gd name="T61" fmla="*/ 266 h 340"/>
                <a:gd name="T62" fmla="*/ 298 w 340"/>
                <a:gd name="T63" fmla="*/ 266 h 340"/>
                <a:gd name="T64" fmla="*/ 313 w 340"/>
                <a:gd name="T65" fmla="*/ 281 h 3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40" h="340">
                  <a:moveTo>
                    <a:pt x="0" y="0"/>
                  </a:moveTo>
                  <a:cubicBezTo>
                    <a:pt x="0" y="340"/>
                    <a:pt x="0" y="340"/>
                    <a:pt x="0" y="340"/>
                  </a:cubicBezTo>
                  <a:cubicBezTo>
                    <a:pt x="340" y="340"/>
                    <a:pt x="340" y="340"/>
                    <a:pt x="340" y="340"/>
                  </a:cubicBezTo>
                  <a:cubicBezTo>
                    <a:pt x="340" y="0"/>
                    <a:pt x="340" y="0"/>
                    <a:pt x="340" y="0"/>
                  </a:cubicBezTo>
                  <a:lnTo>
                    <a:pt x="0" y="0"/>
                  </a:lnTo>
                  <a:close/>
                  <a:moveTo>
                    <a:pt x="89" y="199"/>
                  </a:moveTo>
                  <a:cubicBezTo>
                    <a:pt x="151" y="137"/>
                    <a:pt x="151" y="137"/>
                    <a:pt x="151" y="137"/>
                  </a:cubicBezTo>
                  <a:cubicBezTo>
                    <a:pt x="159" y="129"/>
                    <a:pt x="171" y="129"/>
                    <a:pt x="179" y="137"/>
                  </a:cubicBezTo>
                  <a:cubicBezTo>
                    <a:pt x="202" y="160"/>
                    <a:pt x="202" y="160"/>
                    <a:pt x="202" y="160"/>
                  </a:cubicBezTo>
                  <a:cubicBezTo>
                    <a:pt x="264" y="98"/>
                    <a:pt x="264" y="98"/>
                    <a:pt x="264" y="98"/>
                  </a:cubicBezTo>
                  <a:cubicBezTo>
                    <a:pt x="272" y="90"/>
                    <a:pt x="284" y="90"/>
                    <a:pt x="292" y="97"/>
                  </a:cubicBezTo>
                  <a:cubicBezTo>
                    <a:pt x="300" y="105"/>
                    <a:pt x="300" y="118"/>
                    <a:pt x="292" y="126"/>
                  </a:cubicBezTo>
                  <a:cubicBezTo>
                    <a:pt x="217" y="203"/>
                    <a:pt x="217" y="203"/>
                    <a:pt x="217" y="203"/>
                  </a:cubicBezTo>
                  <a:cubicBezTo>
                    <a:pt x="209" y="211"/>
                    <a:pt x="196" y="211"/>
                    <a:pt x="189" y="203"/>
                  </a:cubicBezTo>
                  <a:cubicBezTo>
                    <a:pt x="188" y="203"/>
                    <a:pt x="188" y="203"/>
                    <a:pt x="188" y="203"/>
                  </a:cubicBezTo>
                  <a:cubicBezTo>
                    <a:pt x="188" y="203"/>
                    <a:pt x="188" y="203"/>
                    <a:pt x="188" y="203"/>
                  </a:cubicBezTo>
                  <a:cubicBezTo>
                    <a:pt x="165" y="180"/>
                    <a:pt x="165" y="180"/>
                    <a:pt x="165" y="180"/>
                  </a:cubicBezTo>
                  <a:cubicBezTo>
                    <a:pt x="117" y="228"/>
                    <a:pt x="117" y="228"/>
                    <a:pt x="117" y="228"/>
                  </a:cubicBezTo>
                  <a:cubicBezTo>
                    <a:pt x="109" y="235"/>
                    <a:pt x="96" y="235"/>
                    <a:pt x="89" y="228"/>
                  </a:cubicBezTo>
                  <a:cubicBezTo>
                    <a:pt x="81" y="220"/>
                    <a:pt x="81" y="207"/>
                    <a:pt x="89" y="199"/>
                  </a:cubicBezTo>
                  <a:close/>
                  <a:moveTo>
                    <a:pt x="313" y="281"/>
                  </a:moveTo>
                  <a:cubicBezTo>
                    <a:pt x="313" y="290"/>
                    <a:pt x="306" y="297"/>
                    <a:pt x="298" y="297"/>
                  </a:cubicBezTo>
                  <a:cubicBezTo>
                    <a:pt x="52" y="297"/>
                    <a:pt x="52" y="297"/>
                    <a:pt x="52" y="297"/>
                  </a:cubicBezTo>
                  <a:cubicBezTo>
                    <a:pt x="52" y="297"/>
                    <a:pt x="52" y="297"/>
                    <a:pt x="52" y="297"/>
                  </a:cubicBezTo>
                  <a:cubicBezTo>
                    <a:pt x="43" y="297"/>
                    <a:pt x="36" y="290"/>
                    <a:pt x="36" y="281"/>
                  </a:cubicBezTo>
                  <a:cubicBezTo>
                    <a:pt x="36" y="281"/>
                    <a:pt x="36" y="281"/>
                    <a:pt x="36" y="281"/>
                  </a:cubicBezTo>
                  <a:cubicBezTo>
                    <a:pt x="36" y="61"/>
                    <a:pt x="36" y="61"/>
                    <a:pt x="36" y="61"/>
                  </a:cubicBezTo>
                  <a:cubicBezTo>
                    <a:pt x="36" y="53"/>
                    <a:pt x="43" y="46"/>
                    <a:pt x="52" y="46"/>
                  </a:cubicBezTo>
                  <a:cubicBezTo>
                    <a:pt x="52" y="46"/>
                    <a:pt x="52" y="46"/>
                    <a:pt x="52" y="46"/>
                  </a:cubicBezTo>
                  <a:cubicBezTo>
                    <a:pt x="60" y="46"/>
                    <a:pt x="67" y="53"/>
                    <a:pt x="67" y="61"/>
                  </a:cubicBezTo>
                  <a:cubicBezTo>
                    <a:pt x="67" y="266"/>
                    <a:pt x="67" y="266"/>
                    <a:pt x="67" y="266"/>
                  </a:cubicBezTo>
                  <a:cubicBezTo>
                    <a:pt x="298" y="266"/>
                    <a:pt x="298" y="266"/>
                    <a:pt x="298" y="266"/>
                  </a:cubicBezTo>
                  <a:cubicBezTo>
                    <a:pt x="306" y="266"/>
                    <a:pt x="313" y="273"/>
                    <a:pt x="313" y="281"/>
                  </a:cubicBez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81" name="Group 18">
            <a:extLst>
              <a:ext uri="{FF2B5EF4-FFF2-40B4-BE49-F238E27FC236}">
                <a16:creationId xmlns:a16="http://schemas.microsoft.com/office/drawing/2014/main" xmlns="" id="{4E540F2B-9F00-49BC-9A60-EB5E70ECEBC8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073916" y="848524"/>
            <a:ext cx="392229" cy="392229"/>
            <a:chOff x="2421" y="1703"/>
            <a:chExt cx="916" cy="916"/>
          </a:xfrm>
          <a:effectLst>
            <a:outerShdw blurRad="101600" dist="76200" dir="2700000" algn="ctr" rotWithShape="0">
              <a:srgbClr val="000000">
                <a:alpha val="29000"/>
              </a:srgbClr>
            </a:outerShdw>
          </a:effectLst>
        </p:grpSpPr>
        <p:sp>
          <p:nvSpPr>
            <p:cNvPr id="82" name="AutoShape 17">
              <a:extLst>
                <a:ext uri="{FF2B5EF4-FFF2-40B4-BE49-F238E27FC236}">
                  <a16:creationId xmlns:a16="http://schemas.microsoft.com/office/drawing/2014/main" xmlns="" id="{3C172681-11C2-4157-8D5D-F5400F3CF293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423" y="1703"/>
              <a:ext cx="914" cy="91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3" name="Rectangle 19">
              <a:extLst>
                <a:ext uri="{FF2B5EF4-FFF2-40B4-BE49-F238E27FC236}">
                  <a16:creationId xmlns:a16="http://schemas.microsoft.com/office/drawing/2014/main" xmlns="" id="{CCD9C279-8379-42FA-917E-389FC06301D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421" y="1703"/>
              <a:ext cx="916" cy="91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4" name="Freeform 20">
              <a:extLst>
                <a:ext uri="{FF2B5EF4-FFF2-40B4-BE49-F238E27FC236}">
                  <a16:creationId xmlns:a16="http://schemas.microsoft.com/office/drawing/2014/main" xmlns="" id="{E8A91244-ED3C-4CE6-A73F-97A02A7D712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77" y="1760"/>
              <a:ext cx="804" cy="803"/>
            </a:xfrm>
            <a:custGeom>
              <a:avLst/>
              <a:gdLst>
                <a:gd name="T0" fmla="*/ 0 w 340"/>
                <a:gd name="T1" fmla="*/ 0 h 340"/>
                <a:gd name="T2" fmla="*/ 0 w 340"/>
                <a:gd name="T3" fmla="*/ 340 h 340"/>
                <a:gd name="T4" fmla="*/ 340 w 340"/>
                <a:gd name="T5" fmla="*/ 340 h 340"/>
                <a:gd name="T6" fmla="*/ 340 w 340"/>
                <a:gd name="T7" fmla="*/ 0 h 340"/>
                <a:gd name="T8" fmla="*/ 0 w 340"/>
                <a:gd name="T9" fmla="*/ 0 h 340"/>
                <a:gd name="T10" fmla="*/ 107 w 340"/>
                <a:gd name="T11" fmla="*/ 304 h 340"/>
                <a:gd name="T12" fmla="*/ 34 w 340"/>
                <a:gd name="T13" fmla="*/ 304 h 340"/>
                <a:gd name="T14" fmla="*/ 34 w 340"/>
                <a:gd name="T15" fmla="*/ 127 h 340"/>
                <a:gd name="T16" fmla="*/ 48 w 340"/>
                <a:gd name="T17" fmla="*/ 113 h 340"/>
                <a:gd name="T18" fmla="*/ 93 w 340"/>
                <a:gd name="T19" fmla="*/ 113 h 340"/>
                <a:gd name="T20" fmla="*/ 107 w 340"/>
                <a:gd name="T21" fmla="*/ 127 h 340"/>
                <a:gd name="T22" fmla="*/ 107 w 340"/>
                <a:gd name="T23" fmla="*/ 304 h 340"/>
                <a:gd name="T24" fmla="*/ 207 w 340"/>
                <a:gd name="T25" fmla="*/ 304 h 340"/>
                <a:gd name="T26" fmla="*/ 134 w 340"/>
                <a:gd name="T27" fmla="*/ 304 h 340"/>
                <a:gd name="T28" fmla="*/ 134 w 340"/>
                <a:gd name="T29" fmla="*/ 60 h 340"/>
                <a:gd name="T30" fmla="*/ 148 w 340"/>
                <a:gd name="T31" fmla="*/ 46 h 340"/>
                <a:gd name="T32" fmla="*/ 192 w 340"/>
                <a:gd name="T33" fmla="*/ 46 h 340"/>
                <a:gd name="T34" fmla="*/ 207 w 340"/>
                <a:gd name="T35" fmla="*/ 60 h 340"/>
                <a:gd name="T36" fmla="*/ 207 w 340"/>
                <a:gd name="T37" fmla="*/ 304 h 340"/>
                <a:gd name="T38" fmla="*/ 306 w 340"/>
                <a:gd name="T39" fmla="*/ 304 h 340"/>
                <a:gd name="T40" fmla="*/ 234 w 340"/>
                <a:gd name="T41" fmla="*/ 304 h 340"/>
                <a:gd name="T42" fmla="*/ 234 w 340"/>
                <a:gd name="T43" fmla="*/ 197 h 340"/>
                <a:gd name="T44" fmla="*/ 248 w 340"/>
                <a:gd name="T45" fmla="*/ 182 h 340"/>
                <a:gd name="T46" fmla="*/ 292 w 340"/>
                <a:gd name="T47" fmla="*/ 182 h 340"/>
                <a:gd name="T48" fmla="*/ 306 w 340"/>
                <a:gd name="T49" fmla="*/ 197 h 340"/>
                <a:gd name="T50" fmla="*/ 306 w 340"/>
                <a:gd name="T51" fmla="*/ 304 h 3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40" h="340">
                  <a:moveTo>
                    <a:pt x="0" y="0"/>
                  </a:moveTo>
                  <a:cubicBezTo>
                    <a:pt x="0" y="340"/>
                    <a:pt x="0" y="340"/>
                    <a:pt x="0" y="340"/>
                  </a:cubicBezTo>
                  <a:cubicBezTo>
                    <a:pt x="340" y="340"/>
                    <a:pt x="340" y="340"/>
                    <a:pt x="340" y="340"/>
                  </a:cubicBezTo>
                  <a:cubicBezTo>
                    <a:pt x="340" y="0"/>
                    <a:pt x="340" y="0"/>
                    <a:pt x="340" y="0"/>
                  </a:cubicBezTo>
                  <a:lnTo>
                    <a:pt x="0" y="0"/>
                  </a:lnTo>
                  <a:close/>
                  <a:moveTo>
                    <a:pt x="107" y="304"/>
                  </a:moveTo>
                  <a:cubicBezTo>
                    <a:pt x="34" y="304"/>
                    <a:pt x="34" y="304"/>
                    <a:pt x="34" y="304"/>
                  </a:cubicBezTo>
                  <a:cubicBezTo>
                    <a:pt x="34" y="127"/>
                    <a:pt x="34" y="127"/>
                    <a:pt x="34" y="127"/>
                  </a:cubicBezTo>
                  <a:cubicBezTo>
                    <a:pt x="34" y="120"/>
                    <a:pt x="41" y="113"/>
                    <a:pt x="48" y="113"/>
                  </a:cubicBezTo>
                  <a:cubicBezTo>
                    <a:pt x="93" y="113"/>
                    <a:pt x="93" y="113"/>
                    <a:pt x="93" y="113"/>
                  </a:cubicBezTo>
                  <a:cubicBezTo>
                    <a:pt x="100" y="113"/>
                    <a:pt x="107" y="120"/>
                    <a:pt x="107" y="127"/>
                  </a:cubicBezTo>
                  <a:lnTo>
                    <a:pt x="107" y="304"/>
                  </a:lnTo>
                  <a:close/>
                  <a:moveTo>
                    <a:pt x="207" y="304"/>
                  </a:moveTo>
                  <a:cubicBezTo>
                    <a:pt x="134" y="304"/>
                    <a:pt x="134" y="304"/>
                    <a:pt x="134" y="304"/>
                  </a:cubicBezTo>
                  <a:cubicBezTo>
                    <a:pt x="134" y="60"/>
                    <a:pt x="134" y="60"/>
                    <a:pt x="134" y="60"/>
                  </a:cubicBezTo>
                  <a:cubicBezTo>
                    <a:pt x="134" y="53"/>
                    <a:pt x="140" y="46"/>
                    <a:pt x="148" y="46"/>
                  </a:cubicBezTo>
                  <a:cubicBezTo>
                    <a:pt x="192" y="46"/>
                    <a:pt x="192" y="46"/>
                    <a:pt x="192" y="46"/>
                  </a:cubicBezTo>
                  <a:cubicBezTo>
                    <a:pt x="200" y="46"/>
                    <a:pt x="207" y="53"/>
                    <a:pt x="207" y="60"/>
                  </a:cubicBezTo>
                  <a:lnTo>
                    <a:pt x="207" y="304"/>
                  </a:lnTo>
                  <a:close/>
                  <a:moveTo>
                    <a:pt x="306" y="304"/>
                  </a:moveTo>
                  <a:cubicBezTo>
                    <a:pt x="234" y="304"/>
                    <a:pt x="234" y="304"/>
                    <a:pt x="234" y="304"/>
                  </a:cubicBezTo>
                  <a:cubicBezTo>
                    <a:pt x="234" y="197"/>
                    <a:pt x="234" y="197"/>
                    <a:pt x="234" y="197"/>
                  </a:cubicBezTo>
                  <a:cubicBezTo>
                    <a:pt x="234" y="189"/>
                    <a:pt x="240" y="182"/>
                    <a:pt x="248" y="182"/>
                  </a:cubicBezTo>
                  <a:cubicBezTo>
                    <a:pt x="292" y="182"/>
                    <a:pt x="292" y="182"/>
                    <a:pt x="292" y="182"/>
                  </a:cubicBezTo>
                  <a:cubicBezTo>
                    <a:pt x="300" y="182"/>
                    <a:pt x="306" y="189"/>
                    <a:pt x="306" y="197"/>
                  </a:cubicBezTo>
                  <a:lnTo>
                    <a:pt x="306" y="304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85" name="Group 137">
            <a:extLst>
              <a:ext uri="{FF2B5EF4-FFF2-40B4-BE49-F238E27FC236}">
                <a16:creationId xmlns:a16="http://schemas.microsoft.com/office/drawing/2014/main" xmlns="" id="{4C91A14B-59F5-47D1-97B3-6B188D5E9259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89098" y="2436873"/>
            <a:ext cx="610174" cy="419245"/>
            <a:chOff x="1785" y="3176"/>
            <a:chExt cx="457" cy="314"/>
          </a:xfrm>
          <a:effectLst>
            <a:outerShdw blurRad="101600" dist="76200" dir="2700000" algn="ctr" rotWithShape="0">
              <a:srgbClr val="000000">
                <a:alpha val="29000"/>
              </a:srgbClr>
            </a:outerShdw>
          </a:effectLst>
        </p:grpSpPr>
        <p:sp>
          <p:nvSpPr>
            <p:cNvPr id="86" name="AutoShape 136">
              <a:extLst>
                <a:ext uri="{FF2B5EF4-FFF2-40B4-BE49-F238E27FC236}">
                  <a16:creationId xmlns:a16="http://schemas.microsoft.com/office/drawing/2014/main" xmlns="" id="{DCCC4D84-E244-413B-A910-46058A8A3F8D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785" y="3176"/>
              <a:ext cx="457" cy="31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87" name="Freeform 138">
              <a:extLst>
                <a:ext uri="{FF2B5EF4-FFF2-40B4-BE49-F238E27FC236}">
                  <a16:creationId xmlns:a16="http://schemas.microsoft.com/office/drawing/2014/main" xmlns="" id="{5A1E2FB7-76EF-475C-BD3E-3FEEEBAF1092}"/>
                </a:ext>
              </a:extLst>
            </p:cNvPr>
            <p:cNvSpPr>
              <a:spLocks/>
            </p:cNvSpPr>
            <p:nvPr/>
          </p:nvSpPr>
          <p:spPr bwMode="auto">
            <a:xfrm>
              <a:off x="1784" y="3175"/>
              <a:ext cx="459" cy="314"/>
            </a:xfrm>
            <a:custGeom>
              <a:avLst/>
              <a:gdLst>
                <a:gd name="T0" fmla="*/ 626 w 626"/>
                <a:gd name="T1" fmla="*/ 278 h 429"/>
                <a:gd name="T2" fmla="*/ 477 w 626"/>
                <a:gd name="T3" fmla="*/ 429 h 429"/>
                <a:gd name="T4" fmla="*/ 337 w 626"/>
                <a:gd name="T5" fmla="*/ 331 h 429"/>
                <a:gd name="T6" fmla="*/ 195 w 626"/>
                <a:gd name="T7" fmla="*/ 394 h 429"/>
                <a:gd name="T8" fmla="*/ 0 w 626"/>
                <a:gd name="T9" fmla="*/ 197 h 429"/>
                <a:gd name="T10" fmla="*/ 195 w 626"/>
                <a:gd name="T11" fmla="*/ 0 h 429"/>
                <a:gd name="T12" fmla="*/ 385 w 626"/>
                <a:gd name="T13" fmla="*/ 159 h 429"/>
                <a:gd name="T14" fmla="*/ 477 w 626"/>
                <a:gd name="T15" fmla="*/ 127 h 429"/>
                <a:gd name="T16" fmla="*/ 626 w 626"/>
                <a:gd name="T17" fmla="*/ 278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26" h="429">
                  <a:moveTo>
                    <a:pt x="626" y="278"/>
                  </a:moveTo>
                  <a:cubicBezTo>
                    <a:pt x="626" y="362"/>
                    <a:pt x="560" y="429"/>
                    <a:pt x="477" y="429"/>
                  </a:cubicBezTo>
                  <a:cubicBezTo>
                    <a:pt x="413" y="429"/>
                    <a:pt x="358" y="388"/>
                    <a:pt x="337" y="331"/>
                  </a:cubicBezTo>
                  <a:cubicBezTo>
                    <a:pt x="302" y="369"/>
                    <a:pt x="251" y="394"/>
                    <a:pt x="195" y="394"/>
                  </a:cubicBezTo>
                  <a:cubicBezTo>
                    <a:pt x="87" y="394"/>
                    <a:pt x="0" y="306"/>
                    <a:pt x="0" y="197"/>
                  </a:cubicBezTo>
                  <a:cubicBezTo>
                    <a:pt x="0" y="88"/>
                    <a:pt x="87" y="0"/>
                    <a:pt x="195" y="0"/>
                  </a:cubicBezTo>
                  <a:cubicBezTo>
                    <a:pt x="289" y="0"/>
                    <a:pt x="368" y="69"/>
                    <a:pt x="385" y="159"/>
                  </a:cubicBezTo>
                  <a:cubicBezTo>
                    <a:pt x="410" y="139"/>
                    <a:pt x="442" y="127"/>
                    <a:pt x="477" y="127"/>
                  </a:cubicBezTo>
                  <a:cubicBezTo>
                    <a:pt x="560" y="127"/>
                    <a:pt x="626" y="195"/>
                    <a:pt x="626" y="27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88" name="Freeform 139">
              <a:extLst>
                <a:ext uri="{FF2B5EF4-FFF2-40B4-BE49-F238E27FC236}">
                  <a16:creationId xmlns:a16="http://schemas.microsoft.com/office/drawing/2014/main" xmlns="" id="{FDD51903-FC68-438F-8D9D-5C8E2036F0E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02" y="3197"/>
              <a:ext cx="425" cy="270"/>
            </a:xfrm>
            <a:custGeom>
              <a:avLst/>
              <a:gdLst>
                <a:gd name="T0" fmla="*/ 319 w 580"/>
                <a:gd name="T1" fmla="*/ 131 h 368"/>
                <a:gd name="T2" fmla="*/ 322 w 580"/>
                <a:gd name="T3" fmla="*/ 83 h 368"/>
                <a:gd name="T4" fmla="*/ 268 w 580"/>
                <a:gd name="T5" fmla="*/ 67 h 368"/>
                <a:gd name="T6" fmla="*/ 264 w 580"/>
                <a:gd name="T7" fmla="*/ 24 h 368"/>
                <a:gd name="T8" fmla="*/ 218 w 580"/>
                <a:gd name="T9" fmla="*/ 35 h 368"/>
                <a:gd name="T10" fmla="*/ 196 w 580"/>
                <a:gd name="T11" fmla="*/ 0 h 368"/>
                <a:gd name="T12" fmla="*/ 159 w 580"/>
                <a:gd name="T13" fmla="*/ 27 h 368"/>
                <a:gd name="T14" fmla="*/ 123 w 580"/>
                <a:gd name="T15" fmla="*/ 12 h 368"/>
                <a:gd name="T16" fmla="*/ 103 w 580"/>
                <a:gd name="T17" fmla="*/ 47 h 368"/>
                <a:gd name="T18" fmla="*/ 69 w 580"/>
                <a:gd name="T19" fmla="*/ 64 h 368"/>
                <a:gd name="T20" fmla="*/ 23 w 580"/>
                <a:gd name="T21" fmla="*/ 86 h 368"/>
                <a:gd name="T22" fmla="*/ 36 w 580"/>
                <a:gd name="T23" fmla="*/ 135 h 368"/>
                <a:gd name="T24" fmla="*/ 0 w 580"/>
                <a:gd name="T25" fmla="*/ 167 h 368"/>
                <a:gd name="T26" fmla="*/ 27 w 580"/>
                <a:gd name="T27" fmla="*/ 202 h 368"/>
                <a:gd name="T28" fmla="*/ 11 w 580"/>
                <a:gd name="T29" fmla="*/ 232 h 368"/>
                <a:gd name="T30" fmla="*/ 56 w 580"/>
                <a:gd name="T31" fmla="*/ 249 h 368"/>
                <a:gd name="T32" fmla="*/ 56 w 580"/>
                <a:gd name="T33" fmla="*/ 289 h 368"/>
                <a:gd name="T34" fmla="*/ 96 w 580"/>
                <a:gd name="T35" fmla="*/ 306 h 368"/>
                <a:gd name="T36" fmla="*/ 129 w 580"/>
                <a:gd name="T37" fmla="*/ 308 h 368"/>
                <a:gd name="T38" fmla="*/ 165 w 580"/>
                <a:gd name="T39" fmla="*/ 334 h 368"/>
                <a:gd name="T40" fmla="*/ 195 w 580"/>
                <a:gd name="T41" fmla="*/ 301 h 368"/>
                <a:gd name="T42" fmla="*/ 237 w 580"/>
                <a:gd name="T43" fmla="*/ 320 h 368"/>
                <a:gd name="T44" fmla="*/ 259 w 580"/>
                <a:gd name="T45" fmla="*/ 269 h 368"/>
                <a:gd name="T46" fmla="*/ 306 w 580"/>
                <a:gd name="T47" fmla="*/ 269 h 368"/>
                <a:gd name="T48" fmla="*/ 295 w 580"/>
                <a:gd name="T49" fmla="*/ 225 h 368"/>
                <a:gd name="T50" fmla="*/ 339 w 580"/>
                <a:gd name="T51" fmla="*/ 207 h 368"/>
                <a:gd name="T52" fmla="*/ 313 w 580"/>
                <a:gd name="T53" fmla="*/ 166 h 368"/>
                <a:gd name="T54" fmla="*/ 117 w 580"/>
                <a:gd name="T55" fmla="*/ 167 h 368"/>
                <a:gd name="T56" fmla="*/ 579 w 580"/>
                <a:gd name="T57" fmla="*/ 228 h 368"/>
                <a:gd name="T58" fmla="*/ 548 w 580"/>
                <a:gd name="T59" fmla="*/ 206 h 368"/>
                <a:gd name="T60" fmla="*/ 558 w 580"/>
                <a:gd name="T61" fmla="*/ 174 h 368"/>
                <a:gd name="T62" fmla="*/ 524 w 580"/>
                <a:gd name="T63" fmla="*/ 167 h 368"/>
                <a:gd name="T64" fmla="*/ 517 w 580"/>
                <a:gd name="T65" fmla="*/ 138 h 368"/>
                <a:gd name="T66" fmla="*/ 486 w 580"/>
                <a:gd name="T67" fmla="*/ 127 h 368"/>
                <a:gd name="T68" fmla="*/ 468 w 580"/>
                <a:gd name="T69" fmla="*/ 123 h 368"/>
                <a:gd name="T70" fmla="*/ 436 w 580"/>
                <a:gd name="T71" fmla="*/ 126 h 368"/>
                <a:gd name="T72" fmla="*/ 415 w 580"/>
                <a:gd name="T73" fmla="*/ 149 h 368"/>
                <a:gd name="T74" fmla="*/ 393 w 580"/>
                <a:gd name="T75" fmla="*/ 149 h 368"/>
                <a:gd name="T76" fmla="*/ 374 w 580"/>
                <a:gd name="T77" fmla="*/ 182 h 368"/>
                <a:gd name="T78" fmla="*/ 340 w 580"/>
                <a:gd name="T79" fmla="*/ 189 h 368"/>
                <a:gd name="T80" fmla="*/ 349 w 580"/>
                <a:gd name="T81" fmla="*/ 223 h 368"/>
                <a:gd name="T82" fmla="*/ 349 w 580"/>
                <a:gd name="T83" fmla="*/ 251 h 368"/>
                <a:gd name="T84" fmla="*/ 340 w 580"/>
                <a:gd name="T85" fmla="*/ 273 h 368"/>
                <a:gd name="T86" fmla="*/ 338 w 580"/>
                <a:gd name="T87" fmla="*/ 293 h 368"/>
                <a:gd name="T88" fmla="*/ 357 w 580"/>
                <a:gd name="T89" fmla="*/ 323 h 368"/>
                <a:gd name="T90" fmla="*/ 379 w 580"/>
                <a:gd name="T91" fmla="*/ 327 h 368"/>
                <a:gd name="T92" fmla="*/ 406 w 580"/>
                <a:gd name="T93" fmla="*/ 359 h 368"/>
                <a:gd name="T94" fmla="*/ 435 w 580"/>
                <a:gd name="T95" fmla="*/ 341 h 368"/>
                <a:gd name="T96" fmla="*/ 461 w 580"/>
                <a:gd name="T97" fmla="*/ 366 h 368"/>
                <a:gd name="T98" fmla="*/ 481 w 580"/>
                <a:gd name="T99" fmla="*/ 339 h 368"/>
                <a:gd name="T100" fmla="*/ 510 w 580"/>
                <a:gd name="T101" fmla="*/ 351 h 368"/>
                <a:gd name="T102" fmla="*/ 520 w 580"/>
                <a:gd name="T103" fmla="*/ 317 h 368"/>
                <a:gd name="T104" fmla="*/ 552 w 580"/>
                <a:gd name="T105" fmla="*/ 318 h 368"/>
                <a:gd name="T106" fmla="*/ 547 w 580"/>
                <a:gd name="T107" fmla="*/ 284 h 368"/>
                <a:gd name="T108" fmla="*/ 574 w 580"/>
                <a:gd name="T109" fmla="*/ 269 h 368"/>
                <a:gd name="T110" fmla="*/ 576 w 580"/>
                <a:gd name="T111" fmla="*/ 234 h 368"/>
                <a:gd name="T112" fmla="*/ 454 w 580"/>
                <a:gd name="T113" fmla="*/ 203 h 3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580" h="368">
                  <a:moveTo>
                    <a:pt x="344" y="147"/>
                  </a:moveTo>
                  <a:cubicBezTo>
                    <a:pt x="342" y="143"/>
                    <a:pt x="342" y="140"/>
                    <a:pt x="342" y="136"/>
                  </a:cubicBezTo>
                  <a:cubicBezTo>
                    <a:pt x="341" y="133"/>
                    <a:pt x="340" y="132"/>
                    <a:pt x="337" y="132"/>
                  </a:cubicBezTo>
                  <a:cubicBezTo>
                    <a:pt x="331" y="132"/>
                    <a:pt x="325" y="130"/>
                    <a:pt x="319" y="131"/>
                  </a:cubicBezTo>
                  <a:cubicBezTo>
                    <a:pt x="308" y="132"/>
                    <a:pt x="304" y="126"/>
                    <a:pt x="301" y="117"/>
                  </a:cubicBezTo>
                  <a:cubicBezTo>
                    <a:pt x="300" y="115"/>
                    <a:pt x="300" y="113"/>
                    <a:pt x="302" y="111"/>
                  </a:cubicBezTo>
                  <a:cubicBezTo>
                    <a:pt x="309" y="104"/>
                    <a:pt x="315" y="97"/>
                    <a:pt x="322" y="90"/>
                  </a:cubicBezTo>
                  <a:cubicBezTo>
                    <a:pt x="324" y="87"/>
                    <a:pt x="325" y="86"/>
                    <a:pt x="322" y="83"/>
                  </a:cubicBezTo>
                  <a:cubicBezTo>
                    <a:pt x="320" y="80"/>
                    <a:pt x="317" y="76"/>
                    <a:pt x="315" y="72"/>
                  </a:cubicBezTo>
                  <a:cubicBezTo>
                    <a:pt x="314" y="70"/>
                    <a:pt x="312" y="70"/>
                    <a:pt x="309" y="71"/>
                  </a:cubicBezTo>
                  <a:cubicBezTo>
                    <a:pt x="301" y="73"/>
                    <a:pt x="292" y="76"/>
                    <a:pt x="284" y="79"/>
                  </a:cubicBezTo>
                  <a:cubicBezTo>
                    <a:pt x="281" y="80"/>
                    <a:pt x="267" y="70"/>
                    <a:pt x="268" y="67"/>
                  </a:cubicBezTo>
                  <a:cubicBezTo>
                    <a:pt x="268" y="66"/>
                    <a:pt x="268" y="64"/>
                    <a:pt x="269" y="63"/>
                  </a:cubicBezTo>
                  <a:cubicBezTo>
                    <a:pt x="271" y="56"/>
                    <a:pt x="274" y="49"/>
                    <a:pt x="276" y="42"/>
                  </a:cubicBezTo>
                  <a:cubicBezTo>
                    <a:pt x="279" y="35"/>
                    <a:pt x="279" y="35"/>
                    <a:pt x="273" y="31"/>
                  </a:cubicBezTo>
                  <a:cubicBezTo>
                    <a:pt x="270" y="28"/>
                    <a:pt x="267" y="27"/>
                    <a:pt x="264" y="24"/>
                  </a:cubicBezTo>
                  <a:cubicBezTo>
                    <a:pt x="262" y="23"/>
                    <a:pt x="261" y="23"/>
                    <a:pt x="259" y="25"/>
                  </a:cubicBezTo>
                  <a:cubicBezTo>
                    <a:pt x="255" y="29"/>
                    <a:pt x="250" y="32"/>
                    <a:pt x="246" y="36"/>
                  </a:cubicBezTo>
                  <a:cubicBezTo>
                    <a:pt x="235" y="46"/>
                    <a:pt x="235" y="46"/>
                    <a:pt x="221" y="40"/>
                  </a:cubicBezTo>
                  <a:cubicBezTo>
                    <a:pt x="219" y="39"/>
                    <a:pt x="218" y="38"/>
                    <a:pt x="218" y="35"/>
                  </a:cubicBezTo>
                  <a:cubicBezTo>
                    <a:pt x="218" y="27"/>
                    <a:pt x="217" y="18"/>
                    <a:pt x="217" y="9"/>
                  </a:cubicBezTo>
                  <a:cubicBezTo>
                    <a:pt x="217" y="6"/>
                    <a:pt x="216" y="5"/>
                    <a:pt x="213" y="4"/>
                  </a:cubicBezTo>
                  <a:cubicBezTo>
                    <a:pt x="208" y="3"/>
                    <a:pt x="203" y="3"/>
                    <a:pt x="198" y="0"/>
                  </a:cubicBezTo>
                  <a:cubicBezTo>
                    <a:pt x="198" y="0"/>
                    <a:pt x="197" y="0"/>
                    <a:pt x="196" y="0"/>
                  </a:cubicBezTo>
                  <a:cubicBezTo>
                    <a:pt x="195" y="1"/>
                    <a:pt x="194" y="2"/>
                    <a:pt x="193" y="4"/>
                  </a:cubicBezTo>
                  <a:cubicBezTo>
                    <a:pt x="190" y="10"/>
                    <a:pt x="187" y="16"/>
                    <a:pt x="184" y="21"/>
                  </a:cubicBezTo>
                  <a:cubicBezTo>
                    <a:pt x="178" y="33"/>
                    <a:pt x="181" y="31"/>
                    <a:pt x="167" y="31"/>
                  </a:cubicBezTo>
                  <a:cubicBezTo>
                    <a:pt x="163" y="32"/>
                    <a:pt x="160" y="30"/>
                    <a:pt x="159" y="27"/>
                  </a:cubicBezTo>
                  <a:cubicBezTo>
                    <a:pt x="156" y="20"/>
                    <a:pt x="152" y="14"/>
                    <a:pt x="149" y="8"/>
                  </a:cubicBezTo>
                  <a:cubicBezTo>
                    <a:pt x="146" y="2"/>
                    <a:pt x="144" y="2"/>
                    <a:pt x="138" y="3"/>
                  </a:cubicBezTo>
                  <a:cubicBezTo>
                    <a:pt x="135" y="3"/>
                    <a:pt x="132" y="3"/>
                    <a:pt x="130" y="4"/>
                  </a:cubicBezTo>
                  <a:cubicBezTo>
                    <a:pt x="124" y="5"/>
                    <a:pt x="123" y="6"/>
                    <a:pt x="123" y="12"/>
                  </a:cubicBezTo>
                  <a:cubicBezTo>
                    <a:pt x="122" y="21"/>
                    <a:pt x="122" y="30"/>
                    <a:pt x="121" y="39"/>
                  </a:cubicBezTo>
                  <a:cubicBezTo>
                    <a:pt x="121" y="42"/>
                    <a:pt x="119" y="44"/>
                    <a:pt x="117" y="45"/>
                  </a:cubicBezTo>
                  <a:cubicBezTo>
                    <a:pt x="115" y="46"/>
                    <a:pt x="113" y="47"/>
                    <a:pt x="110" y="48"/>
                  </a:cubicBezTo>
                  <a:cubicBezTo>
                    <a:pt x="108" y="49"/>
                    <a:pt x="105" y="49"/>
                    <a:pt x="103" y="47"/>
                  </a:cubicBezTo>
                  <a:cubicBezTo>
                    <a:pt x="99" y="44"/>
                    <a:pt x="95" y="41"/>
                    <a:pt x="91" y="39"/>
                  </a:cubicBezTo>
                  <a:cubicBezTo>
                    <a:pt x="76" y="28"/>
                    <a:pt x="81" y="27"/>
                    <a:pt x="64" y="39"/>
                  </a:cubicBezTo>
                  <a:cubicBezTo>
                    <a:pt x="61" y="42"/>
                    <a:pt x="60" y="44"/>
                    <a:pt x="62" y="48"/>
                  </a:cubicBezTo>
                  <a:cubicBezTo>
                    <a:pt x="64" y="53"/>
                    <a:pt x="66" y="59"/>
                    <a:pt x="69" y="64"/>
                  </a:cubicBezTo>
                  <a:cubicBezTo>
                    <a:pt x="74" y="76"/>
                    <a:pt x="75" y="73"/>
                    <a:pt x="65" y="84"/>
                  </a:cubicBezTo>
                  <a:cubicBezTo>
                    <a:pt x="62" y="87"/>
                    <a:pt x="59" y="87"/>
                    <a:pt x="55" y="86"/>
                  </a:cubicBezTo>
                  <a:cubicBezTo>
                    <a:pt x="49" y="84"/>
                    <a:pt x="42" y="83"/>
                    <a:pt x="35" y="81"/>
                  </a:cubicBezTo>
                  <a:cubicBezTo>
                    <a:pt x="29" y="79"/>
                    <a:pt x="27" y="80"/>
                    <a:pt x="23" y="86"/>
                  </a:cubicBezTo>
                  <a:cubicBezTo>
                    <a:pt x="22" y="88"/>
                    <a:pt x="20" y="91"/>
                    <a:pt x="18" y="93"/>
                  </a:cubicBezTo>
                  <a:cubicBezTo>
                    <a:pt x="16" y="96"/>
                    <a:pt x="16" y="99"/>
                    <a:pt x="19" y="102"/>
                  </a:cubicBezTo>
                  <a:cubicBezTo>
                    <a:pt x="23" y="106"/>
                    <a:pt x="28" y="109"/>
                    <a:pt x="32" y="114"/>
                  </a:cubicBezTo>
                  <a:cubicBezTo>
                    <a:pt x="43" y="125"/>
                    <a:pt x="42" y="120"/>
                    <a:pt x="36" y="135"/>
                  </a:cubicBezTo>
                  <a:cubicBezTo>
                    <a:pt x="35" y="138"/>
                    <a:pt x="34" y="140"/>
                    <a:pt x="31" y="140"/>
                  </a:cubicBezTo>
                  <a:cubicBezTo>
                    <a:pt x="24" y="141"/>
                    <a:pt x="17" y="143"/>
                    <a:pt x="11" y="144"/>
                  </a:cubicBezTo>
                  <a:cubicBezTo>
                    <a:pt x="2" y="145"/>
                    <a:pt x="2" y="145"/>
                    <a:pt x="0" y="153"/>
                  </a:cubicBezTo>
                  <a:cubicBezTo>
                    <a:pt x="0" y="158"/>
                    <a:pt x="0" y="162"/>
                    <a:pt x="0" y="167"/>
                  </a:cubicBezTo>
                  <a:cubicBezTo>
                    <a:pt x="11" y="169"/>
                    <a:pt x="21" y="173"/>
                    <a:pt x="31" y="177"/>
                  </a:cubicBezTo>
                  <a:cubicBezTo>
                    <a:pt x="32" y="178"/>
                    <a:pt x="34" y="178"/>
                    <a:pt x="34" y="179"/>
                  </a:cubicBezTo>
                  <a:cubicBezTo>
                    <a:pt x="34" y="185"/>
                    <a:pt x="35" y="191"/>
                    <a:pt x="35" y="196"/>
                  </a:cubicBezTo>
                  <a:cubicBezTo>
                    <a:pt x="34" y="199"/>
                    <a:pt x="30" y="200"/>
                    <a:pt x="27" y="202"/>
                  </a:cubicBezTo>
                  <a:cubicBezTo>
                    <a:pt x="24" y="204"/>
                    <a:pt x="22" y="206"/>
                    <a:pt x="19" y="208"/>
                  </a:cubicBezTo>
                  <a:cubicBezTo>
                    <a:pt x="15" y="211"/>
                    <a:pt x="8" y="212"/>
                    <a:pt x="7" y="217"/>
                  </a:cubicBezTo>
                  <a:cubicBezTo>
                    <a:pt x="5" y="221"/>
                    <a:pt x="9" y="227"/>
                    <a:pt x="11" y="232"/>
                  </a:cubicBezTo>
                  <a:cubicBezTo>
                    <a:pt x="11" y="232"/>
                    <a:pt x="11" y="232"/>
                    <a:pt x="11" y="232"/>
                  </a:cubicBezTo>
                  <a:cubicBezTo>
                    <a:pt x="12" y="235"/>
                    <a:pt x="13" y="236"/>
                    <a:pt x="16" y="235"/>
                  </a:cubicBezTo>
                  <a:cubicBezTo>
                    <a:pt x="23" y="235"/>
                    <a:pt x="30" y="235"/>
                    <a:pt x="37" y="234"/>
                  </a:cubicBezTo>
                  <a:cubicBezTo>
                    <a:pt x="46" y="232"/>
                    <a:pt x="51" y="235"/>
                    <a:pt x="55" y="243"/>
                  </a:cubicBezTo>
                  <a:cubicBezTo>
                    <a:pt x="57" y="245"/>
                    <a:pt x="57" y="247"/>
                    <a:pt x="56" y="249"/>
                  </a:cubicBezTo>
                  <a:cubicBezTo>
                    <a:pt x="51" y="258"/>
                    <a:pt x="47" y="267"/>
                    <a:pt x="42" y="275"/>
                  </a:cubicBezTo>
                  <a:cubicBezTo>
                    <a:pt x="41" y="277"/>
                    <a:pt x="41" y="279"/>
                    <a:pt x="42" y="280"/>
                  </a:cubicBezTo>
                  <a:cubicBezTo>
                    <a:pt x="46" y="283"/>
                    <a:pt x="48" y="289"/>
                    <a:pt x="54" y="290"/>
                  </a:cubicBezTo>
                  <a:cubicBezTo>
                    <a:pt x="54" y="290"/>
                    <a:pt x="55" y="289"/>
                    <a:pt x="56" y="289"/>
                  </a:cubicBezTo>
                  <a:cubicBezTo>
                    <a:pt x="61" y="287"/>
                    <a:pt x="67" y="285"/>
                    <a:pt x="72" y="282"/>
                  </a:cubicBezTo>
                  <a:cubicBezTo>
                    <a:pt x="80" y="276"/>
                    <a:pt x="87" y="277"/>
                    <a:pt x="95" y="283"/>
                  </a:cubicBezTo>
                  <a:cubicBezTo>
                    <a:pt x="97" y="284"/>
                    <a:pt x="98" y="285"/>
                    <a:pt x="97" y="288"/>
                  </a:cubicBezTo>
                  <a:cubicBezTo>
                    <a:pt x="97" y="294"/>
                    <a:pt x="96" y="300"/>
                    <a:pt x="96" y="306"/>
                  </a:cubicBezTo>
                  <a:cubicBezTo>
                    <a:pt x="95" y="320"/>
                    <a:pt x="95" y="320"/>
                    <a:pt x="108" y="325"/>
                  </a:cubicBezTo>
                  <a:cubicBezTo>
                    <a:pt x="108" y="325"/>
                    <a:pt x="109" y="326"/>
                    <a:pt x="110" y="326"/>
                  </a:cubicBezTo>
                  <a:cubicBezTo>
                    <a:pt x="112" y="327"/>
                    <a:pt x="114" y="327"/>
                    <a:pt x="116" y="325"/>
                  </a:cubicBezTo>
                  <a:cubicBezTo>
                    <a:pt x="120" y="319"/>
                    <a:pt x="125" y="314"/>
                    <a:pt x="129" y="308"/>
                  </a:cubicBezTo>
                  <a:cubicBezTo>
                    <a:pt x="134" y="301"/>
                    <a:pt x="140" y="299"/>
                    <a:pt x="148" y="301"/>
                  </a:cubicBezTo>
                  <a:cubicBezTo>
                    <a:pt x="150" y="301"/>
                    <a:pt x="152" y="302"/>
                    <a:pt x="153" y="305"/>
                  </a:cubicBezTo>
                  <a:cubicBezTo>
                    <a:pt x="154" y="310"/>
                    <a:pt x="156" y="315"/>
                    <a:pt x="158" y="319"/>
                  </a:cubicBezTo>
                  <a:cubicBezTo>
                    <a:pt x="161" y="325"/>
                    <a:pt x="161" y="332"/>
                    <a:pt x="165" y="334"/>
                  </a:cubicBezTo>
                  <a:cubicBezTo>
                    <a:pt x="170" y="337"/>
                    <a:pt x="177" y="335"/>
                    <a:pt x="183" y="335"/>
                  </a:cubicBezTo>
                  <a:cubicBezTo>
                    <a:pt x="185" y="335"/>
                    <a:pt x="186" y="334"/>
                    <a:pt x="187" y="331"/>
                  </a:cubicBezTo>
                  <a:cubicBezTo>
                    <a:pt x="188" y="326"/>
                    <a:pt x="189" y="321"/>
                    <a:pt x="190" y="317"/>
                  </a:cubicBezTo>
                  <a:cubicBezTo>
                    <a:pt x="192" y="311"/>
                    <a:pt x="191" y="305"/>
                    <a:pt x="195" y="301"/>
                  </a:cubicBezTo>
                  <a:cubicBezTo>
                    <a:pt x="198" y="298"/>
                    <a:pt x="205" y="299"/>
                    <a:pt x="210" y="297"/>
                  </a:cubicBezTo>
                  <a:cubicBezTo>
                    <a:pt x="212" y="296"/>
                    <a:pt x="214" y="297"/>
                    <a:pt x="215" y="299"/>
                  </a:cubicBezTo>
                  <a:cubicBezTo>
                    <a:pt x="219" y="303"/>
                    <a:pt x="222" y="307"/>
                    <a:pt x="226" y="311"/>
                  </a:cubicBezTo>
                  <a:cubicBezTo>
                    <a:pt x="230" y="314"/>
                    <a:pt x="232" y="320"/>
                    <a:pt x="237" y="320"/>
                  </a:cubicBezTo>
                  <a:cubicBezTo>
                    <a:pt x="241" y="321"/>
                    <a:pt x="246" y="317"/>
                    <a:pt x="250" y="314"/>
                  </a:cubicBezTo>
                  <a:cubicBezTo>
                    <a:pt x="252" y="314"/>
                    <a:pt x="253" y="312"/>
                    <a:pt x="253" y="310"/>
                  </a:cubicBezTo>
                  <a:cubicBezTo>
                    <a:pt x="251" y="304"/>
                    <a:pt x="251" y="298"/>
                    <a:pt x="250" y="292"/>
                  </a:cubicBezTo>
                  <a:cubicBezTo>
                    <a:pt x="247" y="278"/>
                    <a:pt x="247" y="278"/>
                    <a:pt x="259" y="269"/>
                  </a:cubicBezTo>
                  <a:cubicBezTo>
                    <a:pt x="260" y="268"/>
                    <a:pt x="262" y="267"/>
                    <a:pt x="264" y="268"/>
                  </a:cubicBezTo>
                  <a:cubicBezTo>
                    <a:pt x="269" y="271"/>
                    <a:pt x="275" y="273"/>
                    <a:pt x="281" y="275"/>
                  </a:cubicBezTo>
                  <a:cubicBezTo>
                    <a:pt x="285" y="277"/>
                    <a:pt x="291" y="281"/>
                    <a:pt x="295" y="280"/>
                  </a:cubicBezTo>
                  <a:cubicBezTo>
                    <a:pt x="299" y="279"/>
                    <a:pt x="302" y="273"/>
                    <a:pt x="306" y="269"/>
                  </a:cubicBezTo>
                  <a:cubicBezTo>
                    <a:pt x="306" y="269"/>
                    <a:pt x="306" y="269"/>
                    <a:pt x="307" y="269"/>
                  </a:cubicBezTo>
                  <a:cubicBezTo>
                    <a:pt x="309" y="267"/>
                    <a:pt x="308" y="266"/>
                    <a:pt x="307" y="264"/>
                  </a:cubicBezTo>
                  <a:cubicBezTo>
                    <a:pt x="303" y="259"/>
                    <a:pt x="300" y="254"/>
                    <a:pt x="296" y="249"/>
                  </a:cubicBezTo>
                  <a:cubicBezTo>
                    <a:pt x="287" y="237"/>
                    <a:pt x="287" y="238"/>
                    <a:pt x="295" y="225"/>
                  </a:cubicBezTo>
                  <a:cubicBezTo>
                    <a:pt x="296" y="223"/>
                    <a:pt x="298" y="222"/>
                    <a:pt x="300" y="222"/>
                  </a:cubicBezTo>
                  <a:cubicBezTo>
                    <a:pt x="306" y="222"/>
                    <a:pt x="313" y="222"/>
                    <a:pt x="319" y="222"/>
                  </a:cubicBezTo>
                  <a:cubicBezTo>
                    <a:pt x="324" y="221"/>
                    <a:pt x="330" y="223"/>
                    <a:pt x="333" y="221"/>
                  </a:cubicBezTo>
                  <a:cubicBezTo>
                    <a:pt x="336" y="218"/>
                    <a:pt x="337" y="212"/>
                    <a:pt x="339" y="207"/>
                  </a:cubicBezTo>
                  <a:cubicBezTo>
                    <a:pt x="340" y="205"/>
                    <a:pt x="339" y="204"/>
                    <a:pt x="337" y="203"/>
                  </a:cubicBezTo>
                  <a:cubicBezTo>
                    <a:pt x="331" y="199"/>
                    <a:pt x="326" y="195"/>
                    <a:pt x="321" y="192"/>
                  </a:cubicBezTo>
                  <a:cubicBezTo>
                    <a:pt x="311" y="188"/>
                    <a:pt x="308" y="181"/>
                    <a:pt x="310" y="171"/>
                  </a:cubicBezTo>
                  <a:cubicBezTo>
                    <a:pt x="310" y="168"/>
                    <a:pt x="311" y="167"/>
                    <a:pt x="313" y="166"/>
                  </a:cubicBezTo>
                  <a:cubicBezTo>
                    <a:pt x="322" y="162"/>
                    <a:pt x="331" y="158"/>
                    <a:pt x="339" y="155"/>
                  </a:cubicBezTo>
                  <a:cubicBezTo>
                    <a:pt x="344" y="153"/>
                    <a:pt x="345" y="151"/>
                    <a:pt x="344" y="147"/>
                  </a:cubicBezTo>
                  <a:close/>
                  <a:moveTo>
                    <a:pt x="172" y="223"/>
                  </a:moveTo>
                  <a:cubicBezTo>
                    <a:pt x="142" y="223"/>
                    <a:pt x="117" y="198"/>
                    <a:pt x="117" y="167"/>
                  </a:cubicBezTo>
                  <a:cubicBezTo>
                    <a:pt x="117" y="137"/>
                    <a:pt x="142" y="112"/>
                    <a:pt x="173" y="112"/>
                  </a:cubicBezTo>
                  <a:cubicBezTo>
                    <a:pt x="203" y="112"/>
                    <a:pt x="228" y="137"/>
                    <a:pt x="228" y="168"/>
                  </a:cubicBezTo>
                  <a:cubicBezTo>
                    <a:pt x="228" y="199"/>
                    <a:pt x="203" y="223"/>
                    <a:pt x="172" y="223"/>
                  </a:cubicBezTo>
                  <a:close/>
                  <a:moveTo>
                    <a:pt x="579" y="228"/>
                  </a:moveTo>
                  <a:cubicBezTo>
                    <a:pt x="578" y="226"/>
                    <a:pt x="578" y="223"/>
                    <a:pt x="577" y="220"/>
                  </a:cubicBezTo>
                  <a:cubicBezTo>
                    <a:pt x="577" y="218"/>
                    <a:pt x="576" y="218"/>
                    <a:pt x="574" y="217"/>
                  </a:cubicBezTo>
                  <a:cubicBezTo>
                    <a:pt x="570" y="217"/>
                    <a:pt x="565" y="216"/>
                    <a:pt x="561" y="216"/>
                  </a:cubicBezTo>
                  <a:cubicBezTo>
                    <a:pt x="553" y="217"/>
                    <a:pt x="550" y="213"/>
                    <a:pt x="548" y="206"/>
                  </a:cubicBezTo>
                  <a:cubicBezTo>
                    <a:pt x="547" y="205"/>
                    <a:pt x="547" y="204"/>
                    <a:pt x="548" y="202"/>
                  </a:cubicBezTo>
                  <a:cubicBezTo>
                    <a:pt x="553" y="197"/>
                    <a:pt x="558" y="191"/>
                    <a:pt x="563" y="186"/>
                  </a:cubicBezTo>
                  <a:cubicBezTo>
                    <a:pt x="565" y="184"/>
                    <a:pt x="565" y="183"/>
                    <a:pt x="563" y="181"/>
                  </a:cubicBezTo>
                  <a:cubicBezTo>
                    <a:pt x="562" y="179"/>
                    <a:pt x="560" y="176"/>
                    <a:pt x="558" y="174"/>
                  </a:cubicBezTo>
                  <a:cubicBezTo>
                    <a:pt x="557" y="172"/>
                    <a:pt x="556" y="172"/>
                    <a:pt x="554" y="172"/>
                  </a:cubicBezTo>
                  <a:cubicBezTo>
                    <a:pt x="548" y="174"/>
                    <a:pt x="541" y="176"/>
                    <a:pt x="535" y="178"/>
                  </a:cubicBezTo>
                  <a:cubicBezTo>
                    <a:pt x="533" y="179"/>
                    <a:pt x="523" y="172"/>
                    <a:pt x="523" y="169"/>
                  </a:cubicBezTo>
                  <a:cubicBezTo>
                    <a:pt x="523" y="169"/>
                    <a:pt x="524" y="168"/>
                    <a:pt x="524" y="167"/>
                  </a:cubicBezTo>
                  <a:cubicBezTo>
                    <a:pt x="526" y="162"/>
                    <a:pt x="528" y="157"/>
                    <a:pt x="529" y="151"/>
                  </a:cubicBezTo>
                  <a:cubicBezTo>
                    <a:pt x="531" y="146"/>
                    <a:pt x="531" y="146"/>
                    <a:pt x="527" y="143"/>
                  </a:cubicBezTo>
                  <a:cubicBezTo>
                    <a:pt x="525" y="141"/>
                    <a:pt x="522" y="140"/>
                    <a:pt x="520" y="138"/>
                  </a:cubicBezTo>
                  <a:cubicBezTo>
                    <a:pt x="519" y="137"/>
                    <a:pt x="518" y="137"/>
                    <a:pt x="517" y="138"/>
                  </a:cubicBezTo>
                  <a:cubicBezTo>
                    <a:pt x="514" y="141"/>
                    <a:pt x="510" y="144"/>
                    <a:pt x="507" y="147"/>
                  </a:cubicBezTo>
                  <a:cubicBezTo>
                    <a:pt x="499" y="154"/>
                    <a:pt x="499" y="154"/>
                    <a:pt x="489" y="150"/>
                  </a:cubicBezTo>
                  <a:cubicBezTo>
                    <a:pt x="487" y="149"/>
                    <a:pt x="486" y="148"/>
                    <a:pt x="486" y="146"/>
                  </a:cubicBezTo>
                  <a:cubicBezTo>
                    <a:pt x="486" y="140"/>
                    <a:pt x="486" y="134"/>
                    <a:pt x="486" y="127"/>
                  </a:cubicBezTo>
                  <a:cubicBezTo>
                    <a:pt x="486" y="125"/>
                    <a:pt x="485" y="124"/>
                    <a:pt x="483" y="123"/>
                  </a:cubicBezTo>
                  <a:cubicBezTo>
                    <a:pt x="479" y="123"/>
                    <a:pt x="476" y="122"/>
                    <a:pt x="472" y="121"/>
                  </a:cubicBezTo>
                  <a:cubicBezTo>
                    <a:pt x="472" y="121"/>
                    <a:pt x="471" y="121"/>
                    <a:pt x="471" y="121"/>
                  </a:cubicBezTo>
                  <a:cubicBezTo>
                    <a:pt x="470" y="121"/>
                    <a:pt x="469" y="122"/>
                    <a:pt x="468" y="123"/>
                  </a:cubicBezTo>
                  <a:cubicBezTo>
                    <a:pt x="466" y="128"/>
                    <a:pt x="464" y="132"/>
                    <a:pt x="461" y="136"/>
                  </a:cubicBezTo>
                  <a:cubicBezTo>
                    <a:pt x="457" y="145"/>
                    <a:pt x="459" y="143"/>
                    <a:pt x="449" y="143"/>
                  </a:cubicBezTo>
                  <a:cubicBezTo>
                    <a:pt x="446" y="144"/>
                    <a:pt x="444" y="142"/>
                    <a:pt x="443" y="140"/>
                  </a:cubicBezTo>
                  <a:cubicBezTo>
                    <a:pt x="441" y="135"/>
                    <a:pt x="438" y="131"/>
                    <a:pt x="436" y="126"/>
                  </a:cubicBezTo>
                  <a:cubicBezTo>
                    <a:pt x="434" y="122"/>
                    <a:pt x="432" y="121"/>
                    <a:pt x="428" y="122"/>
                  </a:cubicBezTo>
                  <a:cubicBezTo>
                    <a:pt x="426" y="123"/>
                    <a:pt x="424" y="123"/>
                    <a:pt x="422" y="123"/>
                  </a:cubicBezTo>
                  <a:cubicBezTo>
                    <a:pt x="417" y="124"/>
                    <a:pt x="417" y="125"/>
                    <a:pt x="417" y="129"/>
                  </a:cubicBezTo>
                  <a:cubicBezTo>
                    <a:pt x="416" y="136"/>
                    <a:pt x="416" y="143"/>
                    <a:pt x="415" y="149"/>
                  </a:cubicBezTo>
                  <a:cubicBezTo>
                    <a:pt x="415" y="151"/>
                    <a:pt x="414" y="153"/>
                    <a:pt x="412" y="153"/>
                  </a:cubicBezTo>
                  <a:cubicBezTo>
                    <a:pt x="411" y="154"/>
                    <a:pt x="409" y="155"/>
                    <a:pt x="408" y="156"/>
                  </a:cubicBezTo>
                  <a:cubicBezTo>
                    <a:pt x="406" y="157"/>
                    <a:pt x="404" y="156"/>
                    <a:pt x="402" y="155"/>
                  </a:cubicBezTo>
                  <a:cubicBezTo>
                    <a:pt x="399" y="153"/>
                    <a:pt x="396" y="151"/>
                    <a:pt x="393" y="149"/>
                  </a:cubicBezTo>
                  <a:cubicBezTo>
                    <a:pt x="382" y="141"/>
                    <a:pt x="386" y="140"/>
                    <a:pt x="374" y="149"/>
                  </a:cubicBezTo>
                  <a:cubicBezTo>
                    <a:pt x="371" y="151"/>
                    <a:pt x="371" y="153"/>
                    <a:pt x="372" y="156"/>
                  </a:cubicBezTo>
                  <a:cubicBezTo>
                    <a:pt x="374" y="159"/>
                    <a:pt x="375" y="163"/>
                    <a:pt x="377" y="167"/>
                  </a:cubicBezTo>
                  <a:cubicBezTo>
                    <a:pt x="381" y="176"/>
                    <a:pt x="381" y="174"/>
                    <a:pt x="374" y="182"/>
                  </a:cubicBezTo>
                  <a:cubicBezTo>
                    <a:pt x="372" y="184"/>
                    <a:pt x="370" y="184"/>
                    <a:pt x="367" y="184"/>
                  </a:cubicBezTo>
                  <a:cubicBezTo>
                    <a:pt x="362" y="182"/>
                    <a:pt x="357" y="181"/>
                    <a:pt x="352" y="180"/>
                  </a:cubicBezTo>
                  <a:cubicBezTo>
                    <a:pt x="347" y="179"/>
                    <a:pt x="346" y="179"/>
                    <a:pt x="344" y="183"/>
                  </a:cubicBezTo>
                  <a:cubicBezTo>
                    <a:pt x="342" y="185"/>
                    <a:pt x="341" y="187"/>
                    <a:pt x="340" y="189"/>
                  </a:cubicBezTo>
                  <a:cubicBezTo>
                    <a:pt x="338" y="191"/>
                    <a:pt x="339" y="193"/>
                    <a:pt x="341" y="195"/>
                  </a:cubicBezTo>
                  <a:cubicBezTo>
                    <a:pt x="343" y="198"/>
                    <a:pt x="347" y="201"/>
                    <a:pt x="350" y="204"/>
                  </a:cubicBezTo>
                  <a:cubicBezTo>
                    <a:pt x="358" y="212"/>
                    <a:pt x="357" y="209"/>
                    <a:pt x="353" y="220"/>
                  </a:cubicBezTo>
                  <a:cubicBezTo>
                    <a:pt x="353" y="222"/>
                    <a:pt x="351" y="223"/>
                    <a:pt x="349" y="223"/>
                  </a:cubicBezTo>
                  <a:cubicBezTo>
                    <a:pt x="344" y="224"/>
                    <a:pt x="339" y="225"/>
                    <a:pt x="334" y="226"/>
                  </a:cubicBezTo>
                  <a:cubicBezTo>
                    <a:pt x="328" y="227"/>
                    <a:pt x="328" y="227"/>
                    <a:pt x="327" y="233"/>
                  </a:cubicBezTo>
                  <a:cubicBezTo>
                    <a:pt x="327" y="236"/>
                    <a:pt x="327" y="240"/>
                    <a:pt x="327" y="243"/>
                  </a:cubicBezTo>
                  <a:cubicBezTo>
                    <a:pt x="334" y="245"/>
                    <a:pt x="342" y="247"/>
                    <a:pt x="349" y="251"/>
                  </a:cubicBezTo>
                  <a:cubicBezTo>
                    <a:pt x="350" y="251"/>
                    <a:pt x="351" y="251"/>
                    <a:pt x="351" y="252"/>
                  </a:cubicBezTo>
                  <a:cubicBezTo>
                    <a:pt x="352" y="256"/>
                    <a:pt x="352" y="260"/>
                    <a:pt x="352" y="264"/>
                  </a:cubicBezTo>
                  <a:cubicBezTo>
                    <a:pt x="352" y="267"/>
                    <a:pt x="348" y="267"/>
                    <a:pt x="346" y="269"/>
                  </a:cubicBezTo>
                  <a:cubicBezTo>
                    <a:pt x="344" y="270"/>
                    <a:pt x="342" y="271"/>
                    <a:pt x="340" y="273"/>
                  </a:cubicBezTo>
                  <a:cubicBezTo>
                    <a:pt x="337" y="275"/>
                    <a:pt x="332" y="276"/>
                    <a:pt x="331" y="280"/>
                  </a:cubicBezTo>
                  <a:cubicBezTo>
                    <a:pt x="330" y="283"/>
                    <a:pt x="333" y="287"/>
                    <a:pt x="335" y="290"/>
                  </a:cubicBezTo>
                  <a:cubicBezTo>
                    <a:pt x="335" y="291"/>
                    <a:pt x="335" y="291"/>
                    <a:pt x="335" y="291"/>
                  </a:cubicBezTo>
                  <a:cubicBezTo>
                    <a:pt x="335" y="293"/>
                    <a:pt x="336" y="293"/>
                    <a:pt x="338" y="293"/>
                  </a:cubicBezTo>
                  <a:cubicBezTo>
                    <a:pt x="343" y="293"/>
                    <a:pt x="348" y="293"/>
                    <a:pt x="354" y="292"/>
                  </a:cubicBezTo>
                  <a:cubicBezTo>
                    <a:pt x="360" y="291"/>
                    <a:pt x="364" y="293"/>
                    <a:pt x="367" y="299"/>
                  </a:cubicBezTo>
                  <a:cubicBezTo>
                    <a:pt x="368" y="300"/>
                    <a:pt x="369" y="302"/>
                    <a:pt x="368" y="304"/>
                  </a:cubicBezTo>
                  <a:cubicBezTo>
                    <a:pt x="364" y="310"/>
                    <a:pt x="361" y="316"/>
                    <a:pt x="357" y="323"/>
                  </a:cubicBezTo>
                  <a:cubicBezTo>
                    <a:pt x="357" y="324"/>
                    <a:pt x="356" y="325"/>
                    <a:pt x="358" y="326"/>
                  </a:cubicBezTo>
                  <a:cubicBezTo>
                    <a:pt x="361" y="328"/>
                    <a:pt x="362" y="333"/>
                    <a:pt x="366" y="334"/>
                  </a:cubicBezTo>
                  <a:cubicBezTo>
                    <a:pt x="366" y="334"/>
                    <a:pt x="367" y="333"/>
                    <a:pt x="368" y="333"/>
                  </a:cubicBezTo>
                  <a:cubicBezTo>
                    <a:pt x="371" y="331"/>
                    <a:pt x="376" y="330"/>
                    <a:pt x="379" y="327"/>
                  </a:cubicBezTo>
                  <a:cubicBezTo>
                    <a:pt x="385" y="323"/>
                    <a:pt x="391" y="324"/>
                    <a:pt x="396" y="328"/>
                  </a:cubicBezTo>
                  <a:cubicBezTo>
                    <a:pt x="397" y="329"/>
                    <a:pt x="398" y="330"/>
                    <a:pt x="398" y="332"/>
                  </a:cubicBezTo>
                  <a:cubicBezTo>
                    <a:pt x="398" y="336"/>
                    <a:pt x="397" y="341"/>
                    <a:pt x="397" y="345"/>
                  </a:cubicBezTo>
                  <a:cubicBezTo>
                    <a:pt x="396" y="355"/>
                    <a:pt x="396" y="355"/>
                    <a:pt x="406" y="359"/>
                  </a:cubicBezTo>
                  <a:cubicBezTo>
                    <a:pt x="406" y="359"/>
                    <a:pt x="407" y="360"/>
                    <a:pt x="407" y="360"/>
                  </a:cubicBezTo>
                  <a:cubicBezTo>
                    <a:pt x="409" y="361"/>
                    <a:pt x="410" y="360"/>
                    <a:pt x="411" y="359"/>
                  </a:cubicBezTo>
                  <a:cubicBezTo>
                    <a:pt x="415" y="355"/>
                    <a:pt x="419" y="351"/>
                    <a:pt x="421" y="347"/>
                  </a:cubicBezTo>
                  <a:cubicBezTo>
                    <a:pt x="425" y="342"/>
                    <a:pt x="429" y="340"/>
                    <a:pt x="435" y="341"/>
                  </a:cubicBezTo>
                  <a:cubicBezTo>
                    <a:pt x="437" y="342"/>
                    <a:pt x="438" y="342"/>
                    <a:pt x="439" y="344"/>
                  </a:cubicBezTo>
                  <a:cubicBezTo>
                    <a:pt x="440" y="348"/>
                    <a:pt x="441" y="352"/>
                    <a:pt x="443" y="355"/>
                  </a:cubicBezTo>
                  <a:cubicBezTo>
                    <a:pt x="444" y="359"/>
                    <a:pt x="444" y="365"/>
                    <a:pt x="448" y="366"/>
                  </a:cubicBezTo>
                  <a:cubicBezTo>
                    <a:pt x="451" y="368"/>
                    <a:pt x="456" y="366"/>
                    <a:pt x="461" y="366"/>
                  </a:cubicBezTo>
                  <a:cubicBezTo>
                    <a:pt x="463" y="366"/>
                    <a:pt x="463" y="366"/>
                    <a:pt x="464" y="364"/>
                  </a:cubicBezTo>
                  <a:cubicBezTo>
                    <a:pt x="464" y="360"/>
                    <a:pt x="465" y="357"/>
                    <a:pt x="466" y="353"/>
                  </a:cubicBezTo>
                  <a:cubicBezTo>
                    <a:pt x="467" y="349"/>
                    <a:pt x="467" y="344"/>
                    <a:pt x="470" y="342"/>
                  </a:cubicBezTo>
                  <a:cubicBezTo>
                    <a:pt x="472" y="339"/>
                    <a:pt x="477" y="340"/>
                    <a:pt x="481" y="339"/>
                  </a:cubicBezTo>
                  <a:cubicBezTo>
                    <a:pt x="482" y="338"/>
                    <a:pt x="484" y="339"/>
                    <a:pt x="485" y="340"/>
                  </a:cubicBezTo>
                  <a:cubicBezTo>
                    <a:pt x="487" y="343"/>
                    <a:pt x="490" y="346"/>
                    <a:pt x="493" y="349"/>
                  </a:cubicBezTo>
                  <a:cubicBezTo>
                    <a:pt x="495" y="351"/>
                    <a:pt x="497" y="356"/>
                    <a:pt x="500" y="356"/>
                  </a:cubicBezTo>
                  <a:cubicBezTo>
                    <a:pt x="504" y="356"/>
                    <a:pt x="507" y="353"/>
                    <a:pt x="510" y="351"/>
                  </a:cubicBezTo>
                  <a:cubicBezTo>
                    <a:pt x="512" y="351"/>
                    <a:pt x="513" y="350"/>
                    <a:pt x="512" y="348"/>
                  </a:cubicBezTo>
                  <a:cubicBezTo>
                    <a:pt x="511" y="344"/>
                    <a:pt x="511" y="339"/>
                    <a:pt x="510" y="335"/>
                  </a:cubicBezTo>
                  <a:cubicBezTo>
                    <a:pt x="508" y="325"/>
                    <a:pt x="508" y="325"/>
                    <a:pt x="516" y="318"/>
                  </a:cubicBezTo>
                  <a:cubicBezTo>
                    <a:pt x="518" y="317"/>
                    <a:pt x="519" y="317"/>
                    <a:pt x="520" y="317"/>
                  </a:cubicBezTo>
                  <a:cubicBezTo>
                    <a:pt x="525" y="319"/>
                    <a:pt x="529" y="321"/>
                    <a:pt x="533" y="322"/>
                  </a:cubicBezTo>
                  <a:cubicBezTo>
                    <a:pt x="536" y="324"/>
                    <a:pt x="540" y="327"/>
                    <a:pt x="543" y="326"/>
                  </a:cubicBezTo>
                  <a:cubicBezTo>
                    <a:pt x="547" y="325"/>
                    <a:pt x="549" y="321"/>
                    <a:pt x="551" y="318"/>
                  </a:cubicBezTo>
                  <a:cubicBezTo>
                    <a:pt x="552" y="318"/>
                    <a:pt x="552" y="318"/>
                    <a:pt x="552" y="318"/>
                  </a:cubicBezTo>
                  <a:cubicBezTo>
                    <a:pt x="553" y="317"/>
                    <a:pt x="553" y="316"/>
                    <a:pt x="552" y="314"/>
                  </a:cubicBezTo>
                  <a:cubicBezTo>
                    <a:pt x="549" y="311"/>
                    <a:pt x="547" y="307"/>
                    <a:pt x="544" y="303"/>
                  </a:cubicBezTo>
                  <a:cubicBezTo>
                    <a:pt x="538" y="295"/>
                    <a:pt x="538" y="295"/>
                    <a:pt x="543" y="286"/>
                  </a:cubicBezTo>
                  <a:cubicBezTo>
                    <a:pt x="544" y="284"/>
                    <a:pt x="545" y="284"/>
                    <a:pt x="547" y="284"/>
                  </a:cubicBezTo>
                  <a:cubicBezTo>
                    <a:pt x="552" y="284"/>
                    <a:pt x="556" y="283"/>
                    <a:pt x="561" y="283"/>
                  </a:cubicBezTo>
                  <a:cubicBezTo>
                    <a:pt x="564" y="283"/>
                    <a:pt x="569" y="284"/>
                    <a:pt x="571" y="282"/>
                  </a:cubicBezTo>
                  <a:cubicBezTo>
                    <a:pt x="573" y="281"/>
                    <a:pt x="574" y="276"/>
                    <a:pt x="575" y="273"/>
                  </a:cubicBezTo>
                  <a:cubicBezTo>
                    <a:pt x="576" y="271"/>
                    <a:pt x="576" y="270"/>
                    <a:pt x="574" y="269"/>
                  </a:cubicBezTo>
                  <a:cubicBezTo>
                    <a:pt x="570" y="267"/>
                    <a:pt x="566" y="264"/>
                    <a:pt x="562" y="262"/>
                  </a:cubicBezTo>
                  <a:cubicBezTo>
                    <a:pt x="555" y="258"/>
                    <a:pt x="553" y="253"/>
                    <a:pt x="554" y="246"/>
                  </a:cubicBezTo>
                  <a:cubicBezTo>
                    <a:pt x="554" y="244"/>
                    <a:pt x="555" y="243"/>
                    <a:pt x="557" y="242"/>
                  </a:cubicBezTo>
                  <a:cubicBezTo>
                    <a:pt x="563" y="240"/>
                    <a:pt x="569" y="237"/>
                    <a:pt x="576" y="234"/>
                  </a:cubicBezTo>
                  <a:cubicBezTo>
                    <a:pt x="579" y="233"/>
                    <a:pt x="580" y="232"/>
                    <a:pt x="579" y="228"/>
                  </a:cubicBezTo>
                  <a:close/>
                  <a:moveTo>
                    <a:pt x="453" y="284"/>
                  </a:moveTo>
                  <a:cubicBezTo>
                    <a:pt x="431" y="284"/>
                    <a:pt x="413" y="266"/>
                    <a:pt x="413" y="243"/>
                  </a:cubicBezTo>
                  <a:cubicBezTo>
                    <a:pt x="413" y="221"/>
                    <a:pt x="431" y="203"/>
                    <a:pt x="454" y="203"/>
                  </a:cubicBezTo>
                  <a:cubicBezTo>
                    <a:pt x="476" y="203"/>
                    <a:pt x="494" y="221"/>
                    <a:pt x="494" y="244"/>
                  </a:cubicBezTo>
                  <a:cubicBezTo>
                    <a:pt x="494" y="266"/>
                    <a:pt x="476" y="285"/>
                    <a:pt x="453" y="284"/>
                  </a:cubicBez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grpSp>
        <p:nvGrpSpPr>
          <p:cNvPr id="89" name="Group 86">
            <a:extLst>
              <a:ext uri="{FF2B5EF4-FFF2-40B4-BE49-F238E27FC236}">
                <a16:creationId xmlns:a16="http://schemas.microsoft.com/office/drawing/2014/main" xmlns="" id="{B4D7C15C-9DFA-4BC5-8532-54F1EEE601A9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016947" y="2865784"/>
            <a:ext cx="457401" cy="292598"/>
            <a:chOff x="2348" y="1820"/>
            <a:chExt cx="1063" cy="680"/>
          </a:xfrm>
          <a:effectLst>
            <a:outerShdw blurRad="101600" dist="76200" dir="2700000" algn="ctr" rotWithShape="0">
              <a:srgbClr val="000000">
                <a:alpha val="29000"/>
              </a:srgbClr>
            </a:outerShdw>
          </a:effectLst>
        </p:grpSpPr>
        <p:sp>
          <p:nvSpPr>
            <p:cNvPr id="90" name="AutoShape 85">
              <a:extLst>
                <a:ext uri="{FF2B5EF4-FFF2-40B4-BE49-F238E27FC236}">
                  <a16:creationId xmlns:a16="http://schemas.microsoft.com/office/drawing/2014/main" xmlns="" id="{98C22AD7-BC84-4777-8FF9-B875D65EECD4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348" y="1820"/>
              <a:ext cx="1063" cy="6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1" name="Freeform 87">
              <a:extLst>
                <a:ext uri="{FF2B5EF4-FFF2-40B4-BE49-F238E27FC236}">
                  <a16:creationId xmlns:a16="http://schemas.microsoft.com/office/drawing/2014/main" xmlns="" id="{279BAFC6-9D82-4B02-835A-3241C781E94C}"/>
                </a:ext>
              </a:extLst>
            </p:cNvPr>
            <p:cNvSpPr>
              <a:spLocks/>
            </p:cNvSpPr>
            <p:nvPr/>
          </p:nvSpPr>
          <p:spPr bwMode="auto">
            <a:xfrm>
              <a:off x="2350" y="1818"/>
              <a:ext cx="1063" cy="680"/>
            </a:xfrm>
            <a:custGeom>
              <a:avLst/>
              <a:gdLst>
                <a:gd name="T0" fmla="*/ 450 w 450"/>
                <a:gd name="T1" fmla="*/ 46 h 288"/>
                <a:gd name="T2" fmla="*/ 450 w 450"/>
                <a:gd name="T3" fmla="*/ 243 h 288"/>
                <a:gd name="T4" fmla="*/ 404 w 450"/>
                <a:gd name="T5" fmla="*/ 288 h 288"/>
                <a:gd name="T6" fmla="*/ 106 w 450"/>
                <a:gd name="T7" fmla="*/ 288 h 288"/>
                <a:gd name="T8" fmla="*/ 61 w 450"/>
                <a:gd name="T9" fmla="*/ 243 h 288"/>
                <a:gd name="T10" fmla="*/ 61 w 450"/>
                <a:gd name="T11" fmla="*/ 222 h 288"/>
                <a:gd name="T12" fmla="*/ 31 w 450"/>
                <a:gd name="T13" fmla="*/ 189 h 288"/>
                <a:gd name="T14" fmla="*/ 34 w 450"/>
                <a:gd name="T15" fmla="*/ 175 h 288"/>
                <a:gd name="T16" fmla="*/ 18 w 450"/>
                <a:gd name="T17" fmla="*/ 146 h 288"/>
                <a:gd name="T18" fmla="*/ 20 w 450"/>
                <a:gd name="T19" fmla="*/ 134 h 288"/>
                <a:gd name="T20" fmla="*/ 0 w 450"/>
                <a:gd name="T21" fmla="*/ 103 h 288"/>
                <a:gd name="T22" fmla="*/ 33 w 450"/>
                <a:gd name="T23" fmla="*/ 70 h 288"/>
                <a:gd name="T24" fmla="*/ 61 w 450"/>
                <a:gd name="T25" fmla="*/ 70 h 288"/>
                <a:gd name="T26" fmla="*/ 61 w 450"/>
                <a:gd name="T27" fmla="*/ 46 h 288"/>
                <a:gd name="T28" fmla="*/ 106 w 450"/>
                <a:gd name="T29" fmla="*/ 0 h 288"/>
                <a:gd name="T30" fmla="*/ 404 w 450"/>
                <a:gd name="T31" fmla="*/ 0 h 288"/>
                <a:gd name="T32" fmla="*/ 450 w 450"/>
                <a:gd name="T33" fmla="*/ 46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50" h="288">
                  <a:moveTo>
                    <a:pt x="450" y="46"/>
                  </a:moveTo>
                  <a:cubicBezTo>
                    <a:pt x="450" y="243"/>
                    <a:pt x="450" y="243"/>
                    <a:pt x="450" y="243"/>
                  </a:cubicBezTo>
                  <a:cubicBezTo>
                    <a:pt x="450" y="268"/>
                    <a:pt x="429" y="288"/>
                    <a:pt x="404" y="288"/>
                  </a:cubicBezTo>
                  <a:cubicBezTo>
                    <a:pt x="106" y="288"/>
                    <a:pt x="106" y="288"/>
                    <a:pt x="106" y="288"/>
                  </a:cubicBezTo>
                  <a:cubicBezTo>
                    <a:pt x="81" y="288"/>
                    <a:pt x="61" y="268"/>
                    <a:pt x="61" y="243"/>
                  </a:cubicBezTo>
                  <a:cubicBezTo>
                    <a:pt x="61" y="222"/>
                    <a:pt x="61" y="222"/>
                    <a:pt x="61" y="222"/>
                  </a:cubicBezTo>
                  <a:cubicBezTo>
                    <a:pt x="44" y="220"/>
                    <a:pt x="31" y="206"/>
                    <a:pt x="31" y="189"/>
                  </a:cubicBezTo>
                  <a:cubicBezTo>
                    <a:pt x="31" y="184"/>
                    <a:pt x="32" y="179"/>
                    <a:pt x="34" y="175"/>
                  </a:cubicBezTo>
                  <a:cubicBezTo>
                    <a:pt x="24" y="169"/>
                    <a:pt x="18" y="158"/>
                    <a:pt x="18" y="146"/>
                  </a:cubicBezTo>
                  <a:cubicBezTo>
                    <a:pt x="18" y="142"/>
                    <a:pt x="19" y="138"/>
                    <a:pt x="20" y="134"/>
                  </a:cubicBezTo>
                  <a:cubicBezTo>
                    <a:pt x="8" y="129"/>
                    <a:pt x="0" y="117"/>
                    <a:pt x="0" y="103"/>
                  </a:cubicBezTo>
                  <a:cubicBezTo>
                    <a:pt x="0" y="85"/>
                    <a:pt x="15" y="70"/>
                    <a:pt x="33" y="70"/>
                  </a:cubicBezTo>
                  <a:cubicBezTo>
                    <a:pt x="61" y="70"/>
                    <a:pt x="61" y="70"/>
                    <a:pt x="61" y="70"/>
                  </a:cubicBezTo>
                  <a:cubicBezTo>
                    <a:pt x="61" y="46"/>
                    <a:pt x="61" y="46"/>
                    <a:pt x="61" y="46"/>
                  </a:cubicBezTo>
                  <a:cubicBezTo>
                    <a:pt x="61" y="21"/>
                    <a:pt x="81" y="0"/>
                    <a:pt x="106" y="0"/>
                  </a:cubicBezTo>
                  <a:cubicBezTo>
                    <a:pt x="404" y="0"/>
                    <a:pt x="404" y="0"/>
                    <a:pt x="404" y="0"/>
                  </a:cubicBezTo>
                  <a:cubicBezTo>
                    <a:pt x="429" y="0"/>
                    <a:pt x="450" y="21"/>
                    <a:pt x="450" y="4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2" name="Freeform 88">
              <a:extLst>
                <a:ext uri="{FF2B5EF4-FFF2-40B4-BE49-F238E27FC236}">
                  <a16:creationId xmlns:a16="http://schemas.microsoft.com/office/drawing/2014/main" xmlns="" id="{659783F6-65E7-41B0-A1B5-7B48F97BB1C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07" y="1874"/>
              <a:ext cx="950" cy="567"/>
            </a:xfrm>
            <a:custGeom>
              <a:avLst/>
              <a:gdLst>
                <a:gd name="T0" fmla="*/ 9 w 402"/>
                <a:gd name="T1" fmla="*/ 79 h 240"/>
                <a:gd name="T2" fmla="*/ 204 w 402"/>
                <a:gd name="T3" fmla="*/ 79 h 240"/>
                <a:gd name="T4" fmla="*/ 213 w 402"/>
                <a:gd name="T5" fmla="*/ 79 h 240"/>
                <a:gd name="T6" fmla="*/ 204 w 402"/>
                <a:gd name="T7" fmla="*/ 70 h 240"/>
                <a:gd name="T8" fmla="*/ 9 w 402"/>
                <a:gd name="T9" fmla="*/ 70 h 240"/>
                <a:gd name="T10" fmla="*/ 0 w 402"/>
                <a:gd name="T11" fmla="*/ 79 h 240"/>
                <a:gd name="T12" fmla="*/ 9 w 402"/>
                <a:gd name="T13" fmla="*/ 88 h 240"/>
                <a:gd name="T14" fmla="*/ 204 w 402"/>
                <a:gd name="T15" fmla="*/ 88 h 240"/>
                <a:gd name="T16" fmla="*/ 213 w 402"/>
                <a:gd name="T17" fmla="*/ 79 h 240"/>
                <a:gd name="T18" fmla="*/ 27 w 402"/>
                <a:gd name="T19" fmla="*/ 122 h 240"/>
                <a:gd name="T20" fmla="*/ 204 w 402"/>
                <a:gd name="T21" fmla="*/ 122 h 240"/>
                <a:gd name="T22" fmla="*/ 213 w 402"/>
                <a:gd name="T23" fmla="*/ 122 h 240"/>
                <a:gd name="T24" fmla="*/ 204 w 402"/>
                <a:gd name="T25" fmla="*/ 113 h 240"/>
                <a:gd name="T26" fmla="*/ 27 w 402"/>
                <a:gd name="T27" fmla="*/ 113 h 240"/>
                <a:gd name="T28" fmla="*/ 18 w 402"/>
                <a:gd name="T29" fmla="*/ 122 h 240"/>
                <a:gd name="T30" fmla="*/ 27 w 402"/>
                <a:gd name="T31" fmla="*/ 131 h 240"/>
                <a:gd name="T32" fmla="*/ 204 w 402"/>
                <a:gd name="T33" fmla="*/ 131 h 240"/>
                <a:gd name="T34" fmla="*/ 213 w 402"/>
                <a:gd name="T35" fmla="*/ 122 h 240"/>
                <a:gd name="T36" fmla="*/ 204 w 402"/>
                <a:gd name="T37" fmla="*/ 165 h 240"/>
                <a:gd name="T38" fmla="*/ 40 w 402"/>
                <a:gd name="T39" fmla="*/ 165 h 240"/>
                <a:gd name="T40" fmla="*/ 213 w 402"/>
                <a:gd name="T41" fmla="*/ 165 h 240"/>
                <a:gd name="T42" fmla="*/ 204 w 402"/>
                <a:gd name="T43" fmla="*/ 156 h 240"/>
                <a:gd name="T44" fmla="*/ 40 w 402"/>
                <a:gd name="T45" fmla="*/ 156 h 240"/>
                <a:gd name="T46" fmla="*/ 31 w 402"/>
                <a:gd name="T47" fmla="*/ 165 h 240"/>
                <a:gd name="T48" fmla="*/ 40 w 402"/>
                <a:gd name="T49" fmla="*/ 174 h 240"/>
                <a:gd name="T50" fmla="*/ 204 w 402"/>
                <a:gd name="T51" fmla="*/ 174 h 240"/>
                <a:gd name="T52" fmla="*/ 213 w 402"/>
                <a:gd name="T53" fmla="*/ 165 h 240"/>
                <a:gd name="T54" fmla="*/ 380 w 402"/>
                <a:gd name="T55" fmla="*/ 0 h 240"/>
                <a:gd name="T56" fmla="*/ 82 w 402"/>
                <a:gd name="T57" fmla="*/ 0 h 240"/>
                <a:gd name="T58" fmla="*/ 61 w 402"/>
                <a:gd name="T59" fmla="*/ 22 h 240"/>
                <a:gd name="T60" fmla="*/ 61 w 402"/>
                <a:gd name="T61" fmla="*/ 50 h 240"/>
                <a:gd name="T62" fmla="*/ 86 w 402"/>
                <a:gd name="T63" fmla="*/ 50 h 240"/>
                <a:gd name="T64" fmla="*/ 86 w 402"/>
                <a:gd name="T65" fmla="*/ 24 h 240"/>
                <a:gd name="T66" fmla="*/ 377 w 402"/>
                <a:gd name="T67" fmla="*/ 24 h 240"/>
                <a:gd name="T68" fmla="*/ 377 w 402"/>
                <a:gd name="T69" fmla="*/ 216 h 240"/>
                <a:gd name="T70" fmla="*/ 86 w 402"/>
                <a:gd name="T71" fmla="*/ 216 h 240"/>
                <a:gd name="T72" fmla="*/ 86 w 402"/>
                <a:gd name="T73" fmla="*/ 192 h 240"/>
                <a:gd name="T74" fmla="*/ 61 w 402"/>
                <a:gd name="T75" fmla="*/ 192 h 240"/>
                <a:gd name="T76" fmla="*/ 61 w 402"/>
                <a:gd name="T77" fmla="*/ 219 h 240"/>
                <a:gd name="T78" fmla="*/ 82 w 402"/>
                <a:gd name="T79" fmla="*/ 240 h 240"/>
                <a:gd name="T80" fmla="*/ 380 w 402"/>
                <a:gd name="T81" fmla="*/ 240 h 240"/>
                <a:gd name="T82" fmla="*/ 402 w 402"/>
                <a:gd name="T83" fmla="*/ 219 h 240"/>
                <a:gd name="T84" fmla="*/ 402 w 402"/>
                <a:gd name="T85" fmla="*/ 22 h 240"/>
                <a:gd name="T86" fmla="*/ 380 w 402"/>
                <a:gd name="T87" fmla="*/ 0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402" h="240">
                  <a:moveTo>
                    <a:pt x="9" y="79"/>
                  </a:moveTo>
                  <a:cubicBezTo>
                    <a:pt x="204" y="79"/>
                    <a:pt x="204" y="79"/>
                    <a:pt x="204" y="79"/>
                  </a:cubicBezTo>
                  <a:moveTo>
                    <a:pt x="213" y="79"/>
                  </a:moveTo>
                  <a:cubicBezTo>
                    <a:pt x="213" y="74"/>
                    <a:pt x="209" y="70"/>
                    <a:pt x="204" y="70"/>
                  </a:cubicBezTo>
                  <a:cubicBezTo>
                    <a:pt x="9" y="70"/>
                    <a:pt x="9" y="70"/>
                    <a:pt x="9" y="70"/>
                  </a:cubicBezTo>
                  <a:cubicBezTo>
                    <a:pt x="4" y="70"/>
                    <a:pt x="0" y="74"/>
                    <a:pt x="0" y="79"/>
                  </a:cubicBezTo>
                  <a:cubicBezTo>
                    <a:pt x="0" y="84"/>
                    <a:pt x="4" y="88"/>
                    <a:pt x="9" y="88"/>
                  </a:cubicBezTo>
                  <a:cubicBezTo>
                    <a:pt x="204" y="88"/>
                    <a:pt x="204" y="88"/>
                    <a:pt x="204" y="88"/>
                  </a:cubicBezTo>
                  <a:cubicBezTo>
                    <a:pt x="209" y="88"/>
                    <a:pt x="213" y="84"/>
                    <a:pt x="213" y="79"/>
                  </a:cubicBezTo>
                  <a:close/>
                  <a:moveTo>
                    <a:pt x="27" y="122"/>
                  </a:moveTo>
                  <a:cubicBezTo>
                    <a:pt x="204" y="122"/>
                    <a:pt x="204" y="122"/>
                    <a:pt x="204" y="122"/>
                  </a:cubicBezTo>
                  <a:moveTo>
                    <a:pt x="213" y="122"/>
                  </a:moveTo>
                  <a:cubicBezTo>
                    <a:pt x="213" y="117"/>
                    <a:pt x="209" y="113"/>
                    <a:pt x="204" y="113"/>
                  </a:cubicBezTo>
                  <a:cubicBezTo>
                    <a:pt x="27" y="113"/>
                    <a:pt x="27" y="113"/>
                    <a:pt x="27" y="113"/>
                  </a:cubicBezTo>
                  <a:cubicBezTo>
                    <a:pt x="22" y="113"/>
                    <a:pt x="18" y="117"/>
                    <a:pt x="18" y="122"/>
                  </a:cubicBezTo>
                  <a:cubicBezTo>
                    <a:pt x="18" y="127"/>
                    <a:pt x="22" y="131"/>
                    <a:pt x="27" y="131"/>
                  </a:cubicBezTo>
                  <a:cubicBezTo>
                    <a:pt x="204" y="131"/>
                    <a:pt x="204" y="131"/>
                    <a:pt x="204" y="131"/>
                  </a:cubicBezTo>
                  <a:cubicBezTo>
                    <a:pt x="209" y="131"/>
                    <a:pt x="213" y="127"/>
                    <a:pt x="213" y="122"/>
                  </a:cubicBezTo>
                  <a:close/>
                  <a:moveTo>
                    <a:pt x="204" y="165"/>
                  </a:moveTo>
                  <a:cubicBezTo>
                    <a:pt x="40" y="165"/>
                    <a:pt x="40" y="165"/>
                    <a:pt x="40" y="165"/>
                  </a:cubicBezTo>
                  <a:moveTo>
                    <a:pt x="213" y="165"/>
                  </a:moveTo>
                  <a:cubicBezTo>
                    <a:pt x="213" y="160"/>
                    <a:pt x="209" y="156"/>
                    <a:pt x="204" y="156"/>
                  </a:cubicBezTo>
                  <a:cubicBezTo>
                    <a:pt x="40" y="156"/>
                    <a:pt x="40" y="156"/>
                    <a:pt x="40" y="156"/>
                  </a:cubicBezTo>
                  <a:cubicBezTo>
                    <a:pt x="35" y="156"/>
                    <a:pt x="31" y="160"/>
                    <a:pt x="31" y="165"/>
                  </a:cubicBezTo>
                  <a:cubicBezTo>
                    <a:pt x="31" y="170"/>
                    <a:pt x="35" y="174"/>
                    <a:pt x="40" y="174"/>
                  </a:cubicBezTo>
                  <a:cubicBezTo>
                    <a:pt x="204" y="174"/>
                    <a:pt x="204" y="174"/>
                    <a:pt x="204" y="174"/>
                  </a:cubicBezTo>
                  <a:cubicBezTo>
                    <a:pt x="209" y="174"/>
                    <a:pt x="213" y="170"/>
                    <a:pt x="213" y="165"/>
                  </a:cubicBezTo>
                  <a:close/>
                  <a:moveTo>
                    <a:pt x="380" y="0"/>
                  </a:moveTo>
                  <a:cubicBezTo>
                    <a:pt x="82" y="0"/>
                    <a:pt x="82" y="0"/>
                    <a:pt x="82" y="0"/>
                  </a:cubicBezTo>
                  <a:cubicBezTo>
                    <a:pt x="71" y="0"/>
                    <a:pt x="61" y="10"/>
                    <a:pt x="61" y="22"/>
                  </a:cubicBezTo>
                  <a:cubicBezTo>
                    <a:pt x="61" y="50"/>
                    <a:pt x="61" y="50"/>
                    <a:pt x="61" y="50"/>
                  </a:cubicBezTo>
                  <a:cubicBezTo>
                    <a:pt x="86" y="50"/>
                    <a:pt x="86" y="50"/>
                    <a:pt x="86" y="50"/>
                  </a:cubicBezTo>
                  <a:cubicBezTo>
                    <a:pt x="86" y="24"/>
                    <a:pt x="86" y="24"/>
                    <a:pt x="86" y="24"/>
                  </a:cubicBezTo>
                  <a:cubicBezTo>
                    <a:pt x="377" y="24"/>
                    <a:pt x="377" y="24"/>
                    <a:pt x="377" y="24"/>
                  </a:cubicBezTo>
                  <a:cubicBezTo>
                    <a:pt x="377" y="216"/>
                    <a:pt x="377" y="216"/>
                    <a:pt x="377" y="216"/>
                  </a:cubicBezTo>
                  <a:cubicBezTo>
                    <a:pt x="86" y="216"/>
                    <a:pt x="86" y="216"/>
                    <a:pt x="86" y="216"/>
                  </a:cubicBezTo>
                  <a:cubicBezTo>
                    <a:pt x="86" y="192"/>
                    <a:pt x="86" y="192"/>
                    <a:pt x="86" y="192"/>
                  </a:cubicBezTo>
                  <a:cubicBezTo>
                    <a:pt x="61" y="192"/>
                    <a:pt x="61" y="192"/>
                    <a:pt x="61" y="192"/>
                  </a:cubicBezTo>
                  <a:cubicBezTo>
                    <a:pt x="61" y="219"/>
                    <a:pt x="61" y="219"/>
                    <a:pt x="61" y="219"/>
                  </a:cubicBezTo>
                  <a:cubicBezTo>
                    <a:pt x="61" y="230"/>
                    <a:pt x="71" y="240"/>
                    <a:pt x="82" y="240"/>
                  </a:cubicBezTo>
                  <a:cubicBezTo>
                    <a:pt x="380" y="240"/>
                    <a:pt x="380" y="240"/>
                    <a:pt x="380" y="240"/>
                  </a:cubicBezTo>
                  <a:cubicBezTo>
                    <a:pt x="392" y="240"/>
                    <a:pt x="402" y="230"/>
                    <a:pt x="402" y="219"/>
                  </a:cubicBezTo>
                  <a:cubicBezTo>
                    <a:pt x="402" y="22"/>
                    <a:pt x="402" y="22"/>
                    <a:pt x="402" y="22"/>
                  </a:cubicBezTo>
                  <a:cubicBezTo>
                    <a:pt x="402" y="10"/>
                    <a:pt x="392" y="0"/>
                    <a:pt x="380" y="0"/>
                  </a:cubicBez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93" name="Group 92">
            <a:extLst>
              <a:ext uri="{FF2B5EF4-FFF2-40B4-BE49-F238E27FC236}">
                <a16:creationId xmlns:a16="http://schemas.microsoft.com/office/drawing/2014/main" xmlns="" id="{CAC10E75-FE10-4C74-A0CD-8C77381DF5EC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875223" y="2854783"/>
            <a:ext cx="378213" cy="325739"/>
            <a:chOff x="2423" y="2224"/>
            <a:chExt cx="382" cy="329"/>
          </a:xfrm>
          <a:effectLst>
            <a:outerShdw blurRad="101600" dist="76200" dir="2700000" algn="ctr" rotWithShape="0">
              <a:srgbClr val="000000">
                <a:alpha val="29000"/>
              </a:srgbClr>
            </a:outerShdw>
          </a:effectLst>
        </p:grpSpPr>
        <p:sp>
          <p:nvSpPr>
            <p:cNvPr id="94" name="AutoShape 91">
              <a:extLst>
                <a:ext uri="{FF2B5EF4-FFF2-40B4-BE49-F238E27FC236}">
                  <a16:creationId xmlns:a16="http://schemas.microsoft.com/office/drawing/2014/main" xmlns="" id="{A6FE23CE-1A6A-425E-B9A8-D1A721DA3DB8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423" y="2224"/>
              <a:ext cx="382" cy="32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5" name="Freeform 93">
              <a:extLst>
                <a:ext uri="{FF2B5EF4-FFF2-40B4-BE49-F238E27FC236}">
                  <a16:creationId xmlns:a16="http://schemas.microsoft.com/office/drawing/2014/main" xmlns="" id="{102971DA-192C-4D97-8762-411D5262A63D}"/>
                </a:ext>
              </a:extLst>
            </p:cNvPr>
            <p:cNvSpPr>
              <a:spLocks/>
            </p:cNvSpPr>
            <p:nvPr/>
          </p:nvSpPr>
          <p:spPr bwMode="auto">
            <a:xfrm>
              <a:off x="2422" y="2223"/>
              <a:ext cx="383" cy="330"/>
            </a:xfrm>
            <a:custGeom>
              <a:avLst/>
              <a:gdLst>
                <a:gd name="T0" fmla="*/ 388 w 388"/>
                <a:gd name="T1" fmla="*/ 92 h 334"/>
                <a:gd name="T2" fmla="*/ 388 w 388"/>
                <a:gd name="T3" fmla="*/ 289 h 334"/>
                <a:gd name="T4" fmla="*/ 343 w 388"/>
                <a:gd name="T5" fmla="*/ 334 h 334"/>
                <a:gd name="T6" fmla="*/ 45 w 388"/>
                <a:gd name="T7" fmla="*/ 334 h 334"/>
                <a:gd name="T8" fmla="*/ 0 w 388"/>
                <a:gd name="T9" fmla="*/ 289 h 334"/>
                <a:gd name="T10" fmla="*/ 0 w 388"/>
                <a:gd name="T11" fmla="*/ 92 h 334"/>
                <a:gd name="T12" fmla="*/ 45 w 388"/>
                <a:gd name="T13" fmla="*/ 47 h 334"/>
                <a:gd name="T14" fmla="*/ 113 w 388"/>
                <a:gd name="T15" fmla="*/ 47 h 334"/>
                <a:gd name="T16" fmla="*/ 113 w 388"/>
                <a:gd name="T17" fmla="*/ 0 h 334"/>
                <a:gd name="T18" fmla="*/ 275 w 388"/>
                <a:gd name="T19" fmla="*/ 0 h 334"/>
                <a:gd name="T20" fmla="*/ 275 w 388"/>
                <a:gd name="T21" fmla="*/ 47 h 334"/>
                <a:gd name="T22" fmla="*/ 343 w 388"/>
                <a:gd name="T23" fmla="*/ 47 h 334"/>
                <a:gd name="T24" fmla="*/ 388 w 388"/>
                <a:gd name="T25" fmla="*/ 92 h 3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88" h="334">
                  <a:moveTo>
                    <a:pt x="388" y="92"/>
                  </a:moveTo>
                  <a:cubicBezTo>
                    <a:pt x="388" y="289"/>
                    <a:pt x="388" y="289"/>
                    <a:pt x="388" y="289"/>
                  </a:cubicBezTo>
                  <a:cubicBezTo>
                    <a:pt x="388" y="314"/>
                    <a:pt x="368" y="334"/>
                    <a:pt x="343" y="334"/>
                  </a:cubicBezTo>
                  <a:cubicBezTo>
                    <a:pt x="45" y="334"/>
                    <a:pt x="45" y="334"/>
                    <a:pt x="45" y="334"/>
                  </a:cubicBezTo>
                  <a:cubicBezTo>
                    <a:pt x="20" y="334"/>
                    <a:pt x="0" y="314"/>
                    <a:pt x="0" y="289"/>
                  </a:cubicBezTo>
                  <a:cubicBezTo>
                    <a:pt x="0" y="92"/>
                    <a:pt x="0" y="92"/>
                    <a:pt x="0" y="92"/>
                  </a:cubicBezTo>
                  <a:cubicBezTo>
                    <a:pt x="0" y="67"/>
                    <a:pt x="20" y="47"/>
                    <a:pt x="45" y="47"/>
                  </a:cubicBezTo>
                  <a:cubicBezTo>
                    <a:pt x="113" y="47"/>
                    <a:pt x="113" y="47"/>
                    <a:pt x="113" y="47"/>
                  </a:cubicBezTo>
                  <a:cubicBezTo>
                    <a:pt x="113" y="0"/>
                    <a:pt x="113" y="0"/>
                    <a:pt x="113" y="0"/>
                  </a:cubicBezTo>
                  <a:cubicBezTo>
                    <a:pt x="275" y="0"/>
                    <a:pt x="275" y="0"/>
                    <a:pt x="275" y="0"/>
                  </a:cubicBezTo>
                  <a:cubicBezTo>
                    <a:pt x="275" y="47"/>
                    <a:pt x="275" y="47"/>
                    <a:pt x="275" y="47"/>
                  </a:cubicBezTo>
                  <a:cubicBezTo>
                    <a:pt x="343" y="47"/>
                    <a:pt x="343" y="47"/>
                    <a:pt x="343" y="47"/>
                  </a:cubicBezTo>
                  <a:cubicBezTo>
                    <a:pt x="368" y="47"/>
                    <a:pt x="388" y="67"/>
                    <a:pt x="388" y="9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6" name="Freeform 94">
              <a:extLst>
                <a:ext uri="{FF2B5EF4-FFF2-40B4-BE49-F238E27FC236}">
                  <a16:creationId xmlns:a16="http://schemas.microsoft.com/office/drawing/2014/main" xmlns="" id="{98352017-CBF1-4874-99D7-53CF7613617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46" y="2247"/>
              <a:ext cx="335" cy="282"/>
            </a:xfrm>
            <a:custGeom>
              <a:avLst/>
              <a:gdLst>
                <a:gd name="T0" fmla="*/ 269 w 340"/>
                <a:gd name="T1" fmla="*/ 89 h 286"/>
                <a:gd name="T2" fmla="*/ 170 w 340"/>
                <a:gd name="T3" fmla="*/ 194 h 286"/>
                <a:gd name="T4" fmla="*/ 71 w 340"/>
                <a:gd name="T5" fmla="*/ 89 h 286"/>
                <a:gd name="T6" fmla="*/ 113 w 340"/>
                <a:gd name="T7" fmla="*/ 89 h 286"/>
                <a:gd name="T8" fmla="*/ 113 w 340"/>
                <a:gd name="T9" fmla="*/ 0 h 286"/>
                <a:gd name="T10" fmla="*/ 227 w 340"/>
                <a:gd name="T11" fmla="*/ 0 h 286"/>
                <a:gd name="T12" fmla="*/ 227 w 340"/>
                <a:gd name="T13" fmla="*/ 89 h 286"/>
                <a:gd name="T14" fmla="*/ 269 w 340"/>
                <a:gd name="T15" fmla="*/ 89 h 286"/>
                <a:gd name="T16" fmla="*/ 319 w 340"/>
                <a:gd name="T17" fmla="*/ 47 h 286"/>
                <a:gd name="T18" fmla="*/ 246 w 340"/>
                <a:gd name="T19" fmla="*/ 47 h 286"/>
                <a:gd name="T20" fmla="*/ 246 w 340"/>
                <a:gd name="T21" fmla="*/ 71 h 286"/>
                <a:gd name="T22" fmla="*/ 315 w 340"/>
                <a:gd name="T23" fmla="*/ 71 h 286"/>
                <a:gd name="T24" fmla="*/ 315 w 340"/>
                <a:gd name="T25" fmla="*/ 262 h 286"/>
                <a:gd name="T26" fmla="*/ 25 w 340"/>
                <a:gd name="T27" fmla="*/ 262 h 286"/>
                <a:gd name="T28" fmla="*/ 25 w 340"/>
                <a:gd name="T29" fmla="*/ 71 h 286"/>
                <a:gd name="T30" fmla="*/ 94 w 340"/>
                <a:gd name="T31" fmla="*/ 71 h 286"/>
                <a:gd name="T32" fmla="*/ 94 w 340"/>
                <a:gd name="T33" fmla="*/ 47 h 286"/>
                <a:gd name="T34" fmla="*/ 21 w 340"/>
                <a:gd name="T35" fmla="*/ 47 h 286"/>
                <a:gd name="T36" fmla="*/ 0 w 340"/>
                <a:gd name="T37" fmla="*/ 68 h 286"/>
                <a:gd name="T38" fmla="*/ 0 w 340"/>
                <a:gd name="T39" fmla="*/ 265 h 286"/>
                <a:gd name="T40" fmla="*/ 21 w 340"/>
                <a:gd name="T41" fmla="*/ 286 h 286"/>
                <a:gd name="T42" fmla="*/ 319 w 340"/>
                <a:gd name="T43" fmla="*/ 286 h 286"/>
                <a:gd name="T44" fmla="*/ 340 w 340"/>
                <a:gd name="T45" fmla="*/ 265 h 286"/>
                <a:gd name="T46" fmla="*/ 340 w 340"/>
                <a:gd name="T47" fmla="*/ 68 h 286"/>
                <a:gd name="T48" fmla="*/ 319 w 340"/>
                <a:gd name="T49" fmla="*/ 47 h 2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340" h="286">
                  <a:moveTo>
                    <a:pt x="269" y="89"/>
                  </a:moveTo>
                  <a:cubicBezTo>
                    <a:pt x="170" y="194"/>
                    <a:pt x="170" y="194"/>
                    <a:pt x="170" y="194"/>
                  </a:cubicBezTo>
                  <a:cubicBezTo>
                    <a:pt x="71" y="89"/>
                    <a:pt x="71" y="89"/>
                    <a:pt x="71" y="89"/>
                  </a:cubicBezTo>
                  <a:cubicBezTo>
                    <a:pt x="113" y="89"/>
                    <a:pt x="113" y="89"/>
                    <a:pt x="113" y="89"/>
                  </a:cubicBezTo>
                  <a:cubicBezTo>
                    <a:pt x="113" y="0"/>
                    <a:pt x="113" y="0"/>
                    <a:pt x="113" y="0"/>
                  </a:cubicBezTo>
                  <a:cubicBezTo>
                    <a:pt x="227" y="0"/>
                    <a:pt x="227" y="0"/>
                    <a:pt x="227" y="0"/>
                  </a:cubicBezTo>
                  <a:cubicBezTo>
                    <a:pt x="227" y="89"/>
                    <a:pt x="227" y="89"/>
                    <a:pt x="227" y="89"/>
                  </a:cubicBezTo>
                  <a:lnTo>
                    <a:pt x="269" y="89"/>
                  </a:lnTo>
                  <a:close/>
                  <a:moveTo>
                    <a:pt x="319" y="47"/>
                  </a:moveTo>
                  <a:cubicBezTo>
                    <a:pt x="246" y="47"/>
                    <a:pt x="246" y="47"/>
                    <a:pt x="246" y="47"/>
                  </a:cubicBezTo>
                  <a:cubicBezTo>
                    <a:pt x="246" y="71"/>
                    <a:pt x="246" y="71"/>
                    <a:pt x="246" y="71"/>
                  </a:cubicBezTo>
                  <a:cubicBezTo>
                    <a:pt x="315" y="71"/>
                    <a:pt x="315" y="71"/>
                    <a:pt x="315" y="71"/>
                  </a:cubicBezTo>
                  <a:cubicBezTo>
                    <a:pt x="315" y="262"/>
                    <a:pt x="315" y="262"/>
                    <a:pt x="315" y="262"/>
                  </a:cubicBezTo>
                  <a:cubicBezTo>
                    <a:pt x="25" y="262"/>
                    <a:pt x="25" y="262"/>
                    <a:pt x="25" y="262"/>
                  </a:cubicBezTo>
                  <a:cubicBezTo>
                    <a:pt x="25" y="71"/>
                    <a:pt x="25" y="71"/>
                    <a:pt x="25" y="71"/>
                  </a:cubicBezTo>
                  <a:cubicBezTo>
                    <a:pt x="94" y="71"/>
                    <a:pt x="94" y="71"/>
                    <a:pt x="94" y="71"/>
                  </a:cubicBezTo>
                  <a:cubicBezTo>
                    <a:pt x="94" y="47"/>
                    <a:pt x="94" y="47"/>
                    <a:pt x="94" y="47"/>
                  </a:cubicBezTo>
                  <a:cubicBezTo>
                    <a:pt x="21" y="47"/>
                    <a:pt x="21" y="47"/>
                    <a:pt x="21" y="47"/>
                  </a:cubicBezTo>
                  <a:cubicBezTo>
                    <a:pt x="10" y="47"/>
                    <a:pt x="0" y="56"/>
                    <a:pt x="0" y="68"/>
                  </a:cubicBezTo>
                  <a:cubicBezTo>
                    <a:pt x="0" y="265"/>
                    <a:pt x="0" y="265"/>
                    <a:pt x="0" y="265"/>
                  </a:cubicBezTo>
                  <a:cubicBezTo>
                    <a:pt x="0" y="277"/>
                    <a:pt x="10" y="286"/>
                    <a:pt x="21" y="286"/>
                  </a:cubicBezTo>
                  <a:cubicBezTo>
                    <a:pt x="319" y="286"/>
                    <a:pt x="319" y="286"/>
                    <a:pt x="319" y="286"/>
                  </a:cubicBezTo>
                  <a:cubicBezTo>
                    <a:pt x="331" y="286"/>
                    <a:pt x="340" y="277"/>
                    <a:pt x="340" y="265"/>
                  </a:cubicBezTo>
                  <a:cubicBezTo>
                    <a:pt x="340" y="68"/>
                    <a:pt x="340" y="68"/>
                    <a:pt x="340" y="68"/>
                  </a:cubicBezTo>
                  <a:cubicBezTo>
                    <a:pt x="340" y="56"/>
                    <a:pt x="331" y="47"/>
                    <a:pt x="319" y="47"/>
                  </a:cubicBez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97" name="Group 98">
            <a:extLst>
              <a:ext uri="{FF2B5EF4-FFF2-40B4-BE49-F238E27FC236}">
                <a16:creationId xmlns:a16="http://schemas.microsoft.com/office/drawing/2014/main" xmlns="" id="{1C9F8482-FAE1-482B-AEDD-0B83400EF8F6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8408093" y="2766882"/>
            <a:ext cx="373263" cy="410886"/>
            <a:chOff x="3356" y="934"/>
            <a:chExt cx="377" cy="415"/>
          </a:xfrm>
          <a:effectLst>
            <a:outerShdw blurRad="101600" dist="76200" dir="2700000" algn="ctr" rotWithShape="0">
              <a:srgbClr val="000000">
                <a:alpha val="29000"/>
              </a:srgbClr>
            </a:outerShdw>
          </a:effectLst>
        </p:grpSpPr>
        <p:sp>
          <p:nvSpPr>
            <p:cNvPr id="98" name="AutoShape 97">
              <a:extLst>
                <a:ext uri="{FF2B5EF4-FFF2-40B4-BE49-F238E27FC236}">
                  <a16:creationId xmlns:a16="http://schemas.microsoft.com/office/drawing/2014/main" xmlns="" id="{262A554C-5794-4E02-8172-EF606F1B176C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356" y="934"/>
              <a:ext cx="377" cy="41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9" name="Freeform 99">
              <a:extLst>
                <a:ext uri="{FF2B5EF4-FFF2-40B4-BE49-F238E27FC236}">
                  <a16:creationId xmlns:a16="http://schemas.microsoft.com/office/drawing/2014/main" xmlns="" id="{F6221BD8-0224-46E8-982A-A558064347EB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5" y="934"/>
              <a:ext cx="378" cy="414"/>
            </a:xfrm>
            <a:custGeom>
              <a:avLst/>
              <a:gdLst>
                <a:gd name="T0" fmla="*/ 388 w 388"/>
                <a:gd name="T1" fmla="*/ 183 h 425"/>
                <a:gd name="T2" fmla="*/ 388 w 388"/>
                <a:gd name="T3" fmla="*/ 380 h 425"/>
                <a:gd name="T4" fmla="*/ 343 w 388"/>
                <a:gd name="T5" fmla="*/ 425 h 425"/>
                <a:gd name="T6" fmla="*/ 45 w 388"/>
                <a:gd name="T7" fmla="*/ 425 h 425"/>
                <a:gd name="T8" fmla="*/ 0 w 388"/>
                <a:gd name="T9" fmla="*/ 380 h 425"/>
                <a:gd name="T10" fmla="*/ 0 w 388"/>
                <a:gd name="T11" fmla="*/ 183 h 425"/>
                <a:gd name="T12" fmla="*/ 45 w 388"/>
                <a:gd name="T13" fmla="*/ 138 h 425"/>
                <a:gd name="T14" fmla="*/ 64 w 388"/>
                <a:gd name="T15" fmla="*/ 138 h 425"/>
                <a:gd name="T16" fmla="*/ 194 w 388"/>
                <a:gd name="T17" fmla="*/ 0 h 425"/>
                <a:gd name="T18" fmla="*/ 324 w 388"/>
                <a:gd name="T19" fmla="*/ 138 h 425"/>
                <a:gd name="T20" fmla="*/ 343 w 388"/>
                <a:gd name="T21" fmla="*/ 138 h 425"/>
                <a:gd name="T22" fmla="*/ 388 w 388"/>
                <a:gd name="T23" fmla="*/ 183 h 4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88" h="425">
                  <a:moveTo>
                    <a:pt x="388" y="183"/>
                  </a:moveTo>
                  <a:cubicBezTo>
                    <a:pt x="388" y="380"/>
                    <a:pt x="388" y="380"/>
                    <a:pt x="388" y="380"/>
                  </a:cubicBezTo>
                  <a:cubicBezTo>
                    <a:pt x="388" y="405"/>
                    <a:pt x="368" y="425"/>
                    <a:pt x="343" y="425"/>
                  </a:cubicBezTo>
                  <a:cubicBezTo>
                    <a:pt x="45" y="425"/>
                    <a:pt x="45" y="425"/>
                    <a:pt x="45" y="425"/>
                  </a:cubicBezTo>
                  <a:cubicBezTo>
                    <a:pt x="20" y="425"/>
                    <a:pt x="0" y="405"/>
                    <a:pt x="0" y="380"/>
                  </a:cubicBezTo>
                  <a:cubicBezTo>
                    <a:pt x="0" y="183"/>
                    <a:pt x="0" y="183"/>
                    <a:pt x="0" y="183"/>
                  </a:cubicBezTo>
                  <a:cubicBezTo>
                    <a:pt x="0" y="158"/>
                    <a:pt x="20" y="138"/>
                    <a:pt x="45" y="138"/>
                  </a:cubicBezTo>
                  <a:cubicBezTo>
                    <a:pt x="64" y="138"/>
                    <a:pt x="64" y="138"/>
                    <a:pt x="64" y="138"/>
                  </a:cubicBezTo>
                  <a:cubicBezTo>
                    <a:pt x="194" y="0"/>
                    <a:pt x="194" y="0"/>
                    <a:pt x="194" y="0"/>
                  </a:cubicBezTo>
                  <a:cubicBezTo>
                    <a:pt x="324" y="138"/>
                    <a:pt x="324" y="138"/>
                    <a:pt x="324" y="138"/>
                  </a:cubicBezTo>
                  <a:cubicBezTo>
                    <a:pt x="343" y="138"/>
                    <a:pt x="343" y="138"/>
                    <a:pt x="343" y="138"/>
                  </a:cubicBezTo>
                  <a:cubicBezTo>
                    <a:pt x="368" y="138"/>
                    <a:pt x="388" y="158"/>
                    <a:pt x="388" y="18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0" name="Freeform 100">
              <a:extLst>
                <a:ext uri="{FF2B5EF4-FFF2-40B4-BE49-F238E27FC236}">
                  <a16:creationId xmlns:a16="http://schemas.microsoft.com/office/drawing/2014/main" xmlns="" id="{7F7C8D04-775D-4EF1-A331-14BF66E93C9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78" y="968"/>
              <a:ext cx="332" cy="357"/>
            </a:xfrm>
            <a:custGeom>
              <a:avLst/>
              <a:gdLst>
                <a:gd name="T0" fmla="*/ 71 w 340"/>
                <a:gd name="T1" fmla="*/ 105 h 366"/>
                <a:gd name="T2" fmla="*/ 170 w 340"/>
                <a:gd name="T3" fmla="*/ 0 h 366"/>
                <a:gd name="T4" fmla="*/ 269 w 340"/>
                <a:gd name="T5" fmla="*/ 105 h 366"/>
                <a:gd name="T6" fmla="*/ 227 w 340"/>
                <a:gd name="T7" fmla="*/ 105 h 366"/>
                <a:gd name="T8" fmla="*/ 227 w 340"/>
                <a:gd name="T9" fmla="*/ 193 h 366"/>
                <a:gd name="T10" fmla="*/ 113 w 340"/>
                <a:gd name="T11" fmla="*/ 193 h 366"/>
                <a:gd name="T12" fmla="*/ 113 w 340"/>
                <a:gd name="T13" fmla="*/ 105 h 366"/>
                <a:gd name="T14" fmla="*/ 71 w 340"/>
                <a:gd name="T15" fmla="*/ 105 h 366"/>
                <a:gd name="T16" fmla="*/ 319 w 340"/>
                <a:gd name="T17" fmla="*/ 127 h 366"/>
                <a:gd name="T18" fmla="*/ 246 w 340"/>
                <a:gd name="T19" fmla="*/ 127 h 366"/>
                <a:gd name="T20" fmla="*/ 246 w 340"/>
                <a:gd name="T21" fmla="*/ 150 h 366"/>
                <a:gd name="T22" fmla="*/ 315 w 340"/>
                <a:gd name="T23" fmla="*/ 150 h 366"/>
                <a:gd name="T24" fmla="*/ 315 w 340"/>
                <a:gd name="T25" fmla="*/ 342 h 366"/>
                <a:gd name="T26" fmla="*/ 25 w 340"/>
                <a:gd name="T27" fmla="*/ 342 h 366"/>
                <a:gd name="T28" fmla="*/ 25 w 340"/>
                <a:gd name="T29" fmla="*/ 150 h 366"/>
                <a:gd name="T30" fmla="*/ 94 w 340"/>
                <a:gd name="T31" fmla="*/ 150 h 366"/>
                <a:gd name="T32" fmla="*/ 94 w 340"/>
                <a:gd name="T33" fmla="*/ 127 h 366"/>
                <a:gd name="T34" fmla="*/ 21 w 340"/>
                <a:gd name="T35" fmla="*/ 127 h 366"/>
                <a:gd name="T36" fmla="*/ 0 w 340"/>
                <a:gd name="T37" fmla="*/ 148 h 366"/>
                <a:gd name="T38" fmla="*/ 0 w 340"/>
                <a:gd name="T39" fmla="*/ 345 h 366"/>
                <a:gd name="T40" fmla="*/ 21 w 340"/>
                <a:gd name="T41" fmla="*/ 366 h 366"/>
                <a:gd name="T42" fmla="*/ 319 w 340"/>
                <a:gd name="T43" fmla="*/ 366 h 366"/>
                <a:gd name="T44" fmla="*/ 340 w 340"/>
                <a:gd name="T45" fmla="*/ 345 h 366"/>
                <a:gd name="T46" fmla="*/ 340 w 340"/>
                <a:gd name="T47" fmla="*/ 148 h 366"/>
                <a:gd name="T48" fmla="*/ 319 w 340"/>
                <a:gd name="T49" fmla="*/ 127 h 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340" h="366">
                  <a:moveTo>
                    <a:pt x="71" y="105"/>
                  </a:moveTo>
                  <a:cubicBezTo>
                    <a:pt x="170" y="0"/>
                    <a:pt x="170" y="0"/>
                    <a:pt x="170" y="0"/>
                  </a:cubicBezTo>
                  <a:cubicBezTo>
                    <a:pt x="269" y="105"/>
                    <a:pt x="269" y="105"/>
                    <a:pt x="269" y="105"/>
                  </a:cubicBezTo>
                  <a:cubicBezTo>
                    <a:pt x="227" y="105"/>
                    <a:pt x="227" y="105"/>
                    <a:pt x="227" y="105"/>
                  </a:cubicBezTo>
                  <a:cubicBezTo>
                    <a:pt x="227" y="193"/>
                    <a:pt x="227" y="193"/>
                    <a:pt x="227" y="193"/>
                  </a:cubicBezTo>
                  <a:cubicBezTo>
                    <a:pt x="113" y="193"/>
                    <a:pt x="113" y="193"/>
                    <a:pt x="113" y="193"/>
                  </a:cubicBezTo>
                  <a:cubicBezTo>
                    <a:pt x="113" y="105"/>
                    <a:pt x="113" y="105"/>
                    <a:pt x="113" y="105"/>
                  </a:cubicBezTo>
                  <a:lnTo>
                    <a:pt x="71" y="105"/>
                  </a:lnTo>
                  <a:close/>
                  <a:moveTo>
                    <a:pt x="319" y="127"/>
                  </a:moveTo>
                  <a:cubicBezTo>
                    <a:pt x="246" y="127"/>
                    <a:pt x="246" y="127"/>
                    <a:pt x="246" y="127"/>
                  </a:cubicBezTo>
                  <a:cubicBezTo>
                    <a:pt x="246" y="150"/>
                    <a:pt x="246" y="150"/>
                    <a:pt x="246" y="150"/>
                  </a:cubicBezTo>
                  <a:cubicBezTo>
                    <a:pt x="315" y="150"/>
                    <a:pt x="315" y="150"/>
                    <a:pt x="315" y="150"/>
                  </a:cubicBezTo>
                  <a:cubicBezTo>
                    <a:pt x="315" y="342"/>
                    <a:pt x="315" y="342"/>
                    <a:pt x="315" y="342"/>
                  </a:cubicBezTo>
                  <a:cubicBezTo>
                    <a:pt x="25" y="342"/>
                    <a:pt x="25" y="342"/>
                    <a:pt x="25" y="342"/>
                  </a:cubicBezTo>
                  <a:cubicBezTo>
                    <a:pt x="25" y="150"/>
                    <a:pt x="25" y="150"/>
                    <a:pt x="25" y="150"/>
                  </a:cubicBezTo>
                  <a:cubicBezTo>
                    <a:pt x="94" y="150"/>
                    <a:pt x="94" y="150"/>
                    <a:pt x="94" y="150"/>
                  </a:cubicBezTo>
                  <a:cubicBezTo>
                    <a:pt x="94" y="127"/>
                    <a:pt x="94" y="127"/>
                    <a:pt x="94" y="127"/>
                  </a:cubicBezTo>
                  <a:cubicBezTo>
                    <a:pt x="21" y="127"/>
                    <a:pt x="21" y="127"/>
                    <a:pt x="21" y="127"/>
                  </a:cubicBezTo>
                  <a:cubicBezTo>
                    <a:pt x="10" y="127"/>
                    <a:pt x="0" y="136"/>
                    <a:pt x="0" y="148"/>
                  </a:cubicBezTo>
                  <a:cubicBezTo>
                    <a:pt x="0" y="345"/>
                    <a:pt x="0" y="345"/>
                    <a:pt x="0" y="345"/>
                  </a:cubicBezTo>
                  <a:cubicBezTo>
                    <a:pt x="0" y="356"/>
                    <a:pt x="10" y="366"/>
                    <a:pt x="21" y="366"/>
                  </a:cubicBezTo>
                  <a:cubicBezTo>
                    <a:pt x="319" y="366"/>
                    <a:pt x="319" y="366"/>
                    <a:pt x="319" y="366"/>
                  </a:cubicBezTo>
                  <a:cubicBezTo>
                    <a:pt x="331" y="366"/>
                    <a:pt x="340" y="356"/>
                    <a:pt x="340" y="345"/>
                  </a:cubicBezTo>
                  <a:cubicBezTo>
                    <a:pt x="340" y="148"/>
                    <a:pt x="340" y="148"/>
                    <a:pt x="340" y="148"/>
                  </a:cubicBezTo>
                  <a:cubicBezTo>
                    <a:pt x="340" y="136"/>
                    <a:pt x="331" y="127"/>
                    <a:pt x="319" y="127"/>
                  </a:cubicBez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01" name="Group 17">
            <a:extLst>
              <a:ext uri="{FF2B5EF4-FFF2-40B4-BE49-F238E27FC236}">
                <a16:creationId xmlns:a16="http://schemas.microsoft.com/office/drawing/2014/main" xmlns="" id="{6B1A5674-0AD8-45F0-83D0-2A7167797873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8271891" y="900542"/>
            <a:ext cx="401616" cy="495688"/>
            <a:chOff x="3216" y="3236"/>
            <a:chExt cx="333" cy="411"/>
          </a:xfrm>
          <a:effectLst>
            <a:outerShdw blurRad="101600" dist="76200" dir="2700000" algn="ctr" rotWithShape="0">
              <a:srgbClr val="000000">
                <a:alpha val="29000"/>
              </a:srgbClr>
            </a:outerShdw>
          </a:effectLst>
        </p:grpSpPr>
        <p:sp>
          <p:nvSpPr>
            <p:cNvPr id="102" name="AutoShape 16">
              <a:extLst>
                <a:ext uri="{FF2B5EF4-FFF2-40B4-BE49-F238E27FC236}">
                  <a16:creationId xmlns:a16="http://schemas.microsoft.com/office/drawing/2014/main" xmlns="" id="{B9B896E6-0AB9-4FB5-8340-7F763B0A951F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216" y="3236"/>
              <a:ext cx="333" cy="41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03" name="Freeform 18">
              <a:extLst>
                <a:ext uri="{FF2B5EF4-FFF2-40B4-BE49-F238E27FC236}">
                  <a16:creationId xmlns:a16="http://schemas.microsoft.com/office/drawing/2014/main" xmlns="" id="{26311D99-CC5B-4201-932C-4207B66AEF4B}"/>
                </a:ext>
              </a:extLst>
            </p:cNvPr>
            <p:cNvSpPr>
              <a:spLocks/>
            </p:cNvSpPr>
            <p:nvPr/>
          </p:nvSpPr>
          <p:spPr bwMode="auto">
            <a:xfrm>
              <a:off x="3217" y="3237"/>
              <a:ext cx="332" cy="409"/>
            </a:xfrm>
            <a:custGeom>
              <a:avLst/>
              <a:gdLst>
                <a:gd name="T0" fmla="*/ 245 w 245"/>
                <a:gd name="T1" fmla="*/ 241 h 301"/>
                <a:gd name="T2" fmla="*/ 202 w 245"/>
                <a:gd name="T3" fmla="*/ 288 h 301"/>
                <a:gd name="T4" fmla="*/ 122 w 245"/>
                <a:gd name="T5" fmla="*/ 301 h 301"/>
                <a:gd name="T6" fmla="*/ 43 w 245"/>
                <a:gd name="T7" fmla="*/ 288 h 301"/>
                <a:gd name="T8" fmla="*/ 0 w 245"/>
                <a:gd name="T9" fmla="*/ 241 h 301"/>
                <a:gd name="T10" fmla="*/ 70 w 245"/>
                <a:gd name="T11" fmla="*/ 186 h 301"/>
                <a:gd name="T12" fmla="*/ 44 w 245"/>
                <a:gd name="T13" fmla="*/ 142 h 301"/>
                <a:gd name="T14" fmla="*/ 43 w 245"/>
                <a:gd name="T15" fmla="*/ 139 h 301"/>
                <a:gd name="T16" fmla="*/ 31 w 245"/>
                <a:gd name="T17" fmla="*/ 94 h 301"/>
                <a:gd name="T18" fmla="*/ 124 w 245"/>
                <a:gd name="T19" fmla="*/ 0 h 301"/>
                <a:gd name="T20" fmla="*/ 217 w 245"/>
                <a:gd name="T21" fmla="*/ 94 h 301"/>
                <a:gd name="T22" fmla="*/ 205 w 245"/>
                <a:gd name="T23" fmla="*/ 139 h 301"/>
                <a:gd name="T24" fmla="*/ 205 w 245"/>
                <a:gd name="T25" fmla="*/ 140 h 301"/>
                <a:gd name="T26" fmla="*/ 178 w 245"/>
                <a:gd name="T27" fmla="*/ 187 h 301"/>
                <a:gd name="T28" fmla="*/ 245 w 245"/>
                <a:gd name="T29" fmla="*/ 241 h 3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45" h="301">
                  <a:moveTo>
                    <a:pt x="245" y="241"/>
                  </a:moveTo>
                  <a:cubicBezTo>
                    <a:pt x="245" y="255"/>
                    <a:pt x="237" y="275"/>
                    <a:pt x="202" y="288"/>
                  </a:cubicBezTo>
                  <a:cubicBezTo>
                    <a:pt x="180" y="296"/>
                    <a:pt x="152" y="301"/>
                    <a:pt x="122" y="301"/>
                  </a:cubicBezTo>
                  <a:cubicBezTo>
                    <a:pt x="93" y="301"/>
                    <a:pt x="65" y="296"/>
                    <a:pt x="43" y="288"/>
                  </a:cubicBezTo>
                  <a:cubicBezTo>
                    <a:pt x="8" y="275"/>
                    <a:pt x="0" y="255"/>
                    <a:pt x="0" y="241"/>
                  </a:cubicBezTo>
                  <a:cubicBezTo>
                    <a:pt x="0" y="214"/>
                    <a:pt x="25" y="195"/>
                    <a:pt x="70" y="186"/>
                  </a:cubicBezTo>
                  <a:cubicBezTo>
                    <a:pt x="44" y="142"/>
                    <a:pt x="44" y="142"/>
                    <a:pt x="44" y="142"/>
                  </a:cubicBezTo>
                  <a:cubicBezTo>
                    <a:pt x="44" y="141"/>
                    <a:pt x="44" y="140"/>
                    <a:pt x="43" y="139"/>
                  </a:cubicBezTo>
                  <a:cubicBezTo>
                    <a:pt x="35" y="125"/>
                    <a:pt x="31" y="110"/>
                    <a:pt x="31" y="94"/>
                  </a:cubicBezTo>
                  <a:cubicBezTo>
                    <a:pt x="31" y="42"/>
                    <a:pt x="73" y="0"/>
                    <a:pt x="124" y="0"/>
                  </a:cubicBezTo>
                  <a:cubicBezTo>
                    <a:pt x="175" y="0"/>
                    <a:pt x="217" y="42"/>
                    <a:pt x="217" y="94"/>
                  </a:cubicBezTo>
                  <a:cubicBezTo>
                    <a:pt x="217" y="110"/>
                    <a:pt x="213" y="125"/>
                    <a:pt x="205" y="139"/>
                  </a:cubicBezTo>
                  <a:cubicBezTo>
                    <a:pt x="205" y="140"/>
                    <a:pt x="205" y="140"/>
                    <a:pt x="205" y="140"/>
                  </a:cubicBezTo>
                  <a:cubicBezTo>
                    <a:pt x="178" y="187"/>
                    <a:pt x="178" y="187"/>
                    <a:pt x="178" y="187"/>
                  </a:cubicBezTo>
                  <a:cubicBezTo>
                    <a:pt x="221" y="196"/>
                    <a:pt x="245" y="215"/>
                    <a:pt x="245" y="24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04" name="Freeform 19">
              <a:extLst>
                <a:ext uri="{FF2B5EF4-FFF2-40B4-BE49-F238E27FC236}">
                  <a16:creationId xmlns:a16="http://schemas.microsoft.com/office/drawing/2014/main" xmlns="" id="{B48399A8-25BD-4B48-9C35-E71DC41AA54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234" y="3254"/>
              <a:ext cx="299" cy="375"/>
            </a:xfrm>
            <a:custGeom>
              <a:avLst/>
              <a:gdLst>
                <a:gd name="T0" fmla="*/ 221 w 221"/>
                <a:gd name="T1" fmla="*/ 229 h 277"/>
                <a:gd name="T2" fmla="*/ 110 w 221"/>
                <a:gd name="T3" fmla="*/ 277 h 277"/>
                <a:gd name="T4" fmla="*/ 0 w 221"/>
                <a:gd name="T5" fmla="*/ 229 h 277"/>
                <a:gd name="T6" fmla="*/ 63 w 221"/>
                <a:gd name="T7" fmla="*/ 185 h 277"/>
                <a:gd name="T8" fmla="*/ 71 w 221"/>
                <a:gd name="T9" fmla="*/ 198 h 277"/>
                <a:gd name="T10" fmla="*/ 14 w 221"/>
                <a:gd name="T11" fmla="*/ 229 h 277"/>
                <a:gd name="T12" fmla="*/ 110 w 221"/>
                <a:gd name="T13" fmla="*/ 263 h 277"/>
                <a:gd name="T14" fmla="*/ 207 w 221"/>
                <a:gd name="T15" fmla="*/ 229 h 277"/>
                <a:gd name="T16" fmla="*/ 151 w 221"/>
                <a:gd name="T17" fmla="*/ 198 h 277"/>
                <a:gd name="T18" fmla="*/ 158 w 221"/>
                <a:gd name="T19" fmla="*/ 185 h 277"/>
                <a:gd name="T20" fmla="*/ 221 w 221"/>
                <a:gd name="T21" fmla="*/ 229 h 277"/>
                <a:gd name="T22" fmla="*/ 183 w 221"/>
                <a:gd name="T23" fmla="*/ 121 h 277"/>
                <a:gd name="T24" fmla="*/ 183 w 221"/>
                <a:gd name="T25" fmla="*/ 121 h 277"/>
                <a:gd name="T26" fmla="*/ 183 w 221"/>
                <a:gd name="T27" fmla="*/ 122 h 277"/>
                <a:gd name="T28" fmla="*/ 182 w 221"/>
                <a:gd name="T29" fmla="*/ 122 h 277"/>
                <a:gd name="T30" fmla="*/ 113 w 221"/>
                <a:gd name="T31" fmla="*/ 243 h 277"/>
                <a:gd name="T32" fmla="*/ 43 w 221"/>
                <a:gd name="T33" fmla="*/ 124 h 277"/>
                <a:gd name="T34" fmla="*/ 41 w 221"/>
                <a:gd name="T35" fmla="*/ 122 h 277"/>
                <a:gd name="T36" fmla="*/ 41 w 221"/>
                <a:gd name="T37" fmla="*/ 121 h 277"/>
                <a:gd name="T38" fmla="*/ 41 w 221"/>
                <a:gd name="T39" fmla="*/ 121 h 277"/>
                <a:gd name="T40" fmla="*/ 31 w 221"/>
                <a:gd name="T41" fmla="*/ 82 h 277"/>
                <a:gd name="T42" fmla="*/ 112 w 221"/>
                <a:gd name="T43" fmla="*/ 0 h 277"/>
                <a:gd name="T44" fmla="*/ 193 w 221"/>
                <a:gd name="T45" fmla="*/ 82 h 277"/>
                <a:gd name="T46" fmla="*/ 183 w 221"/>
                <a:gd name="T47" fmla="*/ 121 h 277"/>
                <a:gd name="T48" fmla="*/ 179 w 221"/>
                <a:gd name="T49" fmla="*/ 82 h 277"/>
                <a:gd name="T50" fmla="*/ 112 w 221"/>
                <a:gd name="T51" fmla="*/ 15 h 277"/>
                <a:gd name="T52" fmla="*/ 45 w 221"/>
                <a:gd name="T53" fmla="*/ 82 h 277"/>
                <a:gd name="T54" fmla="*/ 112 w 221"/>
                <a:gd name="T55" fmla="*/ 148 h 277"/>
                <a:gd name="T56" fmla="*/ 179 w 221"/>
                <a:gd name="T57" fmla="*/ 82 h 2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21" h="277">
                  <a:moveTo>
                    <a:pt x="221" y="229"/>
                  </a:moveTo>
                  <a:cubicBezTo>
                    <a:pt x="221" y="262"/>
                    <a:pt x="163" y="277"/>
                    <a:pt x="110" y="277"/>
                  </a:cubicBezTo>
                  <a:cubicBezTo>
                    <a:pt x="57" y="277"/>
                    <a:pt x="0" y="262"/>
                    <a:pt x="0" y="229"/>
                  </a:cubicBezTo>
                  <a:cubicBezTo>
                    <a:pt x="0" y="206"/>
                    <a:pt x="28" y="192"/>
                    <a:pt x="63" y="185"/>
                  </a:cubicBezTo>
                  <a:cubicBezTo>
                    <a:pt x="71" y="198"/>
                    <a:pt x="71" y="198"/>
                    <a:pt x="71" y="198"/>
                  </a:cubicBezTo>
                  <a:cubicBezTo>
                    <a:pt x="37" y="203"/>
                    <a:pt x="14" y="215"/>
                    <a:pt x="14" y="229"/>
                  </a:cubicBezTo>
                  <a:cubicBezTo>
                    <a:pt x="14" y="248"/>
                    <a:pt x="57" y="263"/>
                    <a:pt x="110" y="263"/>
                  </a:cubicBezTo>
                  <a:cubicBezTo>
                    <a:pt x="164" y="263"/>
                    <a:pt x="207" y="248"/>
                    <a:pt x="207" y="229"/>
                  </a:cubicBezTo>
                  <a:cubicBezTo>
                    <a:pt x="207" y="215"/>
                    <a:pt x="184" y="203"/>
                    <a:pt x="151" y="198"/>
                  </a:cubicBezTo>
                  <a:cubicBezTo>
                    <a:pt x="158" y="185"/>
                    <a:pt x="158" y="185"/>
                    <a:pt x="158" y="185"/>
                  </a:cubicBezTo>
                  <a:cubicBezTo>
                    <a:pt x="193" y="192"/>
                    <a:pt x="221" y="206"/>
                    <a:pt x="221" y="229"/>
                  </a:cubicBezTo>
                  <a:close/>
                  <a:moveTo>
                    <a:pt x="183" y="121"/>
                  </a:moveTo>
                  <a:cubicBezTo>
                    <a:pt x="183" y="121"/>
                    <a:pt x="183" y="121"/>
                    <a:pt x="183" y="121"/>
                  </a:cubicBezTo>
                  <a:cubicBezTo>
                    <a:pt x="183" y="122"/>
                    <a:pt x="183" y="122"/>
                    <a:pt x="183" y="122"/>
                  </a:cubicBezTo>
                  <a:cubicBezTo>
                    <a:pt x="183" y="122"/>
                    <a:pt x="182" y="122"/>
                    <a:pt x="182" y="122"/>
                  </a:cubicBezTo>
                  <a:cubicBezTo>
                    <a:pt x="113" y="243"/>
                    <a:pt x="113" y="243"/>
                    <a:pt x="113" y="243"/>
                  </a:cubicBezTo>
                  <a:cubicBezTo>
                    <a:pt x="43" y="124"/>
                    <a:pt x="43" y="124"/>
                    <a:pt x="43" y="124"/>
                  </a:cubicBezTo>
                  <a:cubicBezTo>
                    <a:pt x="42" y="123"/>
                    <a:pt x="42" y="122"/>
                    <a:pt x="41" y="122"/>
                  </a:cubicBezTo>
                  <a:cubicBezTo>
                    <a:pt x="41" y="121"/>
                    <a:pt x="41" y="121"/>
                    <a:pt x="41" y="121"/>
                  </a:cubicBezTo>
                  <a:cubicBezTo>
                    <a:pt x="41" y="121"/>
                    <a:pt x="41" y="121"/>
                    <a:pt x="41" y="121"/>
                  </a:cubicBezTo>
                  <a:cubicBezTo>
                    <a:pt x="35" y="110"/>
                    <a:pt x="31" y="96"/>
                    <a:pt x="31" y="82"/>
                  </a:cubicBezTo>
                  <a:cubicBezTo>
                    <a:pt x="31" y="37"/>
                    <a:pt x="67" y="0"/>
                    <a:pt x="112" y="0"/>
                  </a:cubicBezTo>
                  <a:cubicBezTo>
                    <a:pt x="157" y="0"/>
                    <a:pt x="193" y="37"/>
                    <a:pt x="193" y="82"/>
                  </a:cubicBezTo>
                  <a:cubicBezTo>
                    <a:pt x="193" y="96"/>
                    <a:pt x="189" y="110"/>
                    <a:pt x="183" y="121"/>
                  </a:cubicBezTo>
                  <a:close/>
                  <a:moveTo>
                    <a:pt x="179" y="82"/>
                  </a:moveTo>
                  <a:cubicBezTo>
                    <a:pt x="179" y="45"/>
                    <a:pt x="149" y="15"/>
                    <a:pt x="112" y="15"/>
                  </a:cubicBezTo>
                  <a:cubicBezTo>
                    <a:pt x="75" y="15"/>
                    <a:pt x="45" y="45"/>
                    <a:pt x="45" y="82"/>
                  </a:cubicBezTo>
                  <a:cubicBezTo>
                    <a:pt x="45" y="118"/>
                    <a:pt x="75" y="148"/>
                    <a:pt x="112" y="148"/>
                  </a:cubicBezTo>
                  <a:cubicBezTo>
                    <a:pt x="149" y="148"/>
                    <a:pt x="179" y="118"/>
                    <a:pt x="179" y="82"/>
                  </a:cubicBez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grpSp>
        <p:nvGrpSpPr>
          <p:cNvPr id="105" name="Group 43">
            <a:extLst>
              <a:ext uri="{FF2B5EF4-FFF2-40B4-BE49-F238E27FC236}">
                <a16:creationId xmlns:a16="http://schemas.microsoft.com/office/drawing/2014/main" xmlns="" id="{3C3F197C-B29D-424A-8E88-FF3088D5E085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953094" y="2819213"/>
            <a:ext cx="349359" cy="357565"/>
            <a:chOff x="351" y="1717"/>
            <a:chExt cx="298" cy="305"/>
          </a:xfrm>
          <a:effectLst>
            <a:outerShdw blurRad="101600" dist="76200" dir="2700000" algn="ctr" rotWithShape="0">
              <a:srgbClr val="000000">
                <a:alpha val="29000"/>
              </a:srgbClr>
            </a:outerShdw>
          </a:effectLst>
        </p:grpSpPr>
        <p:sp>
          <p:nvSpPr>
            <p:cNvPr id="106" name="AutoShape 42">
              <a:extLst>
                <a:ext uri="{FF2B5EF4-FFF2-40B4-BE49-F238E27FC236}">
                  <a16:creationId xmlns:a16="http://schemas.microsoft.com/office/drawing/2014/main" xmlns="" id="{D880A148-8935-4843-BA89-FAF3BFB5FDAB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51" y="1717"/>
              <a:ext cx="298" cy="30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07" name="Freeform 44">
              <a:extLst>
                <a:ext uri="{FF2B5EF4-FFF2-40B4-BE49-F238E27FC236}">
                  <a16:creationId xmlns:a16="http://schemas.microsoft.com/office/drawing/2014/main" xmlns="" id="{1FB558B3-57D2-41C7-83C3-5B05A4B2EFA6}"/>
                </a:ext>
              </a:extLst>
            </p:cNvPr>
            <p:cNvSpPr>
              <a:spLocks/>
            </p:cNvSpPr>
            <p:nvPr/>
          </p:nvSpPr>
          <p:spPr bwMode="auto">
            <a:xfrm>
              <a:off x="351" y="1716"/>
              <a:ext cx="298" cy="305"/>
            </a:xfrm>
            <a:custGeom>
              <a:avLst/>
              <a:gdLst>
                <a:gd name="T0" fmla="*/ 224 w 252"/>
                <a:gd name="T1" fmla="*/ 18 h 258"/>
                <a:gd name="T2" fmla="*/ 220 w 252"/>
                <a:gd name="T3" fmla="*/ 18 h 258"/>
                <a:gd name="T4" fmla="*/ 197 w 252"/>
                <a:gd name="T5" fmla="*/ 0 h 258"/>
                <a:gd name="T6" fmla="*/ 59 w 252"/>
                <a:gd name="T7" fmla="*/ 0 h 258"/>
                <a:gd name="T8" fmla="*/ 37 w 252"/>
                <a:gd name="T9" fmla="*/ 18 h 258"/>
                <a:gd name="T10" fmla="*/ 28 w 252"/>
                <a:gd name="T11" fmla="*/ 18 h 258"/>
                <a:gd name="T12" fmla="*/ 0 w 252"/>
                <a:gd name="T13" fmla="*/ 46 h 258"/>
                <a:gd name="T14" fmla="*/ 0 w 252"/>
                <a:gd name="T15" fmla="*/ 230 h 258"/>
                <a:gd name="T16" fmla="*/ 28 w 252"/>
                <a:gd name="T17" fmla="*/ 258 h 258"/>
                <a:gd name="T18" fmla="*/ 224 w 252"/>
                <a:gd name="T19" fmla="*/ 258 h 258"/>
                <a:gd name="T20" fmla="*/ 252 w 252"/>
                <a:gd name="T21" fmla="*/ 230 h 258"/>
                <a:gd name="T22" fmla="*/ 252 w 252"/>
                <a:gd name="T23" fmla="*/ 46 h 258"/>
                <a:gd name="T24" fmla="*/ 224 w 252"/>
                <a:gd name="T25" fmla="*/ 18 h 2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52" h="258">
                  <a:moveTo>
                    <a:pt x="224" y="18"/>
                  </a:moveTo>
                  <a:cubicBezTo>
                    <a:pt x="220" y="18"/>
                    <a:pt x="220" y="18"/>
                    <a:pt x="220" y="18"/>
                  </a:cubicBezTo>
                  <a:cubicBezTo>
                    <a:pt x="217" y="8"/>
                    <a:pt x="208" y="0"/>
                    <a:pt x="197" y="0"/>
                  </a:cubicBezTo>
                  <a:cubicBezTo>
                    <a:pt x="59" y="0"/>
                    <a:pt x="59" y="0"/>
                    <a:pt x="59" y="0"/>
                  </a:cubicBezTo>
                  <a:cubicBezTo>
                    <a:pt x="48" y="0"/>
                    <a:pt x="39" y="8"/>
                    <a:pt x="37" y="18"/>
                  </a:cubicBezTo>
                  <a:cubicBezTo>
                    <a:pt x="28" y="18"/>
                    <a:pt x="28" y="18"/>
                    <a:pt x="28" y="18"/>
                  </a:cubicBezTo>
                  <a:cubicBezTo>
                    <a:pt x="13" y="18"/>
                    <a:pt x="0" y="30"/>
                    <a:pt x="0" y="46"/>
                  </a:cubicBezTo>
                  <a:cubicBezTo>
                    <a:pt x="0" y="230"/>
                    <a:pt x="0" y="230"/>
                    <a:pt x="0" y="230"/>
                  </a:cubicBezTo>
                  <a:cubicBezTo>
                    <a:pt x="0" y="246"/>
                    <a:pt x="13" y="258"/>
                    <a:pt x="28" y="258"/>
                  </a:cubicBezTo>
                  <a:cubicBezTo>
                    <a:pt x="224" y="258"/>
                    <a:pt x="224" y="258"/>
                    <a:pt x="224" y="258"/>
                  </a:cubicBezTo>
                  <a:cubicBezTo>
                    <a:pt x="239" y="258"/>
                    <a:pt x="252" y="246"/>
                    <a:pt x="252" y="230"/>
                  </a:cubicBezTo>
                  <a:cubicBezTo>
                    <a:pt x="252" y="46"/>
                    <a:pt x="252" y="46"/>
                    <a:pt x="252" y="46"/>
                  </a:cubicBezTo>
                  <a:cubicBezTo>
                    <a:pt x="252" y="30"/>
                    <a:pt x="239" y="18"/>
                    <a:pt x="224" y="1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08" name="Freeform 45">
              <a:extLst>
                <a:ext uri="{FF2B5EF4-FFF2-40B4-BE49-F238E27FC236}">
                  <a16:creationId xmlns:a16="http://schemas.microsoft.com/office/drawing/2014/main" xmlns="" id="{A1CFC34B-682C-46D7-BBF0-0FD8F6EB509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0" y="1735"/>
              <a:ext cx="260" cy="267"/>
            </a:xfrm>
            <a:custGeom>
              <a:avLst/>
              <a:gdLst>
                <a:gd name="T0" fmla="*/ 181 w 220"/>
                <a:gd name="T1" fmla="*/ 0 h 226"/>
                <a:gd name="T2" fmla="*/ 155 w 220"/>
                <a:gd name="T3" fmla="*/ 18 h 226"/>
                <a:gd name="T4" fmla="*/ 135 w 220"/>
                <a:gd name="T5" fmla="*/ 7 h 226"/>
                <a:gd name="T6" fmla="*/ 115 w 220"/>
                <a:gd name="T7" fmla="*/ 0 h 226"/>
                <a:gd name="T8" fmla="*/ 89 w 220"/>
                <a:gd name="T9" fmla="*/ 18 h 226"/>
                <a:gd name="T10" fmla="*/ 69 w 220"/>
                <a:gd name="T11" fmla="*/ 7 h 226"/>
                <a:gd name="T12" fmla="*/ 49 w 220"/>
                <a:gd name="T13" fmla="*/ 0 h 226"/>
                <a:gd name="T14" fmla="*/ 12 w 220"/>
                <a:gd name="T15" fmla="*/ 18 h 226"/>
                <a:gd name="T16" fmla="*/ 208 w 220"/>
                <a:gd name="T17" fmla="*/ 226 h 226"/>
                <a:gd name="T18" fmla="*/ 206 w 220"/>
                <a:gd name="T19" fmla="*/ 207 h 226"/>
                <a:gd name="T20" fmla="*/ 14 w 220"/>
                <a:gd name="T21" fmla="*/ 67 h 226"/>
                <a:gd name="T22" fmla="*/ 50 w 220"/>
                <a:gd name="T23" fmla="*/ 134 h 226"/>
                <a:gd name="T24" fmla="*/ 24 w 220"/>
                <a:gd name="T25" fmla="*/ 116 h 226"/>
                <a:gd name="T26" fmla="*/ 86 w 220"/>
                <a:gd name="T27" fmla="*/ 116 h 226"/>
                <a:gd name="T28" fmla="*/ 60 w 220"/>
                <a:gd name="T29" fmla="*/ 134 h 226"/>
                <a:gd name="T30" fmla="*/ 86 w 220"/>
                <a:gd name="T31" fmla="*/ 116 h 226"/>
                <a:gd name="T32" fmla="*/ 99 w 220"/>
                <a:gd name="T33" fmla="*/ 137 h 226"/>
                <a:gd name="T34" fmla="*/ 119 w 220"/>
                <a:gd name="T35" fmla="*/ 114 h 226"/>
                <a:gd name="T36" fmla="*/ 155 w 220"/>
                <a:gd name="T37" fmla="*/ 137 h 226"/>
                <a:gd name="T38" fmla="*/ 135 w 220"/>
                <a:gd name="T39" fmla="*/ 114 h 226"/>
                <a:gd name="T40" fmla="*/ 194 w 220"/>
                <a:gd name="T41" fmla="*/ 134 h 226"/>
                <a:gd name="T42" fmla="*/ 168 w 220"/>
                <a:gd name="T43" fmla="*/ 116 h 226"/>
                <a:gd name="T44" fmla="*/ 50 w 220"/>
                <a:gd name="T45" fmla="*/ 149 h 226"/>
                <a:gd name="T46" fmla="*/ 24 w 220"/>
                <a:gd name="T47" fmla="*/ 167 h 226"/>
                <a:gd name="T48" fmla="*/ 50 w 220"/>
                <a:gd name="T49" fmla="*/ 149 h 226"/>
                <a:gd name="T50" fmla="*/ 63 w 220"/>
                <a:gd name="T51" fmla="*/ 170 h 226"/>
                <a:gd name="T52" fmla="*/ 83 w 220"/>
                <a:gd name="T53" fmla="*/ 146 h 226"/>
                <a:gd name="T54" fmla="*/ 119 w 220"/>
                <a:gd name="T55" fmla="*/ 170 h 226"/>
                <a:gd name="T56" fmla="*/ 99 w 220"/>
                <a:gd name="T57" fmla="*/ 146 h 226"/>
                <a:gd name="T58" fmla="*/ 158 w 220"/>
                <a:gd name="T59" fmla="*/ 167 h 226"/>
                <a:gd name="T60" fmla="*/ 132 w 220"/>
                <a:gd name="T61" fmla="*/ 149 h 226"/>
                <a:gd name="T62" fmla="*/ 194 w 220"/>
                <a:gd name="T63" fmla="*/ 149 h 226"/>
                <a:gd name="T64" fmla="*/ 168 w 220"/>
                <a:gd name="T65" fmla="*/ 167 h 226"/>
                <a:gd name="T66" fmla="*/ 194 w 220"/>
                <a:gd name="T67" fmla="*/ 149 h 226"/>
                <a:gd name="T68" fmla="*/ 27 w 220"/>
                <a:gd name="T69" fmla="*/ 203 h 226"/>
                <a:gd name="T70" fmla="*/ 47 w 220"/>
                <a:gd name="T71" fmla="*/ 179 h 226"/>
                <a:gd name="T72" fmla="*/ 83 w 220"/>
                <a:gd name="T73" fmla="*/ 203 h 226"/>
                <a:gd name="T74" fmla="*/ 63 w 220"/>
                <a:gd name="T75" fmla="*/ 179 h 226"/>
                <a:gd name="T76" fmla="*/ 122 w 220"/>
                <a:gd name="T77" fmla="*/ 200 h 226"/>
                <a:gd name="T78" fmla="*/ 96 w 220"/>
                <a:gd name="T79" fmla="*/ 182 h 226"/>
                <a:gd name="T80" fmla="*/ 158 w 220"/>
                <a:gd name="T81" fmla="*/ 182 h 226"/>
                <a:gd name="T82" fmla="*/ 132 w 220"/>
                <a:gd name="T83" fmla="*/ 200 h 226"/>
                <a:gd name="T84" fmla="*/ 158 w 220"/>
                <a:gd name="T85" fmla="*/ 182 h 226"/>
                <a:gd name="T86" fmla="*/ 63 w 220"/>
                <a:gd name="T87" fmla="*/ 105 h 226"/>
                <a:gd name="T88" fmla="*/ 83 w 220"/>
                <a:gd name="T89" fmla="*/ 81 h 226"/>
                <a:gd name="T90" fmla="*/ 119 w 220"/>
                <a:gd name="T91" fmla="*/ 105 h 226"/>
                <a:gd name="T92" fmla="*/ 99 w 220"/>
                <a:gd name="T93" fmla="*/ 81 h 226"/>
                <a:gd name="T94" fmla="*/ 158 w 220"/>
                <a:gd name="T95" fmla="*/ 102 h 226"/>
                <a:gd name="T96" fmla="*/ 132 w 220"/>
                <a:gd name="T97" fmla="*/ 84 h 226"/>
                <a:gd name="T98" fmla="*/ 194 w 220"/>
                <a:gd name="T99" fmla="*/ 84 h 226"/>
                <a:gd name="T100" fmla="*/ 168 w 220"/>
                <a:gd name="T101" fmla="*/ 102 h 226"/>
                <a:gd name="T102" fmla="*/ 194 w 220"/>
                <a:gd name="T103" fmla="*/ 84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20" h="226">
                  <a:moveTo>
                    <a:pt x="208" y="18"/>
                  </a:moveTo>
                  <a:cubicBezTo>
                    <a:pt x="188" y="18"/>
                    <a:pt x="188" y="18"/>
                    <a:pt x="188" y="18"/>
                  </a:cubicBezTo>
                  <a:cubicBezTo>
                    <a:pt x="188" y="7"/>
                    <a:pt x="188" y="7"/>
                    <a:pt x="188" y="7"/>
                  </a:cubicBezTo>
                  <a:cubicBezTo>
                    <a:pt x="188" y="3"/>
                    <a:pt x="185" y="0"/>
                    <a:pt x="181" y="0"/>
                  </a:cubicBezTo>
                  <a:cubicBezTo>
                    <a:pt x="175" y="0"/>
                    <a:pt x="175" y="0"/>
                    <a:pt x="175" y="0"/>
                  </a:cubicBezTo>
                  <a:cubicBezTo>
                    <a:pt x="171" y="0"/>
                    <a:pt x="168" y="3"/>
                    <a:pt x="168" y="7"/>
                  </a:cubicBezTo>
                  <a:cubicBezTo>
                    <a:pt x="168" y="18"/>
                    <a:pt x="168" y="18"/>
                    <a:pt x="168" y="18"/>
                  </a:cubicBezTo>
                  <a:cubicBezTo>
                    <a:pt x="155" y="18"/>
                    <a:pt x="155" y="18"/>
                    <a:pt x="155" y="18"/>
                  </a:cubicBezTo>
                  <a:cubicBezTo>
                    <a:pt x="155" y="7"/>
                    <a:pt x="155" y="7"/>
                    <a:pt x="155" y="7"/>
                  </a:cubicBezTo>
                  <a:cubicBezTo>
                    <a:pt x="155" y="3"/>
                    <a:pt x="152" y="0"/>
                    <a:pt x="148" y="0"/>
                  </a:cubicBezTo>
                  <a:cubicBezTo>
                    <a:pt x="142" y="0"/>
                    <a:pt x="142" y="0"/>
                    <a:pt x="142" y="0"/>
                  </a:cubicBezTo>
                  <a:cubicBezTo>
                    <a:pt x="138" y="0"/>
                    <a:pt x="135" y="3"/>
                    <a:pt x="135" y="7"/>
                  </a:cubicBezTo>
                  <a:cubicBezTo>
                    <a:pt x="135" y="18"/>
                    <a:pt x="135" y="18"/>
                    <a:pt x="135" y="18"/>
                  </a:cubicBezTo>
                  <a:cubicBezTo>
                    <a:pt x="122" y="18"/>
                    <a:pt x="122" y="18"/>
                    <a:pt x="122" y="18"/>
                  </a:cubicBezTo>
                  <a:cubicBezTo>
                    <a:pt x="122" y="7"/>
                    <a:pt x="122" y="7"/>
                    <a:pt x="122" y="7"/>
                  </a:cubicBezTo>
                  <a:cubicBezTo>
                    <a:pt x="122" y="3"/>
                    <a:pt x="119" y="0"/>
                    <a:pt x="115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5" y="0"/>
                    <a:pt x="102" y="3"/>
                    <a:pt x="102" y="7"/>
                  </a:cubicBezTo>
                  <a:cubicBezTo>
                    <a:pt x="102" y="18"/>
                    <a:pt x="102" y="18"/>
                    <a:pt x="102" y="18"/>
                  </a:cubicBezTo>
                  <a:cubicBezTo>
                    <a:pt x="89" y="18"/>
                    <a:pt x="89" y="18"/>
                    <a:pt x="89" y="18"/>
                  </a:cubicBezTo>
                  <a:cubicBezTo>
                    <a:pt x="89" y="7"/>
                    <a:pt x="89" y="7"/>
                    <a:pt x="89" y="7"/>
                  </a:cubicBezTo>
                  <a:cubicBezTo>
                    <a:pt x="89" y="3"/>
                    <a:pt x="86" y="0"/>
                    <a:pt x="82" y="0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72" y="0"/>
                    <a:pt x="69" y="3"/>
                    <a:pt x="69" y="7"/>
                  </a:cubicBezTo>
                  <a:cubicBezTo>
                    <a:pt x="69" y="18"/>
                    <a:pt x="69" y="18"/>
                    <a:pt x="69" y="18"/>
                  </a:cubicBezTo>
                  <a:cubicBezTo>
                    <a:pt x="56" y="18"/>
                    <a:pt x="56" y="18"/>
                    <a:pt x="56" y="18"/>
                  </a:cubicBezTo>
                  <a:cubicBezTo>
                    <a:pt x="56" y="7"/>
                    <a:pt x="56" y="7"/>
                    <a:pt x="56" y="7"/>
                  </a:cubicBezTo>
                  <a:cubicBezTo>
                    <a:pt x="56" y="3"/>
                    <a:pt x="53" y="0"/>
                    <a:pt x="49" y="0"/>
                  </a:cubicBezTo>
                  <a:cubicBezTo>
                    <a:pt x="43" y="0"/>
                    <a:pt x="43" y="0"/>
                    <a:pt x="43" y="0"/>
                  </a:cubicBezTo>
                  <a:cubicBezTo>
                    <a:pt x="39" y="0"/>
                    <a:pt x="36" y="3"/>
                    <a:pt x="36" y="7"/>
                  </a:cubicBezTo>
                  <a:cubicBezTo>
                    <a:pt x="36" y="18"/>
                    <a:pt x="36" y="18"/>
                    <a:pt x="36" y="18"/>
                  </a:cubicBezTo>
                  <a:cubicBezTo>
                    <a:pt x="12" y="18"/>
                    <a:pt x="12" y="18"/>
                    <a:pt x="12" y="18"/>
                  </a:cubicBezTo>
                  <a:cubicBezTo>
                    <a:pt x="5" y="18"/>
                    <a:pt x="0" y="23"/>
                    <a:pt x="0" y="30"/>
                  </a:cubicBezTo>
                  <a:cubicBezTo>
                    <a:pt x="0" y="214"/>
                    <a:pt x="0" y="214"/>
                    <a:pt x="0" y="214"/>
                  </a:cubicBezTo>
                  <a:cubicBezTo>
                    <a:pt x="0" y="221"/>
                    <a:pt x="5" y="226"/>
                    <a:pt x="12" y="226"/>
                  </a:cubicBezTo>
                  <a:cubicBezTo>
                    <a:pt x="208" y="226"/>
                    <a:pt x="208" y="226"/>
                    <a:pt x="208" y="226"/>
                  </a:cubicBezTo>
                  <a:cubicBezTo>
                    <a:pt x="215" y="226"/>
                    <a:pt x="220" y="221"/>
                    <a:pt x="220" y="214"/>
                  </a:cubicBezTo>
                  <a:cubicBezTo>
                    <a:pt x="220" y="30"/>
                    <a:pt x="220" y="30"/>
                    <a:pt x="220" y="30"/>
                  </a:cubicBezTo>
                  <a:cubicBezTo>
                    <a:pt x="220" y="23"/>
                    <a:pt x="215" y="18"/>
                    <a:pt x="208" y="18"/>
                  </a:cubicBezTo>
                  <a:close/>
                  <a:moveTo>
                    <a:pt x="206" y="207"/>
                  </a:moveTo>
                  <a:cubicBezTo>
                    <a:pt x="206" y="211"/>
                    <a:pt x="201" y="214"/>
                    <a:pt x="195" y="214"/>
                  </a:cubicBezTo>
                  <a:cubicBezTo>
                    <a:pt x="25" y="214"/>
                    <a:pt x="25" y="214"/>
                    <a:pt x="25" y="214"/>
                  </a:cubicBezTo>
                  <a:cubicBezTo>
                    <a:pt x="19" y="214"/>
                    <a:pt x="14" y="211"/>
                    <a:pt x="14" y="207"/>
                  </a:cubicBezTo>
                  <a:cubicBezTo>
                    <a:pt x="14" y="67"/>
                    <a:pt x="14" y="67"/>
                    <a:pt x="14" y="67"/>
                  </a:cubicBezTo>
                  <a:cubicBezTo>
                    <a:pt x="206" y="67"/>
                    <a:pt x="206" y="67"/>
                    <a:pt x="206" y="67"/>
                  </a:cubicBezTo>
                  <a:lnTo>
                    <a:pt x="206" y="207"/>
                  </a:lnTo>
                  <a:close/>
                  <a:moveTo>
                    <a:pt x="50" y="116"/>
                  </a:moveTo>
                  <a:cubicBezTo>
                    <a:pt x="50" y="134"/>
                    <a:pt x="50" y="134"/>
                    <a:pt x="50" y="134"/>
                  </a:cubicBezTo>
                  <a:cubicBezTo>
                    <a:pt x="50" y="136"/>
                    <a:pt x="49" y="137"/>
                    <a:pt x="47" y="137"/>
                  </a:cubicBezTo>
                  <a:cubicBezTo>
                    <a:pt x="27" y="137"/>
                    <a:pt x="27" y="137"/>
                    <a:pt x="27" y="137"/>
                  </a:cubicBezTo>
                  <a:cubicBezTo>
                    <a:pt x="26" y="137"/>
                    <a:pt x="24" y="136"/>
                    <a:pt x="24" y="134"/>
                  </a:cubicBezTo>
                  <a:cubicBezTo>
                    <a:pt x="24" y="116"/>
                    <a:pt x="24" y="116"/>
                    <a:pt x="24" y="116"/>
                  </a:cubicBezTo>
                  <a:cubicBezTo>
                    <a:pt x="24" y="115"/>
                    <a:pt x="26" y="114"/>
                    <a:pt x="27" y="114"/>
                  </a:cubicBezTo>
                  <a:cubicBezTo>
                    <a:pt x="47" y="114"/>
                    <a:pt x="47" y="114"/>
                    <a:pt x="47" y="114"/>
                  </a:cubicBezTo>
                  <a:cubicBezTo>
                    <a:pt x="49" y="114"/>
                    <a:pt x="50" y="115"/>
                    <a:pt x="50" y="116"/>
                  </a:cubicBezTo>
                  <a:close/>
                  <a:moveTo>
                    <a:pt x="86" y="116"/>
                  </a:moveTo>
                  <a:cubicBezTo>
                    <a:pt x="86" y="134"/>
                    <a:pt x="86" y="134"/>
                    <a:pt x="86" y="134"/>
                  </a:cubicBezTo>
                  <a:cubicBezTo>
                    <a:pt x="86" y="136"/>
                    <a:pt x="85" y="137"/>
                    <a:pt x="83" y="137"/>
                  </a:cubicBezTo>
                  <a:cubicBezTo>
                    <a:pt x="63" y="137"/>
                    <a:pt x="63" y="137"/>
                    <a:pt x="63" y="137"/>
                  </a:cubicBezTo>
                  <a:cubicBezTo>
                    <a:pt x="62" y="137"/>
                    <a:pt x="60" y="136"/>
                    <a:pt x="60" y="134"/>
                  </a:cubicBezTo>
                  <a:cubicBezTo>
                    <a:pt x="60" y="116"/>
                    <a:pt x="60" y="116"/>
                    <a:pt x="60" y="116"/>
                  </a:cubicBezTo>
                  <a:cubicBezTo>
                    <a:pt x="60" y="115"/>
                    <a:pt x="62" y="114"/>
                    <a:pt x="63" y="114"/>
                  </a:cubicBezTo>
                  <a:cubicBezTo>
                    <a:pt x="83" y="114"/>
                    <a:pt x="83" y="114"/>
                    <a:pt x="83" y="114"/>
                  </a:cubicBezTo>
                  <a:cubicBezTo>
                    <a:pt x="85" y="114"/>
                    <a:pt x="86" y="115"/>
                    <a:pt x="86" y="116"/>
                  </a:cubicBezTo>
                  <a:close/>
                  <a:moveTo>
                    <a:pt x="122" y="116"/>
                  </a:moveTo>
                  <a:cubicBezTo>
                    <a:pt x="122" y="134"/>
                    <a:pt x="122" y="134"/>
                    <a:pt x="122" y="134"/>
                  </a:cubicBezTo>
                  <a:cubicBezTo>
                    <a:pt x="122" y="136"/>
                    <a:pt x="121" y="137"/>
                    <a:pt x="119" y="137"/>
                  </a:cubicBezTo>
                  <a:cubicBezTo>
                    <a:pt x="99" y="137"/>
                    <a:pt x="99" y="137"/>
                    <a:pt x="99" y="137"/>
                  </a:cubicBezTo>
                  <a:cubicBezTo>
                    <a:pt x="98" y="137"/>
                    <a:pt x="96" y="136"/>
                    <a:pt x="96" y="134"/>
                  </a:cubicBezTo>
                  <a:cubicBezTo>
                    <a:pt x="96" y="116"/>
                    <a:pt x="96" y="116"/>
                    <a:pt x="96" y="116"/>
                  </a:cubicBezTo>
                  <a:cubicBezTo>
                    <a:pt x="96" y="115"/>
                    <a:pt x="98" y="114"/>
                    <a:pt x="99" y="114"/>
                  </a:cubicBezTo>
                  <a:cubicBezTo>
                    <a:pt x="119" y="114"/>
                    <a:pt x="119" y="114"/>
                    <a:pt x="119" y="114"/>
                  </a:cubicBezTo>
                  <a:cubicBezTo>
                    <a:pt x="121" y="114"/>
                    <a:pt x="122" y="115"/>
                    <a:pt x="122" y="116"/>
                  </a:cubicBezTo>
                  <a:close/>
                  <a:moveTo>
                    <a:pt x="158" y="116"/>
                  </a:moveTo>
                  <a:cubicBezTo>
                    <a:pt x="158" y="134"/>
                    <a:pt x="158" y="134"/>
                    <a:pt x="158" y="134"/>
                  </a:cubicBezTo>
                  <a:cubicBezTo>
                    <a:pt x="158" y="136"/>
                    <a:pt x="157" y="137"/>
                    <a:pt x="155" y="137"/>
                  </a:cubicBezTo>
                  <a:cubicBezTo>
                    <a:pt x="135" y="137"/>
                    <a:pt x="135" y="137"/>
                    <a:pt x="135" y="137"/>
                  </a:cubicBezTo>
                  <a:cubicBezTo>
                    <a:pt x="134" y="137"/>
                    <a:pt x="132" y="136"/>
                    <a:pt x="132" y="134"/>
                  </a:cubicBezTo>
                  <a:cubicBezTo>
                    <a:pt x="132" y="116"/>
                    <a:pt x="132" y="116"/>
                    <a:pt x="132" y="116"/>
                  </a:cubicBezTo>
                  <a:cubicBezTo>
                    <a:pt x="132" y="115"/>
                    <a:pt x="134" y="114"/>
                    <a:pt x="135" y="114"/>
                  </a:cubicBezTo>
                  <a:cubicBezTo>
                    <a:pt x="155" y="114"/>
                    <a:pt x="155" y="114"/>
                    <a:pt x="155" y="114"/>
                  </a:cubicBezTo>
                  <a:cubicBezTo>
                    <a:pt x="157" y="114"/>
                    <a:pt x="158" y="115"/>
                    <a:pt x="158" y="116"/>
                  </a:cubicBezTo>
                  <a:close/>
                  <a:moveTo>
                    <a:pt x="194" y="116"/>
                  </a:moveTo>
                  <a:cubicBezTo>
                    <a:pt x="194" y="134"/>
                    <a:pt x="194" y="134"/>
                    <a:pt x="194" y="134"/>
                  </a:cubicBezTo>
                  <a:cubicBezTo>
                    <a:pt x="194" y="136"/>
                    <a:pt x="193" y="137"/>
                    <a:pt x="191" y="137"/>
                  </a:cubicBezTo>
                  <a:cubicBezTo>
                    <a:pt x="171" y="137"/>
                    <a:pt x="171" y="137"/>
                    <a:pt x="171" y="137"/>
                  </a:cubicBezTo>
                  <a:cubicBezTo>
                    <a:pt x="170" y="137"/>
                    <a:pt x="168" y="136"/>
                    <a:pt x="168" y="134"/>
                  </a:cubicBezTo>
                  <a:cubicBezTo>
                    <a:pt x="168" y="116"/>
                    <a:pt x="168" y="116"/>
                    <a:pt x="168" y="116"/>
                  </a:cubicBezTo>
                  <a:cubicBezTo>
                    <a:pt x="168" y="115"/>
                    <a:pt x="170" y="114"/>
                    <a:pt x="171" y="114"/>
                  </a:cubicBezTo>
                  <a:cubicBezTo>
                    <a:pt x="191" y="114"/>
                    <a:pt x="191" y="114"/>
                    <a:pt x="191" y="114"/>
                  </a:cubicBezTo>
                  <a:cubicBezTo>
                    <a:pt x="193" y="114"/>
                    <a:pt x="194" y="115"/>
                    <a:pt x="194" y="116"/>
                  </a:cubicBezTo>
                  <a:close/>
                  <a:moveTo>
                    <a:pt x="50" y="149"/>
                  </a:moveTo>
                  <a:cubicBezTo>
                    <a:pt x="50" y="167"/>
                    <a:pt x="50" y="167"/>
                    <a:pt x="50" y="167"/>
                  </a:cubicBezTo>
                  <a:cubicBezTo>
                    <a:pt x="50" y="169"/>
                    <a:pt x="49" y="170"/>
                    <a:pt x="47" y="170"/>
                  </a:cubicBezTo>
                  <a:cubicBezTo>
                    <a:pt x="27" y="170"/>
                    <a:pt x="27" y="170"/>
                    <a:pt x="27" y="170"/>
                  </a:cubicBezTo>
                  <a:cubicBezTo>
                    <a:pt x="26" y="170"/>
                    <a:pt x="24" y="169"/>
                    <a:pt x="24" y="167"/>
                  </a:cubicBezTo>
                  <a:cubicBezTo>
                    <a:pt x="24" y="149"/>
                    <a:pt x="24" y="149"/>
                    <a:pt x="24" y="149"/>
                  </a:cubicBezTo>
                  <a:cubicBezTo>
                    <a:pt x="24" y="148"/>
                    <a:pt x="26" y="146"/>
                    <a:pt x="27" y="146"/>
                  </a:cubicBezTo>
                  <a:cubicBezTo>
                    <a:pt x="47" y="146"/>
                    <a:pt x="47" y="146"/>
                    <a:pt x="47" y="146"/>
                  </a:cubicBezTo>
                  <a:cubicBezTo>
                    <a:pt x="49" y="146"/>
                    <a:pt x="50" y="148"/>
                    <a:pt x="50" y="149"/>
                  </a:cubicBezTo>
                  <a:close/>
                  <a:moveTo>
                    <a:pt x="86" y="149"/>
                  </a:moveTo>
                  <a:cubicBezTo>
                    <a:pt x="86" y="167"/>
                    <a:pt x="86" y="167"/>
                    <a:pt x="86" y="167"/>
                  </a:cubicBezTo>
                  <a:cubicBezTo>
                    <a:pt x="86" y="169"/>
                    <a:pt x="85" y="170"/>
                    <a:pt x="83" y="170"/>
                  </a:cubicBezTo>
                  <a:cubicBezTo>
                    <a:pt x="63" y="170"/>
                    <a:pt x="63" y="170"/>
                    <a:pt x="63" y="170"/>
                  </a:cubicBezTo>
                  <a:cubicBezTo>
                    <a:pt x="62" y="170"/>
                    <a:pt x="60" y="169"/>
                    <a:pt x="60" y="167"/>
                  </a:cubicBezTo>
                  <a:cubicBezTo>
                    <a:pt x="60" y="149"/>
                    <a:pt x="60" y="149"/>
                    <a:pt x="60" y="149"/>
                  </a:cubicBezTo>
                  <a:cubicBezTo>
                    <a:pt x="60" y="148"/>
                    <a:pt x="62" y="146"/>
                    <a:pt x="63" y="146"/>
                  </a:cubicBezTo>
                  <a:cubicBezTo>
                    <a:pt x="83" y="146"/>
                    <a:pt x="83" y="146"/>
                    <a:pt x="83" y="146"/>
                  </a:cubicBezTo>
                  <a:cubicBezTo>
                    <a:pt x="85" y="146"/>
                    <a:pt x="86" y="148"/>
                    <a:pt x="86" y="149"/>
                  </a:cubicBezTo>
                  <a:close/>
                  <a:moveTo>
                    <a:pt x="122" y="149"/>
                  </a:moveTo>
                  <a:cubicBezTo>
                    <a:pt x="122" y="167"/>
                    <a:pt x="122" y="167"/>
                    <a:pt x="122" y="167"/>
                  </a:cubicBezTo>
                  <a:cubicBezTo>
                    <a:pt x="122" y="169"/>
                    <a:pt x="121" y="170"/>
                    <a:pt x="119" y="170"/>
                  </a:cubicBezTo>
                  <a:cubicBezTo>
                    <a:pt x="99" y="170"/>
                    <a:pt x="99" y="170"/>
                    <a:pt x="99" y="170"/>
                  </a:cubicBezTo>
                  <a:cubicBezTo>
                    <a:pt x="98" y="170"/>
                    <a:pt x="96" y="169"/>
                    <a:pt x="96" y="167"/>
                  </a:cubicBezTo>
                  <a:cubicBezTo>
                    <a:pt x="96" y="149"/>
                    <a:pt x="96" y="149"/>
                    <a:pt x="96" y="149"/>
                  </a:cubicBezTo>
                  <a:cubicBezTo>
                    <a:pt x="96" y="148"/>
                    <a:pt x="98" y="146"/>
                    <a:pt x="99" y="146"/>
                  </a:cubicBezTo>
                  <a:cubicBezTo>
                    <a:pt x="119" y="146"/>
                    <a:pt x="119" y="146"/>
                    <a:pt x="119" y="146"/>
                  </a:cubicBezTo>
                  <a:cubicBezTo>
                    <a:pt x="121" y="146"/>
                    <a:pt x="122" y="148"/>
                    <a:pt x="122" y="149"/>
                  </a:cubicBezTo>
                  <a:close/>
                  <a:moveTo>
                    <a:pt x="158" y="149"/>
                  </a:moveTo>
                  <a:cubicBezTo>
                    <a:pt x="158" y="167"/>
                    <a:pt x="158" y="167"/>
                    <a:pt x="158" y="167"/>
                  </a:cubicBezTo>
                  <a:cubicBezTo>
                    <a:pt x="158" y="169"/>
                    <a:pt x="157" y="170"/>
                    <a:pt x="155" y="170"/>
                  </a:cubicBezTo>
                  <a:cubicBezTo>
                    <a:pt x="135" y="170"/>
                    <a:pt x="135" y="170"/>
                    <a:pt x="135" y="170"/>
                  </a:cubicBezTo>
                  <a:cubicBezTo>
                    <a:pt x="134" y="170"/>
                    <a:pt x="132" y="169"/>
                    <a:pt x="132" y="167"/>
                  </a:cubicBezTo>
                  <a:cubicBezTo>
                    <a:pt x="132" y="149"/>
                    <a:pt x="132" y="149"/>
                    <a:pt x="132" y="149"/>
                  </a:cubicBezTo>
                  <a:cubicBezTo>
                    <a:pt x="132" y="148"/>
                    <a:pt x="134" y="146"/>
                    <a:pt x="135" y="146"/>
                  </a:cubicBezTo>
                  <a:cubicBezTo>
                    <a:pt x="155" y="146"/>
                    <a:pt x="155" y="146"/>
                    <a:pt x="155" y="146"/>
                  </a:cubicBezTo>
                  <a:cubicBezTo>
                    <a:pt x="157" y="146"/>
                    <a:pt x="158" y="148"/>
                    <a:pt x="158" y="149"/>
                  </a:cubicBezTo>
                  <a:close/>
                  <a:moveTo>
                    <a:pt x="194" y="149"/>
                  </a:moveTo>
                  <a:cubicBezTo>
                    <a:pt x="194" y="167"/>
                    <a:pt x="194" y="167"/>
                    <a:pt x="194" y="167"/>
                  </a:cubicBezTo>
                  <a:cubicBezTo>
                    <a:pt x="194" y="169"/>
                    <a:pt x="193" y="170"/>
                    <a:pt x="191" y="170"/>
                  </a:cubicBezTo>
                  <a:cubicBezTo>
                    <a:pt x="171" y="170"/>
                    <a:pt x="171" y="170"/>
                    <a:pt x="171" y="170"/>
                  </a:cubicBezTo>
                  <a:cubicBezTo>
                    <a:pt x="170" y="170"/>
                    <a:pt x="168" y="169"/>
                    <a:pt x="168" y="167"/>
                  </a:cubicBezTo>
                  <a:cubicBezTo>
                    <a:pt x="168" y="149"/>
                    <a:pt x="168" y="149"/>
                    <a:pt x="168" y="149"/>
                  </a:cubicBezTo>
                  <a:cubicBezTo>
                    <a:pt x="168" y="148"/>
                    <a:pt x="170" y="146"/>
                    <a:pt x="171" y="146"/>
                  </a:cubicBezTo>
                  <a:cubicBezTo>
                    <a:pt x="191" y="146"/>
                    <a:pt x="191" y="146"/>
                    <a:pt x="191" y="146"/>
                  </a:cubicBezTo>
                  <a:cubicBezTo>
                    <a:pt x="193" y="146"/>
                    <a:pt x="194" y="148"/>
                    <a:pt x="194" y="149"/>
                  </a:cubicBezTo>
                  <a:close/>
                  <a:moveTo>
                    <a:pt x="50" y="182"/>
                  </a:moveTo>
                  <a:cubicBezTo>
                    <a:pt x="50" y="200"/>
                    <a:pt x="50" y="200"/>
                    <a:pt x="50" y="200"/>
                  </a:cubicBezTo>
                  <a:cubicBezTo>
                    <a:pt x="50" y="201"/>
                    <a:pt x="49" y="203"/>
                    <a:pt x="47" y="203"/>
                  </a:cubicBezTo>
                  <a:cubicBezTo>
                    <a:pt x="27" y="203"/>
                    <a:pt x="27" y="203"/>
                    <a:pt x="27" y="203"/>
                  </a:cubicBezTo>
                  <a:cubicBezTo>
                    <a:pt x="26" y="203"/>
                    <a:pt x="24" y="201"/>
                    <a:pt x="24" y="200"/>
                  </a:cubicBezTo>
                  <a:cubicBezTo>
                    <a:pt x="24" y="182"/>
                    <a:pt x="24" y="182"/>
                    <a:pt x="24" y="182"/>
                  </a:cubicBezTo>
                  <a:cubicBezTo>
                    <a:pt x="24" y="180"/>
                    <a:pt x="26" y="179"/>
                    <a:pt x="27" y="179"/>
                  </a:cubicBezTo>
                  <a:cubicBezTo>
                    <a:pt x="47" y="179"/>
                    <a:pt x="47" y="179"/>
                    <a:pt x="47" y="179"/>
                  </a:cubicBezTo>
                  <a:cubicBezTo>
                    <a:pt x="49" y="179"/>
                    <a:pt x="50" y="180"/>
                    <a:pt x="50" y="182"/>
                  </a:cubicBezTo>
                  <a:close/>
                  <a:moveTo>
                    <a:pt x="86" y="182"/>
                  </a:moveTo>
                  <a:cubicBezTo>
                    <a:pt x="86" y="200"/>
                    <a:pt x="86" y="200"/>
                    <a:pt x="86" y="200"/>
                  </a:cubicBezTo>
                  <a:cubicBezTo>
                    <a:pt x="86" y="201"/>
                    <a:pt x="85" y="203"/>
                    <a:pt x="83" y="203"/>
                  </a:cubicBezTo>
                  <a:cubicBezTo>
                    <a:pt x="63" y="203"/>
                    <a:pt x="63" y="203"/>
                    <a:pt x="63" y="203"/>
                  </a:cubicBezTo>
                  <a:cubicBezTo>
                    <a:pt x="62" y="203"/>
                    <a:pt x="60" y="201"/>
                    <a:pt x="60" y="200"/>
                  </a:cubicBezTo>
                  <a:cubicBezTo>
                    <a:pt x="60" y="182"/>
                    <a:pt x="60" y="182"/>
                    <a:pt x="60" y="182"/>
                  </a:cubicBezTo>
                  <a:cubicBezTo>
                    <a:pt x="60" y="180"/>
                    <a:pt x="62" y="179"/>
                    <a:pt x="63" y="179"/>
                  </a:cubicBezTo>
                  <a:cubicBezTo>
                    <a:pt x="83" y="179"/>
                    <a:pt x="83" y="179"/>
                    <a:pt x="83" y="179"/>
                  </a:cubicBezTo>
                  <a:cubicBezTo>
                    <a:pt x="85" y="179"/>
                    <a:pt x="86" y="180"/>
                    <a:pt x="86" y="182"/>
                  </a:cubicBezTo>
                  <a:close/>
                  <a:moveTo>
                    <a:pt x="122" y="182"/>
                  </a:moveTo>
                  <a:cubicBezTo>
                    <a:pt x="122" y="200"/>
                    <a:pt x="122" y="200"/>
                    <a:pt x="122" y="200"/>
                  </a:cubicBezTo>
                  <a:cubicBezTo>
                    <a:pt x="122" y="201"/>
                    <a:pt x="121" y="203"/>
                    <a:pt x="119" y="203"/>
                  </a:cubicBezTo>
                  <a:cubicBezTo>
                    <a:pt x="99" y="203"/>
                    <a:pt x="99" y="203"/>
                    <a:pt x="99" y="203"/>
                  </a:cubicBezTo>
                  <a:cubicBezTo>
                    <a:pt x="98" y="203"/>
                    <a:pt x="96" y="201"/>
                    <a:pt x="96" y="200"/>
                  </a:cubicBezTo>
                  <a:cubicBezTo>
                    <a:pt x="96" y="182"/>
                    <a:pt x="96" y="182"/>
                    <a:pt x="96" y="182"/>
                  </a:cubicBezTo>
                  <a:cubicBezTo>
                    <a:pt x="96" y="180"/>
                    <a:pt x="98" y="179"/>
                    <a:pt x="99" y="179"/>
                  </a:cubicBezTo>
                  <a:cubicBezTo>
                    <a:pt x="119" y="179"/>
                    <a:pt x="119" y="179"/>
                    <a:pt x="119" y="179"/>
                  </a:cubicBezTo>
                  <a:cubicBezTo>
                    <a:pt x="121" y="179"/>
                    <a:pt x="122" y="180"/>
                    <a:pt x="122" y="182"/>
                  </a:cubicBezTo>
                  <a:close/>
                  <a:moveTo>
                    <a:pt x="158" y="182"/>
                  </a:moveTo>
                  <a:cubicBezTo>
                    <a:pt x="158" y="200"/>
                    <a:pt x="158" y="200"/>
                    <a:pt x="158" y="200"/>
                  </a:cubicBezTo>
                  <a:cubicBezTo>
                    <a:pt x="158" y="201"/>
                    <a:pt x="157" y="203"/>
                    <a:pt x="155" y="203"/>
                  </a:cubicBezTo>
                  <a:cubicBezTo>
                    <a:pt x="135" y="203"/>
                    <a:pt x="135" y="203"/>
                    <a:pt x="135" y="203"/>
                  </a:cubicBezTo>
                  <a:cubicBezTo>
                    <a:pt x="134" y="203"/>
                    <a:pt x="132" y="201"/>
                    <a:pt x="132" y="200"/>
                  </a:cubicBezTo>
                  <a:cubicBezTo>
                    <a:pt x="132" y="182"/>
                    <a:pt x="132" y="182"/>
                    <a:pt x="132" y="182"/>
                  </a:cubicBezTo>
                  <a:cubicBezTo>
                    <a:pt x="132" y="180"/>
                    <a:pt x="134" y="179"/>
                    <a:pt x="135" y="179"/>
                  </a:cubicBezTo>
                  <a:cubicBezTo>
                    <a:pt x="155" y="179"/>
                    <a:pt x="155" y="179"/>
                    <a:pt x="155" y="179"/>
                  </a:cubicBezTo>
                  <a:cubicBezTo>
                    <a:pt x="157" y="179"/>
                    <a:pt x="158" y="180"/>
                    <a:pt x="158" y="182"/>
                  </a:cubicBezTo>
                  <a:close/>
                  <a:moveTo>
                    <a:pt x="86" y="84"/>
                  </a:moveTo>
                  <a:cubicBezTo>
                    <a:pt x="86" y="102"/>
                    <a:pt x="86" y="102"/>
                    <a:pt x="86" y="102"/>
                  </a:cubicBezTo>
                  <a:cubicBezTo>
                    <a:pt x="86" y="103"/>
                    <a:pt x="85" y="105"/>
                    <a:pt x="83" y="105"/>
                  </a:cubicBezTo>
                  <a:cubicBezTo>
                    <a:pt x="63" y="105"/>
                    <a:pt x="63" y="105"/>
                    <a:pt x="63" y="105"/>
                  </a:cubicBezTo>
                  <a:cubicBezTo>
                    <a:pt x="62" y="105"/>
                    <a:pt x="60" y="103"/>
                    <a:pt x="60" y="102"/>
                  </a:cubicBezTo>
                  <a:cubicBezTo>
                    <a:pt x="60" y="84"/>
                    <a:pt x="60" y="84"/>
                    <a:pt x="60" y="84"/>
                  </a:cubicBezTo>
                  <a:cubicBezTo>
                    <a:pt x="60" y="82"/>
                    <a:pt x="62" y="81"/>
                    <a:pt x="63" y="81"/>
                  </a:cubicBezTo>
                  <a:cubicBezTo>
                    <a:pt x="83" y="81"/>
                    <a:pt x="83" y="81"/>
                    <a:pt x="83" y="81"/>
                  </a:cubicBezTo>
                  <a:cubicBezTo>
                    <a:pt x="85" y="81"/>
                    <a:pt x="86" y="82"/>
                    <a:pt x="86" y="84"/>
                  </a:cubicBezTo>
                  <a:close/>
                  <a:moveTo>
                    <a:pt x="122" y="84"/>
                  </a:moveTo>
                  <a:cubicBezTo>
                    <a:pt x="122" y="102"/>
                    <a:pt x="122" y="102"/>
                    <a:pt x="122" y="102"/>
                  </a:cubicBezTo>
                  <a:cubicBezTo>
                    <a:pt x="122" y="103"/>
                    <a:pt x="121" y="105"/>
                    <a:pt x="119" y="105"/>
                  </a:cubicBezTo>
                  <a:cubicBezTo>
                    <a:pt x="99" y="105"/>
                    <a:pt x="99" y="105"/>
                    <a:pt x="99" y="105"/>
                  </a:cubicBezTo>
                  <a:cubicBezTo>
                    <a:pt x="98" y="105"/>
                    <a:pt x="96" y="103"/>
                    <a:pt x="96" y="102"/>
                  </a:cubicBezTo>
                  <a:cubicBezTo>
                    <a:pt x="96" y="84"/>
                    <a:pt x="96" y="84"/>
                    <a:pt x="96" y="84"/>
                  </a:cubicBezTo>
                  <a:cubicBezTo>
                    <a:pt x="96" y="82"/>
                    <a:pt x="98" y="81"/>
                    <a:pt x="99" y="81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21" y="81"/>
                    <a:pt x="122" y="82"/>
                    <a:pt x="122" y="84"/>
                  </a:cubicBezTo>
                  <a:close/>
                  <a:moveTo>
                    <a:pt x="158" y="84"/>
                  </a:moveTo>
                  <a:cubicBezTo>
                    <a:pt x="158" y="102"/>
                    <a:pt x="158" y="102"/>
                    <a:pt x="158" y="102"/>
                  </a:cubicBezTo>
                  <a:cubicBezTo>
                    <a:pt x="158" y="103"/>
                    <a:pt x="157" y="105"/>
                    <a:pt x="155" y="105"/>
                  </a:cubicBezTo>
                  <a:cubicBezTo>
                    <a:pt x="135" y="105"/>
                    <a:pt x="135" y="105"/>
                    <a:pt x="135" y="105"/>
                  </a:cubicBezTo>
                  <a:cubicBezTo>
                    <a:pt x="134" y="105"/>
                    <a:pt x="132" y="103"/>
                    <a:pt x="132" y="102"/>
                  </a:cubicBezTo>
                  <a:cubicBezTo>
                    <a:pt x="132" y="84"/>
                    <a:pt x="132" y="84"/>
                    <a:pt x="132" y="84"/>
                  </a:cubicBezTo>
                  <a:cubicBezTo>
                    <a:pt x="132" y="82"/>
                    <a:pt x="134" y="81"/>
                    <a:pt x="135" y="81"/>
                  </a:cubicBezTo>
                  <a:cubicBezTo>
                    <a:pt x="155" y="81"/>
                    <a:pt x="155" y="81"/>
                    <a:pt x="155" y="81"/>
                  </a:cubicBezTo>
                  <a:cubicBezTo>
                    <a:pt x="157" y="81"/>
                    <a:pt x="158" y="82"/>
                    <a:pt x="158" y="84"/>
                  </a:cubicBezTo>
                  <a:close/>
                  <a:moveTo>
                    <a:pt x="194" y="84"/>
                  </a:moveTo>
                  <a:cubicBezTo>
                    <a:pt x="194" y="102"/>
                    <a:pt x="194" y="102"/>
                    <a:pt x="194" y="102"/>
                  </a:cubicBezTo>
                  <a:cubicBezTo>
                    <a:pt x="194" y="103"/>
                    <a:pt x="193" y="105"/>
                    <a:pt x="191" y="105"/>
                  </a:cubicBezTo>
                  <a:cubicBezTo>
                    <a:pt x="171" y="105"/>
                    <a:pt x="171" y="105"/>
                    <a:pt x="171" y="105"/>
                  </a:cubicBezTo>
                  <a:cubicBezTo>
                    <a:pt x="170" y="105"/>
                    <a:pt x="168" y="103"/>
                    <a:pt x="168" y="102"/>
                  </a:cubicBezTo>
                  <a:cubicBezTo>
                    <a:pt x="168" y="84"/>
                    <a:pt x="168" y="84"/>
                    <a:pt x="168" y="84"/>
                  </a:cubicBezTo>
                  <a:cubicBezTo>
                    <a:pt x="168" y="82"/>
                    <a:pt x="170" y="81"/>
                    <a:pt x="171" y="81"/>
                  </a:cubicBezTo>
                  <a:cubicBezTo>
                    <a:pt x="191" y="81"/>
                    <a:pt x="191" y="81"/>
                    <a:pt x="191" y="81"/>
                  </a:cubicBezTo>
                  <a:cubicBezTo>
                    <a:pt x="193" y="81"/>
                    <a:pt x="194" y="82"/>
                    <a:pt x="194" y="84"/>
                  </a:cubicBez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grpSp>
        <p:nvGrpSpPr>
          <p:cNvPr id="109" name="Group 54">
            <a:extLst>
              <a:ext uri="{FF2B5EF4-FFF2-40B4-BE49-F238E27FC236}">
                <a16:creationId xmlns:a16="http://schemas.microsoft.com/office/drawing/2014/main" xmlns="" id="{6BF92667-723F-408B-AB25-284D31A63E6D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2588536" y="2556277"/>
            <a:ext cx="331527" cy="365749"/>
            <a:chOff x="1402" y="1703"/>
            <a:chExt cx="310" cy="342"/>
          </a:xfrm>
          <a:effectLst>
            <a:outerShdw blurRad="101600" dist="76200" dir="2700000" algn="ctr" rotWithShape="0">
              <a:srgbClr val="000000">
                <a:alpha val="29000"/>
              </a:srgbClr>
            </a:outerShdw>
          </a:effectLst>
        </p:grpSpPr>
        <p:sp>
          <p:nvSpPr>
            <p:cNvPr id="110" name="AutoShape 53">
              <a:extLst>
                <a:ext uri="{FF2B5EF4-FFF2-40B4-BE49-F238E27FC236}">
                  <a16:creationId xmlns:a16="http://schemas.microsoft.com/office/drawing/2014/main" xmlns="" id="{79BE6A46-9866-4979-9234-BCC038151F92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402" y="1703"/>
              <a:ext cx="310" cy="3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1" name="Freeform 55">
              <a:extLst>
                <a:ext uri="{FF2B5EF4-FFF2-40B4-BE49-F238E27FC236}">
                  <a16:creationId xmlns:a16="http://schemas.microsoft.com/office/drawing/2014/main" xmlns="" id="{7ED79260-3A70-4CE6-9FB2-8B29554FB5EA}"/>
                </a:ext>
              </a:extLst>
            </p:cNvPr>
            <p:cNvSpPr>
              <a:spLocks/>
            </p:cNvSpPr>
            <p:nvPr/>
          </p:nvSpPr>
          <p:spPr bwMode="auto">
            <a:xfrm>
              <a:off x="1401" y="1703"/>
              <a:ext cx="313" cy="341"/>
            </a:xfrm>
            <a:custGeom>
              <a:avLst/>
              <a:gdLst>
                <a:gd name="T0" fmla="*/ 366 w 369"/>
                <a:gd name="T1" fmla="*/ 105 h 404"/>
                <a:gd name="T2" fmla="*/ 238 w 369"/>
                <a:gd name="T3" fmla="*/ 292 h 404"/>
                <a:gd name="T4" fmla="*/ 238 w 369"/>
                <a:gd name="T5" fmla="*/ 378 h 404"/>
                <a:gd name="T6" fmla="*/ 234 w 369"/>
                <a:gd name="T7" fmla="*/ 382 h 404"/>
                <a:gd name="T8" fmla="*/ 185 w 369"/>
                <a:gd name="T9" fmla="*/ 404 h 404"/>
                <a:gd name="T10" fmla="*/ 184 w 369"/>
                <a:gd name="T11" fmla="*/ 404 h 404"/>
                <a:gd name="T12" fmla="*/ 136 w 369"/>
                <a:gd name="T13" fmla="*/ 382 h 404"/>
                <a:gd name="T14" fmla="*/ 132 w 369"/>
                <a:gd name="T15" fmla="*/ 378 h 404"/>
                <a:gd name="T16" fmla="*/ 132 w 369"/>
                <a:gd name="T17" fmla="*/ 295 h 404"/>
                <a:gd name="T18" fmla="*/ 4 w 369"/>
                <a:gd name="T19" fmla="*/ 105 h 404"/>
                <a:gd name="T20" fmla="*/ 3 w 369"/>
                <a:gd name="T21" fmla="*/ 63 h 404"/>
                <a:gd name="T22" fmla="*/ 3 w 369"/>
                <a:gd name="T23" fmla="*/ 61 h 404"/>
                <a:gd name="T24" fmla="*/ 186 w 369"/>
                <a:gd name="T25" fmla="*/ 0 h 404"/>
                <a:gd name="T26" fmla="*/ 367 w 369"/>
                <a:gd name="T27" fmla="*/ 62 h 404"/>
                <a:gd name="T28" fmla="*/ 368 w 369"/>
                <a:gd name="T29" fmla="*/ 63 h 404"/>
                <a:gd name="T30" fmla="*/ 368 w 369"/>
                <a:gd name="T31" fmla="*/ 67 h 404"/>
                <a:gd name="T32" fmla="*/ 366 w 369"/>
                <a:gd name="T33" fmla="*/ 105 h 4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69" h="404">
                  <a:moveTo>
                    <a:pt x="366" y="105"/>
                  </a:moveTo>
                  <a:cubicBezTo>
                    <a:pt x="360" y="120"/>
                    <a:pt x="270" y="248"/>
                    <a:pt x="238" y="292"/>
                  </a:cubicBezTo>
                  <a:cubicBezTo>
                    <a:pt x="238" y="378"/>
                    <a:pt x="238" y="378"/>
                    <a:pt x="238" y="378"/>
                  </a:cubicBezTo>
                  <a:cubicBezTo>
                    <a:pt x="234" y="382"/>
                    <a:pt x="234" y="382"/>
                    <a:pt x="234" y="382"/>
                  </a:cubicBezTo>
                  <a:cubicBezTo>
                    <a:pt x="233" y="383"/>
                    <a:pt x="215" y="403"/>
                    <a:pt x="185" y="404"/>
                  </a:cubicBezTo>
                  <a:cubicBezTo>
                    <a:pt x="184" y="404"/>
                    <a:pt x="184" y="404"/>
                    <a:pt x="184" y="404"/>
                  </a:cubicBezTo>
                  <a:cubicBezTo>
                    <a:pt x="155" y="404"/>
                    <a:pt x="136" y="383"/>
                    <a:pt x="136" y="382"/>
                  </a:cubicBezTo>
                  <a:cubicBezTo>
                    <a:pt x="132" y="378"/>
                    <a:pt x="132" y="378"/>
                    <a:pt x="132" y="378"/>
                  </a:cubicBezTo>
                  <a:cubicBezTo>
                    <a:pt x="132" y="295"/>
                    <a:pt x="132" y="295"/>
                    <a:pt x="132" y="295"/>
                  </a:cubicBezTo>
                  <a:cubicBezTo>
                    <a:pt x="107" y="258"/>
                    <a:pt x="10" y="119"/>
                    <a:pt x="4" y="105"/>
                  </a:cubicBezTo>
                  <a:cubicBezTo>
                    <a:pt x="3" y="103"/>
                    <a:pt x="0" y="97"/>
                    <a:pt x="3" y="63"/>
                  </a:cubicBezTo>
                  <a:cubicBezTo>
                    <a:pt x="3" y="62"/>
                    <a:pt x="3" y="61"/>
                    <a:pt x="3" y="61"/>
                  </a:cubicBezTo>
                  <a:cubicBezTo>
                    <a:pt x="3" y="13"/>
                    <a:pt x="118" y="0"/>
                    <a:pt x="186" y="0"/>
                  </a:cubicBezTo>
                  <a:cubicBezTo>
                    <a:pt x="273" y="0"/>
                    <a:pt x="367" y="20"/>
                    <a:pt x="367" y="62"/>
                  </a:cubicBezTo>
                  <a:cubicBezTo>
                    <a:pt x="367" y="63"/>
                    <a:pt x="368" y="63"/>
                    <a:pt x="368" y="63"/>
                  </a:cubicBezTo>
                  <a:cubicBezTo>
                    <a:pt x="368" y="64"/>
                    <a:pt x="368" y="66"/>
                    <a:pt x="368" y="67"/>
                  </a:cubicBezTo>
                  <a:cubicBezTo>
                    <a:pt x="369" y="87"/>
                    <a:pt x="368" y="100"/>
                    <a:pt x="366" y="10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2" name="Freeform 56">
              <a:extLst>
                <a:ext uri="{FF2B5EF4-FFF2-40B4-BE49-F238E27FC236}">
                  <a16:creationId xmlns:a16="http://schemas.microsoft.com/office/drawing/2014/main" xmlns="" id="{6A28CA23-E299-40C0-9DC4-01B3E0D447E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13" y="1715"/>
              <a:ext cx="289" cy="317"/>
            </a:xfrm>
            <a:custGeom>
              <a:avLst/>
              <a:gdLst>
                <a:gd name="T0" fmla="*/ 340 w 341"/>
                <a:gd name="T1" fmla="*/ 53 h 376"/>
                <a:gd name="T2" fmla="*/ 339 w 341"/>
                <a:gd name="T3" fmla="*/ 48 h 376"/>
                <a:gd name="T4" fmla="*/ 172 w 341"/>
                <a:gd name="T5" fmla="*/ 0 h 376"/>
                <a:gd name="T6" fmla="*/ 3 w 341"/>
                <a:gd name="T7" fmla="*/ 47 h 376"/>
                <a:gd name="T8" fmla="*/ 3 w 341"/>
                <a:gd name="T9" fmla="*/ 49 h 376"/>
                <a:gd name="T10" fmla="*/ 3 w 341"/>
                <a:gd name="T11" fmla="*/ 86 h 376"/>
                <a:gd name="T12" fmla="*/ 132 w 341"/>
                <a:gd name="T13" fmla="*/ 276 h 376"/>
                <a:gd name="T14" fmla="*/ 132 w 341"/>
                <a:gd name="T15" fmla="*/ 359 h 376"/>
                <a:gd name="T16" fmla="*/ 171 w 341"/>
                <a:gd name="T17" fmla="*/ 376 h 376"/>
                <a:gd name="T18" fmla="*/ 210 w 341"/>
                <a:gd name="T19" fmla="*/ 359 h 376"/>
                <a:gd name="T20" fmla="*/ 210 w 341"/>
                <a:gd name="T21" fmla="*/ 274 h 376"/>
                <a:gd name="T22" fmla="*/ 339 w 341"/>
                <a:gd name="T23" fmla="*/ 86 h 376"/>
                <a:gd name="T24" fmla="*/ 340 w 341"/>
                <a:gd name="T25" fmla="*/ 53 h 376"/>
                <a:gd name="T26" fmla="*/ 173 w 341"/>
                <a:gd name="T27" fmla="*/ 100 h 376"/>
                <a:gd name="T28" fmla="*/ 18 w 341"/>
                <a:gd name="T29" fmla="*/ 61 h 376"/>
                <a:gd name="T30" fmla="*/ 173 w 341"/>
                <a:gd name="T31" fmla="*/ 21 h 376"/>
                <a:gd name="T32" fmla="*/ 328 w 341"/>
                <a:gd name="T33" fmla="*/ 61 h 376"/>
                <a:gd name="T34" fmla="*/ 173 w 341"/>
                <a:gd name="T35" fmla="*/ 100 h 3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41" h="376">
                  <a:moveTo>
                    <a:pt x="340" y="53"/>
                  </a:moveTo>
                  <a:cubicBezTo>
                    <a:pt x="340" y="51"/>
                    <a:pt x="339" y="50"/>
                    <a:pt x="339" y="48"/>
                  </a:cubicBezTo>
                  <a:cubicBezTo>
                    <a:pt x="339" y="22"/>
                    <a:pt x="265" y="0"/>
                    <a:pt x="172" y="0"/>
                  </a:cubicBezTo>
                  <a:cubicBezTo>
                    <a:pt x="79" y="0"/>
                    <a:pt x="3" y="20"/>
                    <a:pt x="3" y="47"/>
                  </a:cubicBezTo>
                  <a:cubicBezTo>
                    <a:pt x="3" y="47"/>
                    <a:pt x="3" y="48"/>
                    <a:pt x="3" y="49"/>
                  </a:cubicBezTo>
                  <a:cubicBezTo>
                    <a:pt x="3" y="49"/>
                    <a:pt x="0" y="80"/>
                    <a:pt x="3" y="86"/>
                  </a:cubicBezTo>
                  <a:cubicBezTo>
                    <a:pt x="9" y="99"/>
                    <a:pt x="132" y="276"/>
                    <a:pt x="132" y="276"/>
                  </a:cubicBezTo>
                  <a:cubicBezTo>
                    <a:pt x="132" y="359"/>
                    <a:pt x="132" y="359"/>
                    <a:pt x="132" y="359"/>
                  </a:cubicBezTo>
                  <a:cubicBezTo>
                    <a:pt x="132" y="359"/>
                    <a:pt x="147" y="376"/>
                    <a:pt x="171" y="376"/>
                  </a:cubicBezTo>
                  <a:cubicBezTo>
                    <a:pt x="195" y="375"/>
                    <a:pt x="210" y="359"/>
                    <a:pt x="210" y="359"/>
                  </a:cubicBezTo>
                  <a:cubicBezTo>
                    <a:pt x="210" y="274"/>
                    <a:pt x="210" y="274"/>
                    <a:pt x="210" y="274"/>
                  </a:cubicBezTo>
                  <a:cubicBezTo>
                    <a:pt x="210" y="274"/>
                    <a:pt x="333" y="101"/>
                    <a:pt x="339" y="86"/>
                  </a:cubicBezTo>
                  <a:cubicBezTo>
                    <a:pt x="341" y="80"/>
                    <a:pt x="340" y="53"/>
                    <a:pt x="340" y="53"/>
                  </a:cubicBezTo>
                  <a:close/>
                  <a:moveTo>
                    <a:pt x="173" y="100"/>
                  </a:moveTo>
                  <a:cubicBezTo>
                    <a:pt x="87" y="100"/>
                    <a:pt x="18" y="83"/>
                    <a:pt x="18" y="61"/>
                  </a:cubicBezTo>
                  <a:cubicBezTo>
                    <a:pt x="18" y="39"/>
                    <a:pt x="87" y="21"/>
                    <a:pt x="173" y="21"/>
                  </a:cubicBezTo>
                  <a:cubicBezTo>
                    <a:pt x="258" y="21"/>
                    <a:pt x="328" y="39"/>
                    <a:pt x="328" y="61"/>
                  </a:cubicBezTo>
                  <a:cubicBezTo>
                    <a:pt x="328" y="83"/>
                    <a:pt x="258" y="100"/>
                    <a:pt x="173" y="100"/>
                  </a:cubicBez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grpSp>
        <p:nvGrpSpPr>
          <p:cNvPr id="113" name="Group 106">
            <a:extLst>
              <a:ext uri="{FF2B5EF4-FFF2-40B4-BE49-F238E27FC236}">
                <a16:creationId xmlns:a16="http://schemas.microsoft.com/office/drawing/2014/main" xmlns="" id="{C6B12F9C-BB88-47F5-A71B-352F9836CFA5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867721" y="2398576"/>
            <a:ext cx="532580" cy="588190"/>
            <a:chOff x="407" y="907"/>
            <a:chExt cx="498" cy="550"/>
          </a:xfrm>
          <a:effectLst>
            <a:outerShdw blurRad="101600" dist="76200" dir="2700000" algn="ctr" rotWithShape="0">
              <a:srgbClr val="000000">
                <a:alpha val="29000"/>
              </a:srgbClr>
            </a:outerShdw>
          </a:effectLst>
        </p:grpSpPr>
        <p:sp>
          <p:nvSpPr>
            <p:cNvPr id="114" name="AutoShape 105">
              <a:extLst>
                <a:ext uri="{FF2B5EF4-FFF2-40B4-BE49-F238E27FC236}">
                  <a16:creationId xmlns:a16="http://schemas.microsoft.com/office/drawing/2014/main" xmlns="" id="{658D037D-DA5B-402B-8DA1-7F0159552E9D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407" y="907"/>
              <a:ext cx="498" cy="5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5" name="Freeform 107">
              <a:extLst>
                <a:ext uri="{FF2B5EF4-FFF2-40B4-BE49-F238E27FC236}">
                  <a16:creationId xmlns:a16="http://schemas.microsoft.com/office/drawing/2014/main" xmlns="" id="{11BF2C2C-3B8B-42FF-885D-07898E343B7C}"/>
                </a:ext>
              </a:extLst>
            </p:cNvPr>
            <p:cNvSpPr>
              <a:spLocks/>
            </p:cNvSpPr>
            <p:nvPr/>
          </p:nvSpPr>
          <p:spPr bwMode="auto">
            <a:xfrm>
              <a:off x="408" y="907"/>
              <a:ext cx="496" cy="551"/>
            </a:xfrm>
            <a:custGeom>
              <a:avLst/>
              <a:gdLst>
                <a:gd name="T0" fmla="*/ 520 w 631"/>
                <a:gd name="T1" fmla="*/ 203 h 700"/>
                <a:gd name="T2" fmla="*/ 496 w 631"/>
                <a:gd name="T3" fmla="*/ 206 h 700"/>
                <a:gd name="T4" fmla="*/ 288 w 631"/>
                <a:gd name="T5" fmla="*/ 98 h 700"/>
                <a:gd name="T6" fmla="*/ 207 w 631"/>
                <a:gd name="T7" fmla="*/ 22 h 700"/>
                <a:gd name="T8" fmla="*/ 180 w 631"/>
                <a:gd name="T9" fmla="*/ 26 h 700"/>
                <a:gd name="T10" fmla="*/ 104 w 631"/>
                <a:gd name="T11" fmla="*/ 0 h 700"/>
                <a:gd name="T12" fmla="*/ 0 w 631"/>
                <a:gd name="T13" fmla="*/ 90 h 700"/>
                <a:gd name="T14" fmla="*/ 47 w 631"/>
                <a:gd name="T15" fmla="*/ 147 h 700"/>
                <a:gd name="T16" fmla="*/ 36 w 631"/>
                <a:gd name="T17" fmla="*/ 222 h 700"/>
                <a:gd name="T18" fmla="*/ 173 w 631"/>
                <a:gd name="T19" fmla="*/ 241 h 700"/>
                <a:gd name="T20" fmla="*/ 216 w 631"/>
                <a:gd name="T21" fmla="*/ 185 h 700"/>
                <a:gd name="T22" fmla="*/ 228 w 631"/>
                <a:gd name="T23" fmla="*/ 183 h 700"/>
                <a:gd name="T24" fmla="*/ 410 w 631"/>
                <a:gd name="T25" fmla="*/ 302 h 700"/>
                <a:gd name="T26" fmla="*/ 409 w 631"/>
                <a:gd name="T27" fmla="*/ 314 h 700"/>
                <a:gd name="T28" fmla="*/ 410 w 631"/>
                <a:gd name="T29" fmla="*/ 325 h 700"/>
                <a:gd name="T30" fmla="*/ 335 w 631"/>
                <a:gd name="T31" fmla="*/ 391 h 700"/>
                <a:gd name="T32" fmla="*/ 331 w 631"/>
                <a:gd name="T33" fmla="*/ 391 h 700"/>
                <a:gd name="T34" fmla="*/ 210 w 631"/>
                <a:gd name="T35" fmla="*/ 481 h 700"/>
                <a:gd name="T36" fmla="*/ 210 w 631"/>
                <a:gd name="T37" fmla="*/ 700 h 700"/>
                <a:gd name="T38" fmla="*/ 451 w 631"/>
                <a:gd name="T39" fmla="*/ 700 h 700"/>
                <a:gd name="T40" fmla="*/ 451 w 631"/>
                <a:gd name="T41" fmla="*/ 500 h 700"/>
                <a:gd name="T42" fmla="*/ 516 w 631"/>
                <a:gd name="T43" fmla="*/ 424 h 700"/>
                <a:gd name="T44" fmla="*/ 520 w 631"/>
                <a:gd name="T45" fmla="*/ 425 h 700"/>
                <a:gd name="T46" fmla="*/ 631 w 631"/>
                <a:gd name="T47" fmla="*/ 314 h 700"/>
                <a:gd name="T48" fmla="*/ 520 w 631"/>
                <a:gd name="T49" fmla="*/ 203 h 7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631" h="700">
                  <a:moveTo>
                    <a:pt x="520" y="203"/>
                  </a:moveTo>
                  <a:cubicBezTo>
                    <a:pt x="512" y="203"/>
                    <a:pt x="504" y="204"/>
                    <a:pt x="496" y="206"/>
                  </a:cubicBezTo>
                  <a:cubicBezTo>
                    <a:pt x="288" y="98"/>
                    <a:pt x="288" y="98"/>
                    <a:pt x="288" y="98"/>
                  </a:cubicBezTo>
                  <a:cubicBezTo>
                    <a:pt x="285" y="55"/>
                    <a:pt x="250" y="22"/>
                    <a:pt x="207" y="22"/>
                  </a:cubicBezTo>
                  <a:cubicBezTo>
                    <a:pt x="198" y="22"/>
                    <a:pt x="189" y="23"/>
                    <a:pt x="180" y="26"/>
                  </a:cubicBezTo>
                  <a:cubicBezTo>
                    <a:pt x="104" y="0"/>
                    <a:pt x="104" y="0"/>
                    <a:pt x="104" y="0"/>
                  </a:cubicBezTo>
                  <a:cubicBezTo>
                    <a:pt x="0" y="90"/>
                    <a:pt x="0" y="90"/>
                    <a:pt x="0" y="90"/>
                  </a:cubicBezTo>
                  <a:cubicBezTo>
                    <a:pt x="47" y="147"/>
                    <a:pt x="47" y="147"/>
                    <a:pt x="47" y="147"/>
                  </a:cubicBezTo>
                  <a:cubicBezTo>
                    <a:pt x="36" y="222"/>
                    <a:pt x="36" y="222"/>
                    <a:pt x="36" y="222"/>
                  </a:cubicBezTo>
                  <a:cubicBezTo>
                    <a:pt x="173" y="241"/>
                    <a:pt x="173" y="241"/>
                    <a:pt x="173" y="241"/>
                  </a:cubicBezTo>
                  <a:cubicBezTo>
                    <a:pt x="216" y="185"/>
                    <a:pt x="216" y="185"/>
                    <a:pt x="216" y="185"/>
                  </a:cubicBezTo>
                  <a:cubicBezTo>
                    <a:pt x="220" y="184"/>
                    <a:pt x="224" y="184"/>
                    <a:pt x="228" y="183"/>
                  </a:cubicBezTo>
                  <a:cubicBezTo>
                    <a:pt x="410" y="302"/>
                    <a:pt x="410" y="302"/>
                    <a:pt x="410" y="302"/>
                  </a:cubicBezTo>
                  <a:cubicBezTo>
                    <a:pt x="409" y="306"/>
                    <a:pt x="409" y="310"/>
                    <a:pt x="409" y="314"/>
                  </a:cubicBezTo>
                  <a:cubicBezTo>
                    <a:pt x="409" y="317"/>
                    <a:pt x="409" y="321"/>
                    <a:pt x="410" y="325"/>
                  </a:cubicBezTo>
                  <a:cubicBezTo>
                    <a:pt x="335" y="391"/>
                    <a:pt x="335" y="391"/>
                    <a:pt x="335" y="391"/>
                  </a:cubicBezTo>
                  <a:cubicBezTo>
                    <a:pt x="334" y="391"/>
                    <a:pt x="332" y="391"/>
                    <a:pt x="331" y="391"/>
                  </a:cubicBezTo>
                  <a:cubicBezTo>
                    <a:pt x="275" y="391"/>
                    <a:pt x="223" y="429"/>
                    <a:pt x="210" y="481"/>
                  </a:cubicBezTo>
                  <a:cubicBezTo>
                    <a:pt x="210" y="700"/>
                    <a:pt x="210" y="700"/>
                    <a:pt x="210" y="700"/>
                  </a:cubicBezTo>
                  <a:cubicBezTo>
                    <a:pt x="451" y="700"/>
                    <a:pt x="451" y="700"/>
                    <a:pt x="451" y="700"/>
                  </a:cubicBezTo>
                  <a:cubicBezTo>
                    <a:pt x="451" y="500"/>
                    <a:pt x="451" y="500"/>
                    <a:pt x="451" y="500"/>
                  </a:cubicBezTo>
                  <a:cubicBezTo>
                    <a:pt x="516" y="424"/>
                    <a:pt x="516" y="424"/>
                    <a:pt x="516" y="424"/>
                  </a:cubicBezTo>
                  <a:cubicBezTo>
                    <a:pt x="517" y="425"/>
                    <a:pt x="519" y="425"/>
                    <a:pt x="520" y="425"/>
                  </a:cubicBezTo>
                  <a:cubicBezTo>
                    <a:pt x="581" y="425"/>
                    <a:pt x="631" y="375"/>
                    <a:pt x="631" y="314"/>
                  </a:cubicBezTo>
                  <a:cubicBezTo>
                    <a:pt x="631" y="253"/>
                    <a:pt x="581" y="203"/>
                    <a:pt x="520" y="20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16" name="Freeform 108">
              <a:extLst>
                <a:ext uri="{FF2B5EF4-FFF2-40B4-BE49-F238E27FC236}">
                  <a16:creationId xmlns:a16="http://schemas.microsoft.com/office/drawing/2014/main" xmlns="" id="{8D694439-AE50-4A7E-AB5A-6B6A7DA3311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5" y="928"/>
              <a:ext cx="450" cy="511"/>
            </a:xfrm>
            <a:custGeom>
              <a:avLst/>
              <a:gdLst>
                <a:gd name="T0" fmla="*/ 393 w 573"/>
                <a:gd name="T1" fmla="*/ 649 h 649"/>
                <a:gd name="T2" fmla="*/ 200 w 573"/>
                <a:gd name="T3" fmla="*/ 649 h 649"/>
                <a:gd name="T4" fmla="*/ 200 w 573"/>
                <a:gd name="T5" fmla="*/ 601 h 649"/>
                <a:gd name="T6" fmla="*/ 393 w 573"/>
                <a:gd name="T7" fmla="*/ 601 h 649"/>
                <a:gd name="T8" fmla="*/ 393 w 573"/>
                <a:gd name="T9" fmla="*/ 649 h 649"/>
                <a:gd name="T10" fmla="*/ 393 w 573"/>
                <a:gd name="T11" fmla="*/ 478 h 649"/>
                <a:gd name="T12" fmla="*/ 393 w 573"/>
                <a:gd name="T13" fmla="*/ 581 h 649"/>
                <a:gd name="T14" fmla="*/ 200 w 573"/>
                <a:gd name="T15" fmla="*/ 581 h 649"/>
                <a:gd name="T16" fmla="*/ 200 w 573"/>
                <a:gd name="T17" fmla="*/ 478 h 649"/>
                <a:gd name="T18" fmla="*/ 201 w 573"/>
                <a:gd name="T19" fmla="*/ 478 h 649"/>
                <a:gd name="T20" fmla="*/ 297 w 573"/>
                <a:gd name="T21" fmla="*/ 388 h 649"/>
                <a:gd name="T22" fmla="*/ 393 w 573"/>
                <a:gd name="T23" fmla="*/ 478 h 649"/>
                <a:gd name="T24" fmla="*/ 345 w 573"/>
                <a:gd name="T25" fmla="*/ 484 h 649"/>
                <a:gd name="T26" fmla="*/ 297 w 573"/>
                <a:gd name="T27" fmla="*/ 436 h 649"/>
                <a:gd name="T28" fmla="*/ 249 w 573"/>
                <a:gd name="T29" fmla="*/ 484 h 649"/>
                <a:gd name="T30" fmla="*/ 297 w 573"/>
                <a:gd name="T31" fmla="*/ 532 h 649"/>
                <a:gd name="T32" fmla="*/ 345 w 573"/>
                <a:gd name="T33" fmla="*/ 484 h 649"/>
                <a:gd name="T34" fmla="*/ 385 w 573"/>
                <a:gd name="T35" fmla="*/ 322 h 649"/>
                <a:gd name="T36" fmla="*/ 329 w 573"/>
                <a:gd name="T37" fmla="*/ 372 h 649"/>
                <a:gd name="T38" fmla="*/ 408 w 573"/>
                <a:gd name="T39" fmla="*/ 448 h 649"/>
                <a:gd name="T40" fmla="*/ 457 w 573"/>
                <a:gd name="T41" fmla="*/ 390 h 649"/>
                <a:gd name="T42" fmla="*/ 385 w 573"/>
                <a:gd name="T43" fmla="*/ 322 h 649"/>
                <a:gd name="T44" fmla="*/ 573 w 573"/>
                <a:gd name="T45" fmla="*/ 287 h 649"/>
                <a:gd name="T46" fmla="*/ 486 w 573"/>
                <a:gd name="T47" fmla="*/ 374 h 649"/>
                <a:gd name="T48" fmla="*/ 399 w 573"/>
                <a:gd name="T49" fmla="*/ 287 h 649"/>
                <a:gd name="T50" fmla="*/ 486 w 573"/>
                <a:gd name="T51" fmla="*/ 200 h 649"/>
                <a:gd name="T52" fmla="*/ 573 w 573"/>
                <a:gd name="T53" fmla="*/ 287 h 649"/>
                <a:gd name="T54" fmla="*/ 529 w 573"/>
                <a:gd name="T55" fmla="*/ 287 h 649"/>
                <a:gd name="T56" fmla="*/ 486 w 573"/>
                <a:gd name="T57" fmla="*/ 243 h 649"/>
                <a:gd name="T58" fmla="*/ 443 w 573"/>
                <a:gd name="T59" fmla="*/ 287 h 649"/>
                <a:gd name="T60" fmla="*/ 486 w 573"/>
                <a:gd name="T61" fmla="*/ 330 h 649"/>
                <a:gd name="T62" fmla="*/ 529 w 573"/>
                <a:gd name="T63" fmla="*/ 287 h 649"/>
                <a:gd name="T64" fmla="*/ 231 w 573"/>
                <a:gd name="T65" fmla="*/ 77 h 649"/>
                <a:gd name="T66" fmla="*/ 173 w 573"/>
                <a:gd name="T67" fmla="*/ 134 h 649"/>
                <a:gd name="T68" fmla="*/ 115 w 573"/>
                <a:gd name="T69" fmla="*/ 77 h 649"/>
                <a:gd name="T70" fmla="*/ 173 w 573"/>
                <a:gd name="T71" fmla="*/ 19 h 649"/>
                <a:gd name="T72" fmla="*/ 231 w 573"/>
                <a:gd name="T73" fmla="*/ 77 h 649"/>
                <a:gd name="T74" fmla="*/ 202 w 573"/>
                <a:gd name="T75" fmla="*/ 77 h 649"/>
                <a:gd name="T76" fmla="*/ 173 w 573"/>
                <a:gd name="T77" fmla="*/ 48 h 649"/>
                <a:gd name="T78" fmla="*/ 144 w 573"/>
                <a:gd name="T79" fmla="*/ 77 h 649"/>
                <a:gd name="T80" fmla="*/ 173 w 573"/>
                <a:gd name="T81" fmla="*/ 105 h 649"/>
                <a:gd name="T82" fmla="*/ 202 w 573"/>
                <a:gd name="T83" fmla="*/ 77 h 649"/>
                <a:gd name="T84" fmla="*/ 243 w 573"/>
                <a:gd name="T85" fmla="*/ 91 h 649"/>
                <a:gd name="T86" fmla="*/ 210 w 573"/>
                <a:gd name="T87" fmla="*/ 137 h 649"/>
                <a:gd name="T88" fmla="*/ 385 w 573"/>
                <a:gd name="T89" fmla="*/ 252 h 649"/>
                <a:gd name="T90" fmla="*/ 436 w 573"/>
                <a:gd name="T91" fmla="*/ 192 h 649"/>
                <a:gd name="T92" fmla="*/ 243 w 573"/>
                <a:gd name="T93" fmla="*/ 91 h 649"/>
                <a:gd name="T94" fmla="*/ 131 w 573"/>
                <a:gd name="T95" fmla="*/ 19 h 649"/>
                <a:gd name="T96" fmla="*/ 76 w 573"/>
                <a:gd name="T97" fmla="*/ 0 h 649"/>
                <a:gd name="T98" fmla="*/ 0 w 573"/>
                <a:gd name="T99" fmla="*/ 66 h 649"/>
                <a:gd name="T100" fmla="*/ 20 w 573"/>
                <a:gd name="T101" fmla="*/ 87 h 649"/>
                <a:gd name="T102" fmla="*/ 79 w 573"/>
                <a:gd name="T103" fmla="*/ 39 h 649"/>
                <a:gd name="T104" fmla="*/ 106 w 573"/>
                <a:gd name="T105" fmla="*/ 51 h 649"/>
                <a:gd name="T106" fmla="*/ 131 w 573"/>
                <a:gd name="T107" fmla="*/ 19 h 649"/>
                <a:gd name="T108" fmla="*/ 126 w 573"/>
                <a:gd name="T109" fmla="*/ 130 h 649"/>
                <a:gd name="T110" fmla="*/ 110 w 573"/>
                <a:gd name="T111" fmla="*/ 154 h 649"/>
                <a:gd name="T112" fmla="*/ 34 w 573"/>
                <a:gd name="T113" fmla="*/ 146 h 649"/>
                <a:gd name="T114" fmla="*/ 29 w 573"/>
                <a:gd name="T115" fmla="*/ 175 h 649"/>
                <a:gd name="T116" fmla="*/ 128 w 573"/>
                <a:gd name="T117" fmla="*/ 188 h 649"/>
                <a:gd name="T118" fmla="*/ 160 w 573"/>
                <a:gd name="T119" fmla="*/ 147 h 649"/>
                <a:gd name="T120" fmla="*/ 126 w 573"/>
                <a:gd name="T121" fmla="*/ 130 h 6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573" h="649">
                  <a:moveTo>
                    <a:pt x="393" y="649"/>
                  </a:moveTo>
                  <a:cubicBezTo>
                    <a:pt x="200" y="649"/>
                    <a:pt x="200" y="649"/>
                    <a:pt x="200" y="649"/>
                  </a:cubicBezTo>
                  <a:cubicBezTo>
                    <a:pt x="200" y="601"/>
                    <a:pt x="200" y="601"/>
                    <a:pt x="200" y="601"/>
                  </a:cubicBezTo>
                  <a:cubicBezTo>
                    <a:pt x="393" y="601"/>
                    <a:pt x="393" y="601"/>
                    <a:pt x="393" y="601"/>
                  </a:cubicBezTo>
                  <a:lnTo>
                    <a:pt x="393" y="649"/>
                  </a:lnTo>
                  <a:close/>
                  <a:moveTo>
                    <a:pt x="393" y="478"/>
                  </a:moveTo>
                  <a:cubicBezTo>
                    <a:pt x="393" y="581"/>
                    <a:pt x="393" y="581"/>
                    <a:pt x="393" y="581"/>
                  </a:cubicBezTo>
                  <a:cubicBezTo>
                    <a:pt x="200" y="581"/>
                    <a:pt x="200" y="581"/>
                    <a:pt x="200" y="581"/>
                  </a:cubicBezTo>
                  <a:cubicBezTo>
                    <a:pt x="200" y="478"/>
                    <a:pt x="200" y="478"/>
                    <a:pt x="200" y="478"/>
                  </a:cubicBezTo>
                  <a:cubicBezTo>
                    <a:pt x="201" y="478"/>
                    <a:pt x="201" y="478"/>
                    <a:pt x="201" y="478"/>
                  </a:cubicBezTo>
                  <a:cubicBezTo>
                    <a:pt x="203" y="428"/>
                    <a:pt x="245" y="388"/>
                    <a:pt x="297" y="388"/>
                  </a:cubicBezTo>
                  <a:cubicBezTo>
                    <a:pt x="348" y="388"/>
                    <a:pt x="390" y="428"/>
                    <a:pt x="393" y="478"/>
                  </a:cubicBezTo>
                  <a:close/>
                  <a:moveTo>
                    <a:pt x="345" y="484"/>
                  </a:moveTo>
                  <a:cubicBezTo>
                    <a:pt x="345" y="457"/>
                    <a:pt x="323" y="436"/>
                    <a:pt x="297" y="436"/>
                  </a:cubicBezTo>
                  <a:cubicBezTo>
                    <a:pt x="270" y="436"/>
                    <a:pt x="249" y="457"/>
                    <a:pt x="249" y="484"/>
                  </a:cubicBezTo>
                  <a:cubicBezTo>
                    <a:pt x="249" y="511"/>
                    <a:pt x="270" y="532"/>
                    <a:pt x="297" y="532"/>
                  </a:cubicBezTo>
                  <a:cubicBezTo>
                    <a:pt x="323" y="532"/>
                    <a:pt x="345" y="511"/>
                    <a:pt x="345" y="484"/>
                  </a:cubicBezTo>
                  <a:close/>
                  <a:moveTo>
                    <a:pt x="385" y="322"/>
                  </a:moveTo>
                  <a:cubicBezTo>
                    <a:pt x="329" y="372"/>
                    <a:pt x="329" y="372"/>
                    <a:pt x="329" y="372"/>
                  </a:cubicBezTo>
                  <a:cubicBezTo>
                    <a:pt x="366" y="382"/>
                    <a:pt x="396" y="411"/>
                    <a:pt x="408" y="448"/>
                  </a:cubicBezTo>
                  <a:cubicBezTo>
                    <a:pt x="457" y="390"/>
                    <a:pt x="457" y="390"/>
                    <a:pt x="457" y="390"/>
                  </a:cubicBezTo>
                  <a:cubicBezTo>
                    <a:pt x="423" y="380"/>
                    <a:pt x="396" y="355"/>
                    <a:pt x="385" y="322"/>
                  </a:cubicBezTo>
                  <a:close/>
                  <a:moveTo>
                    <a:pt x="573" y="287"/>
                  </a:moveTo>
                  <a:cubicBezTo>
                    <a:pt x="573" y="335"/>
                    <a:pt x="534" y="374"/>
                    <a:pt x="486" y="374"/>
                  </a:cubicBezTo>
                  <a:cubicBezTo>
                    <a:pt x="438" y="374"/>
                    <a:pt x="399" y="335"/>
                    <a:pt x="399" y="287"/>
                  </a:cubicBezTo>
                  <a:cubicBezTo>
                    <a:pt x="399" y="239"/>
                    <a:pt x="438" y="200"/>
                    <a:pt x="486" y="200"/>
                  </a:cubicBezTo>
                  <a:cubicBezTo>
                    <a:pt x="534" y="200"/>
                    <a:pt x="573" y="239"/>
                    <a:pt x="573" y="287"/>
                  </a:cubicBezTo>
                  <a:close/>
                  <a:moveTo>
                    <a:pt x="529" y="287"/>
                  </a:moveTo>
                  <a:cubicBezTo>
                    <a:pt x="529" y="263"/>
                    <a:pt x="510" y="243"/>
                    <a:pt x="486" y="243"/>
                  </a:cubicBezTo>
                  <a:cubicBezTo>
                    <a:pt x="462" y="243"/>
                    <a:pt x="443" y="263"/>
                    <a:pt x="443" y="287"/>
                  </a:cubicBezTo>
                  <a:cubicBezTo>
                    <a:pt x="443" y="311"/>
                    <a:pt x="462" y="330"/>
                    <a:pt x="486" y="330"/>
                  </a:cubicBezTo>
                  <a:cubicBezTo>
                    <a:pt x="510" y="330"/>
                    <a:pt x="529" y="311"/>
                    <a:pt x="529" y="287"/>
                  </a:cubicBezTo>
                  <a:close/>
                  <a:moveTo>
                    <a:pt x="231" y="77"/>
                  </a:moveTo>
                  <a:cubicBezTo>
                    <a:pt x="231" y="108"/>
                    <a:pt x="205" y="134"/>
                    <a:pt x="173" y="134"/>
                  </a:cubicBezTo>
                  <a:cubicBezTo>
                    <a:pt x="141" y="134"/>
                    <a:pt x="115" y="108"/>
                    <a:pt x="115" y="77"/>
                  </a:cubicBezTo>
                  <a:cubicBezTo>
                    <a:pt x="115" y="45"/>
                    <a:pt x="141" y="19"/>
                    <a:pt x="173" y="19"/>
                  </a:cubicBezTo>
                  <a:cubicBezTo>
                    <a:pt x="205" y="19"/>
                    <a:pt x="231" y="45"/>
                    <a:pt x="231" y="77"/>
                  </a:cubicBezTo>
                  <a:close/>
                  <a:moveTo>
                    <a:pt x="202" y="77"/>
                  </a:moveTo>
                  <a:cubicBezTo>
                    <a:pt x="202" y="61"/>
                    <a:pt x="189" y="48"/>
                    <a:pt x="173" y="48"/>
                  </a:cubicBezTo>
                  <a:cubicBezTo>
                    <a:pt x="157" y="48"/>
                    <a:pt x="144" y="61"/>
                    <a:pt x="144" y="77"/>
                  </a:cubicBezTo>
                  <a:cubicBezTo>
                    <a:pt x="144" y="92"/>
                    <a:pt x="157" y="105"/>
                    <a:pt x="173" y="105"/>
                  </a:cubicBezTo>
                  <a:cubicBezTo>
                    <a:pt x="189" y="105"/>
                    <a:pt x="202" y="92"/>
                    <a:pt x="202" y="77"/>
                  </a:cubicBezTo>
                  <a:close/>
                  <a:moveTo>
                    <a:pt x="243" y="91"/>
                  </a:moveTo>
                  <a:cubicBezTo>
                    <a:pt x="238" y="111"/>
                    <a:pt x="226" y="127"/>
                    <a:pt x="210" y="137"/>
                  </a:cubicBezTo>
                  <a:cubicBezTo>
                    <a:pt x="385" y="252"/>
                    <a:pt x="385" y="252"/>
                    <a:pt x="385" y="252"/>
                  </a:cubicBezTo>
                  <a:cubicBezTo>
                    <a:pt x="394" y="226"/>
                    <a:pt x="412" y="205"/>
                    <a:pt x="436" y="192"/>
                  </a:cubicBezTo>
                  <a:lnTo>
                    <a:pt x="243" y="91"/>
                  </a:lnTo>
                  <a:close/>
                  <a:moveTo>
                    <a:pt x="131" y="19"/>
                  </a:moveTo>
                  <a:cubicBezTo>
                    <a:pt x="76" y="0"/>
                    <a:pt x="76" y="0"/>
                    <a:pt x="76" y="0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20" y="87"/>
                    <a:pt x="20" y="87"/>
                    <a:pt x="20" y="87"/>
                  </a:cubicBezTo>
                  <a:cubicBezTo>
                    <a:pt x="79" y="39"/>
                    <a:pt x="79" y="39"/>
                    <a:pt x="79" y="39"/>
                  </a:cubicBezTo>
                  <a:cubicBezTo>
                    <a:pt x="106" y="51"/>
                    <a:pt x="106" y="51"/>
                    <a:pt x="106" y="51"/>
                  </a:cubicBezTo>
                  <a:cubicBezTo>
                    <a:pt x="111" y="38"/>
                    <a:pt x="120" y="27"/>
                    <a:pt x="131" y="19"/>
                  </a:cubicBezTo>
                  <a:close/>
                  <a:moveTo>
                    <a:pt x="126" y="130"/>
                  </a:moveTo>
                  <a:cubicBezTo>
                    <a:pt x="110" y="154"/>
                    <a:pt x="110" y="154"/>
                    <a:pt x="110" y="154"/>
                  </a:cubicBezTo>
                  <a:cubicBezTo>
                    <a:pt x="34" y="146"/>
                    <a:pt x="34" y="146"/>
                    <a:pt x="34" y="146"/>
                  </a:cubicBezTo>
                  <a:cubicBezTo>
                    <a:pt x="29" y="175"/>
                    <a:pt x="29" y="175"/>
                    <a:pt x="29" y="175"/>
                  </a:cubicBezTo>
                  <a:cubicBezTo>
                    <a:pt x="128" y="188"/>
                    <a:pt x="128" y="188"/>
                    <a:pt x="128" y="188"/>
                  </a:cubicBezTo>
                  <a:cubicBezTo>
                    <a:pt x="160" y="147"/>
                    <a:pt x="160" y="147"/>
                    <a:pt x="160" y="147"/>
                  </a:cubicBezTo>
                  <a:cubicBezTo>
                    <a:pt x="147" y="144"/>
                    <a:pt x="135" y="138"/>
                    <a:pt x="126" y="130"/>
                  </a:cubicBez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grpSp>
        <p:nvGrpSpPr>
          <p:cNvPr id="117" name="Group 111">
            <a:extLst>
              <a:ext uri="{FF2B5EF4-FFF2-40B4-BE49-F238E27FC236}">
                <a16:creationId xmlns:a16="http://schemas.microsoft.com/office/drawing/2014/main" xmlns="" id="{DBEFED66-1A82-424B-A843-6F25ECA68798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149150" y="2358234"/>
            <a:ext cx="535788" cy="596747"/>
            <a:chOff x="1079" y="913"/>
            <a:chExt cx="501" cy="558"/>
          </a:xfrm>
          <a:effectLst>
            <a:outerShdw blurRad="101600" dist="76200" dir="2700000" algn="ctr" rotWithShape="0">
              <a:srgbClr val="000000">
                <a:alpha val="29000"/>
              </a:srgbClr>
            </a:outerShdw>
          </a:effectLst>
        </p:grpSpPr>
        <p:sp>
          <p:nvSpPr>
            <p:cNvPr id="118" name="AutoShape 110">
              <a:extLst>
                <a:ext uri="{FF2B5EF4-FFF2-40B4-BE49-F238E27FC236}">
                  <a16:creationId xmlns:a16="http://schemas.microsoft.com/office/drawing/2014/main" xmlns="" id="{A75E9685-4FBD-4A90-A742-F1B5196F2BA0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079" y="913"/>
              <a:ext cx="501" cy="55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9" name="Freeform 112">
              <a:extLst>
                <a:ext uri="{FF2B5EF4-FFF2-40B4-BE49-F238E27FC236}">
                  <a16:creationId xmlns:a16="http://schemas.microsoft.com/office/drawing/2014/main" xmlns="" id="{EFC490DD-699E-466E-9B5B-A06DA7A72CA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" y="913"/>
              <a:ext cx="502" cy="559"/>
            </a:xfrm>
            <a:custGeom>
              <a:avLst/>
              <a:gdLst>
                <a:gd name="T0" fmla="*/ 232 w 502"/>
                <a:gd name="T1" fmla="*/ 89 h 559"/>
                <a:gd name="T2" fmla="*/ 232 w 502"/>
                <a:gd name="T3" fmla="*/ 29 h 559"/>
                <a:gd name="T4" fmla="*/ 141 w 502"/>
                <a:gd name="T5" fmla="*/ 29 h 559"/>
                <a:gd name="T6" fmla="*/ 141 w 502"/>
                <a:gd name="T7" fmla="*/ 0 h 559"/>
                <a:gd name="T8" fmla="*/ 47 w 502"/>
                <a:gd name="T9" fmla="*/ 0 h 559"/>
                <a:gd name="T10" fmla="*/ 47 w 502"/>
                <a:gd name="T11" fmla="*/ 89 h 559"/>
                <a:gd name="T12" fmla="*/ 0 w 502"/>
                <a:gd name="T13" fmla="*/ 89 h 559"/>
                <a:gd name="T14" fmla="*/ 0 w 502"/>
                <a:gd name="T15" fmla="*/ 559 h 559"/>
                <a:gd name="T16" fmla="*/ 150 w 502"/>
                <a:gd name="T17" fmla="*/ 559 h 559"/>
                <a:gd name="T18" fmla="*/ 150 w 502"/>
                <a:gd name="T19" fmla="*/ 491 h 559"/>
                <a:gd name="T20" fmla="*/ 352 w 502"/>
                <a:gd name="T21" fmla="*/ 491 h 559"/>
                <a:gd name="T22" fmla="*/ 352 w 502"/>
                <a:gd name="T23" fmla="*/ 559 h 559"/>
                <a:gd name="T24" fmla="*/ 502 w 502"/>
                <a:gd name="T25" fmla="*/ 559 h 559"/>
                <a:gd name="T26" fmla="*/ 502 w 502"/>
                <a:gd name="T27" fmla="*/ 89 h 559"/>
                <a:gd name="T28" fmla="*/ 232 w 502"/>
                <a:gd name="T29" fmla="*/ 89 h 5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02" h="559">
                  <a:moveTo>
                    <a:pt x="232" y="89"/>
                  </a:moveTo>
                  <a:lnTo>
                    <a:pt x="232" y="29"/>
                  </a:lnTo>
                  <a:lnTo>
                    <a:pt x="141" y="29"/>
                  </a:lnTo>
                  <a:lnTo>
                    <a:pt x="141" y="0"/>
                  </a:lnTo>
                  <a:lnTo>
                    <a:pt x="47" y="0"/>
                  </a:lnTo>
                  <a:lnTo>
                    <a:pt x="47" y="89"/>
                  </a:lnTo>
                  <a:lnTo>
                    <a:pt x="0" y="89"/>
                  </a:lnTo>
                  <a:lnTo>
                    <a:pt x="0" y="559"/>
                  </a:lnTo>
                  <a:lnTo>
                    <a:pt x="150" y="559"/>
                  </a:lnTo>
                  <a:lnTo>
                    <a:pt x="150" y="491"/>
                  </a:lnTo>
                  <a:lnTo>
                    <a:pt x="352" y="491"/>
                  </a:lnTo>
                  <a:lnTo>
                    <a:pt x="352" y="559"/>
                  </a:lnTo>
                  <a:lnTo>
                    <a:pt x="502" y="559"/>
                  </a:lnTo>
                  <a:lnTo>
                    <a:pt x="502" y="89"/>
                  </a:lnTo>
                  <a:lnTo>
                    <a:pt x="232" y="8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20" name="Freeform 113">
              <a:extLst>
                <a:ext uri="{FF2B5EF4-FFF2-40B4-BE49-F238E27FC236}">
                  <a16:creationId xmlns:a16="http://schemas.microsoft.com/office/drawing/2014/main" xmlns="" id="{D85670AA-49B8-4101-AB56-431F6AAC9E7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88" y="923"/>
              <a:ext cx="482" cy="539"/>
            </a:xfrm>
            <a:custGeom>
              <a:avLst/>
              <a:gdLst>
                <a:gd name="T0" fmla="*/ 592 w 592"/>
                <a:gd name="T1" fmla="*/ 661 h 661"/>
                <a:gd name="T2" fmla="*/ 160 w 592"/>
                <a:gd name="T3" fmla="*/ 583 h 661"/>
                <a:gd name="T4" fmla="*/ 0 w 592"/>
                <a:gd name="T5" fmla="*/ 109 h 661"/>
                <a:gd name="T6" fmla="*/ 149 w 592"/>
                <a:gd name="T7" fmla="*/ 109 h 661"/>
                <a:gd name="T8" fmla="*/ 260 w 592"/>
                <a:gd name="T9" fmla="*/ 109 h 661"/>
                <a:gd name="T10" fmla="*/ 403 w 592"/>
                <a:gd name="T11" fmla="*/ 492 h 661"/>
                <a:gd name="T12" fmla="*/ 432 w 592"/>
                <a:gd name="T13" fmla="*/ 491 h 661"/>
                <a:gd name="T14" fmla="*/ 452 w 592"/>
                <a:gd name="T15" fmla="*/ 479 h 661"/>
                <a:gd name="T16" fmla="*/ 476 w 592"/>
                <a:gd name="T17" fmla="*/ 454 h 661"/>
                <a:gd name="T18" fmla="*/ 470 w 592"/>
                <a:gd name="T19" fmla="*/ 407 h 661"/>
                <a:gd name="T20" fmla="*/ 437 w 592"/>
                <a:gd name="T21" fmla="*/ 387 h 661"/>
                <a:gd name="T22" fmla="*/ 404 w 592"/>
                <a:gd name="T23" fmla="*/ 380 h 661"/>
                <a:gd name="T24" fmla="*/ 386 w 592"/>
                <a:gd name="T25" fmla="*/ 392 h 661"/>
                <a:gd name="T26" fmla="*/ 364 w 592"/>
                <a:gd name="T27" fmla="*/ 411 h 661"/>
                <a:gd name="T28" fmla="*/ 362 w 592"/>
                <a:gd name="T29" fmla="*/ 443 h 661"/>
                <a:gd name="T30" fmla="*/ 371 w 592"/>
                <a:gd name="T31" fmla="*/ 470 h 661"/>
                <a:gd name="T32" fmla="*/ 393 w 592"/>
                <a:gd name="T33" fmla="*/ 495 h 661"/>
                <a:gd name="T34" fmla="*/ 217 w 592"/>
                <a:gd name="T35" fmla="*/ 476 h 661"/>
                <a:gd name="T36" fmla="*/ 240 w 592"/>
                <a:gd name="T37" fmla="*/ 463 h 661"/>
                <a:gd name="T38" fmla="*/ 268 w 592"/>
                <a:gd name="T39" fmla="*/ 446 h 661"/>
                <a:gd name="T40" fmla="*/ 290 w 592"/>
                <a:gd name="T41" fmla="*/ 421 h 661"/>
                <a:gd name="T42" fmla="*/ 308 w 592"/>
                <a:gd name="T43" fmla="*/ 376 h 661"/>
                <a:gd name="T44" fmla="*/ 299 w 592"/>
                <a:gd name="T45" fmla="*/ 340 h 661"/>
                <a:gd name="T46" fmla="*/ 270 w 592"/>
                <a:gd name="T47" fmla="*/ 320 h 661"/>
                <a:gd name="T48" fmla="*/ 247 w 592"/>
                <a:gd name="T49" fmla="*/ 314 h 661"/>
                <a:gd name="T50" fmla="*/ 218 w 592"/>
                <a:gd name="T51" fmla="*/ 309 h 661"/>
                <a:gd name="T52" fmla="*/ 197 w 592"/>
                <a:gd name="T53" fmla="*/ 296 h 661"/>
                <a:gd name="T54" fmla="*/ 182 w 592"/>
                <a:gd name="T55" fmla="*/ 319 h 661"/>
                <a:gd name="T56" fmla="*/ 161 w 592"/>
                <a:gd name="T57" fmla="*/ 314 h 661"/>
                <a:gd name="T58" fmla="*/ 143 w 592"/>
                <a:gd name="T59" fmla="*/ 346 h 661"/>
                <a:gd name="T60" fmla="*/ 141 w 592"/>
                <a:gd name="T61" fmla="*/ 367 h 661"/>
                <a:gd name="T62" fmla="*/ 129 w 592"/>
                <a:gd name="T63" fmla="*/ 383 h 661"/>
                <a:gd name="T64" fmla="*/ 131 w 592"/>
                <a:gd name="T65" fmla="*/ 420 h 661"/>
                <a:gd name="T66" fmla="*/ 150 w 592"/>
                <a:gd name="T67" fmla="*/ 451 h 661"/>
                <a:gd name="T68" fmla="*/ 180 w 592"/>
                <a:gd name="T69" fmla="*/ 475 h 661"/>
                <a:gd name="T70" fmla="*/ 365 w 592"/>
                <a:gd name="T71" fmla="*/ 306 h 661"/>
                <a:gd name="T72" fmla="*/ 384 w 592"/>
                <a:gd name="T73" fmla="*/ 297 h 661"/>
                <a:gd name="T74" fmla="*/ 410 w 592"/>
                <a:gd name="T75" fmla="*/ 283 h 661"/>
                <a:gd name="T76" fmla="*/ 424 w 592"/>
                <a:gd name="T77" fmla="*/ 237 h 661"/>
                <a:gd name="T78" fmla="*/ 399 w 592"/>
                <a:gd name="T79" fmla="*/ 197 h 661"/>
                <a:gd name="T80" fmla="*/ 364 w 592"/>
                <a:gd name="T81" fmla="*/ 191 h 661"/>
                <a:gd name="T82" fmla="*/ 341 w 592"/>
                <a:gd name="T83" fmla="*/ 198 h 661"/>
                <a:gd name="T84" fmla="*/ 322 w 592"/>
                <a:gd name="T85" fmla="*/ 212 h 661"/>
                <a:gd name="T86" fmla="*/ 309 w 592"/>
                <a:gd name="T87" fmla="*/ 234 h 661"/>
                <a:gd name="T88" fmla="*/ 309 w 592"/>
                <a:gd name="T89" fmla="*/ 261 h 661"/>
                <a:gd name="T90" fmla="*/ 320 w 592"/>
                <a:gd name="T91" fmla="*/ 288 h 661"/>
                <a:gd name="T92" fmla="*/ 418 w 592"/>
                <a:gd name="T93" fmla="*/ 478 h 661"/>
                <a:gd name="T94" fmla="*/ 418 w 592"/>
                <a:gd name="T95" fmla="*/ 478 h 661"/>
                <a:gd name="T96" fmla="*/ 219 w 592"/>
                <a:gd name="T97" fmla="*/ 339 h 661"/>
                <a:gd name="T98" fmla="*/ 325 w 592"/>
                <a:gd name="T99" fmla="*/ 246 h 6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592" h="661">
                  <a:moveTo>
                    <a:pt x="432" y="661"/>
                  </a:moveTo>
                  <a:cubicBezTo>
                    <a:pt x="432" y="583"/>
                    <a:pt x="432" y="583"/>
                    <a:pt x="432" y="583"/>
                  </a:cubicBezTo>
                  <a:cubicBezTo>
                    <a:pt x="592" y="583"/>
                    <a:pt x="592" y="583"/>
                    <a:pt x="592" y="583"/>
                  </a:cubicBezTo>
                  <a:cubicBezTo>
                    <a:pt x="592" y="661"/>
                    <a:pt x="592" y="661"/>
                    <a:pt x="592" y="661"/>
                  </a:cubicBezTo>
                  <a:lnTo>
                    <a:pt x="432" y="661"/>
                  </a:lnTo>
                  <a:close/>
                  <a:moveTo>
                    <a:pt x="0" y="661"/>
                  </a:moveTo>
                  <a:cubicBezTo>
                    <a:pt x="0" y="583"/>
                    <a:pt x="0" y="583"/>
                    <a:pt x="0" y="583"/>
                  </a:cubicBezTo>
                  <a:cubicBezTo>
                    <a:pt x="160" y="583"/>
                    <a:pt x="160" y="583"/>
                    <a:pt x="160" y="583"/>
                  </a:cubicBezTo>
                  <a:cubicBezTo>
                    <a:pt x="160" y="661"/>
                    <a:pt x="160" y="661"/>
                    <a:pt x="160" y="661"/>
                  </a:cubicBezTo>
                  <a:lnTo>
                    <a:pt x="0" y="661"/>
                  </a:lnTo>
                  <a:close/>
                  <a:moveTo>
                    <a:pt x="0" y="578"/>
                  </a:moveTo>
                  <a:cubicBezTo>
                    <a:pt x="0" y="109"/>
                    <a:pt x="0" y="109"/>
                    <a:pt x="0" y="109"/>
                  </a:cubicBezTo>
                  <a:cubicBezTo>
                    <a:pt x="57" y="109"/>
                    <a:pt x="57" y="109"/>
                    <a:pt x="57" y="109"/>
                  </a:cubicBezTo>
                  <a:cubicBezTo>
                    <a:pt x="57" y="0"/>
                    <a:pt x="57" y="0"/>
                    <a:pt x="57" y="0"/>
                  </a:cubicBezTo>
                  <a:cubicBezTo>
                    <a:pt x="149" y="0"/>
                    <a:pt x="149" y="0"/>
                    <a:pt x="149" y="0"/>
                  </a:cubicBezTo>
                  <a:cubicBezTo>
                    <a:pt x="149" y="109"/>
                    <a:pt x="149" y="109"/>
                    <a:pt x="149" y="109"/>
                  </a:cubicBezTo>
                  <a:cubicBezTo>
                    <a:pt x="168" y="109"/>
                    <a:pt x="168" y="109"/>
                    <a:pt x="168" y="109"/>
                  </a:cubicBezTo>
                  <a:cubicBezTo>
                    <a:pt x="168" y="35"/>
                    <a:pt x="168" y="35"/>
                    <a:pt x="168" y="35"/>
                  </a:cubicBezTo>
                  <a:cubicBezTo>
                    <a:pt x="260" y="35"/>
                    <a:pt x="260" y="35"/>
                    <a:pt x="260" y="35"/>
                  </a:cubicBezTo>
                  <a:cubicBezTo>
                    <a:pt x="260" y="109"/>
                    <a:pt x="260" y="109"/>
                    <a:pt x="260" y="109"/>
                  </a:cubicBezTo>
                  <a:cubicBezTo>
                    <a:pt x="592" y="109"/>
                    <a:pt x="592" y="109"/>
                    <a:pt x="592" y="109"/>
                  </a:cubicBezTo>
                  <a:cubicBezTo>
                    <a:pt x="592" y="578"/>
                    <a:pt x="592" y="578"/>
                    <a:pt x="592" y="578"/>
                  </a:cubicBezTo>
                  <a:lnTo>
                    <a:pt x="0" y="578"/>
                  </a:lnTo>
                  <a:close/>
                  <a:moveTo>
                    <a:pt x="403" y="492"/>
                  </a:moveTo>
                  <a:cubicBezTo>
                    <a:pt x="405" y="492"/>
                    <a:pt x="406" y="492"/>
                    <a:pt x="408" y="492"/>
                  </a:cubicBezTo>
                  <a:cubicBezTo>
                    <a:pt x="413" y="493"/>
                    <a:pt x="416" y="496"/>
                    <a:pt x="418" y="498"/>
                  </a:cubicBezTo>
                  <a:cubicBezTo>
                    <a:pt x="419" y="497"/>
                    <a:pt x="419" y="496"/>
                    <a:pt x="420" y="495"/>
                  </a:cubicBezTo>
                  <a:cubicBezTo>
                    <a:pt x="424" y="492"/>
                    <a:pt x="429" y="491"/>
                    <a:pt x="432" y="491"/>
                  </a:cubicBezTo>
                  <a:cubicBezTo>
                    <a:pt x="432" y="491"/>
                    <a:pt x="432" y="490"/>
                    <a:pt x="433" y="490"/>
                  </a:cubicBezTo>
                  <a:cubicBezTo>
                    <a:pt x="434" y="490"/>
                    <a:pt x="436" y="490"/>
                    <a:pt x="437" y="490"/>
                  </a:cubicBezTo>
                  <a:cubicBezTo>
                    <a:pt x="438" y="490"/>
                    <a:pt x="441" y="490"/>
                    <a:pt x="443" y="491"/>
                  </a:cubicBezTo>
                  <a:cubicBezTo>
                    <a:pt x="444" y="487"/>
                    <a:pt x="447" y="483"/>
                    <a:pt x="452" y="479"/>
                  </a:cubicBezTo>
                  <a:cubicBezTo>
                    <a:pt x="455" y="477"/>
                    <a:pt x="458" y="475"/>
                    <a:pt x="461" y="475"/>
                  </a:cubicBezTo>
                  <a:cubicBezTo>
                    <a:pt x="462" y="475"/>
                    <a:pt x="463" y="476"/>
                    <a:pt x="463" y="476"/>
                  </a:cubicBezTo>
                  <a:cubicBezTo>
                    <a:pt x="462" y="471"/>
                    <a:pt x="464" y="467"/>
                    <a:pt x="467" y="461"/>
                  </a:cubicBezTo>
                  <a:cubicBezTo>
                    <a:pt x="469" y="457"/>
                    <a:pt x="472" y="455"/>
                    <a:pt x="476" y="454"/>
                  </a:cubicBezTo>
                  <a:cubicBezTo>
                    <a:pt x="473" y="450"/>
                    <a:pt x="472" y="444"/>
                    <a:pt x="473" y="438"/>
                  </a:cubicBezTo>
                  <a:cubicBezTo>
                    <a:pt x="474" y="434"/>
                    <a:pt x="476" y="431"/>
                    <a:pt x="478" y="429"/>
                  </a:cubicBezTo>
                  <a:cubicBezTo>
                    <a:pt x="474" y="427"/>
                    <a:pt x="471" y="424"/>
                    <a:pt x="469" y="417"/>
                  </a:cubicBezTo>
                  <a:cubicBezTo>
                    <a:pt x="468" y="413"/>
                    <a:pt x="468" y="410"/>
                    <a:pt x="470" y="407"/>
                  </a:cubicBezTo>
                  <a:cubicBezTo>
                    <a:pt x="463" y="406"/>
                    <a:pt x="457" y="400"/>
                    <a:pt x="457" y="399"/>
                  </a:cubicBezTo>
                  <a:cubicBezTo>
                    <a:pt x="454" y="396"/>
                    <a:pt x="452" y="393"/>
                    <a:pt x="452" y="389"/>
                  </a:cubicBezTo>
                  <a:cubicBezTo>
                    <a:pt x="451" y="390"/>
                    <a:pt x="449" y="390"/>
                    <a:pt x="448" y="390"/>
                  </a:cubicBezTo>
                  <a:cubicBezTo>
                    <a:pt x="444" y="390"/>
                    <a:pt x="441" y="389"/>
                    <a:pt x="437" y="387"/>
                  </a:cubicBezTo>
                  <a:cubicBezTo>
                    <a:pt x="433" y="386"/>
                    <a:pt x="431" y="383"/>
                    <a:pt x="429" y="380"/>
                  </a:cubicBezTo>
                  <a:cubicBezTo>
                    <a:pt x="426" y="383"/>
                    <a:pt x="423" y="384"/>
                    <a:pt x="417" y="384"/>
                  </a:cubicBezTo>
                  <a:cubicBezTo>
                    <a:pt x="417" y="384"/>
                    <a:pt x="415" y="384"/>
                    <a:pt x="415" y="384"/>
                  </a:cubicBezTo>
                  <a:cubicBezTo>
                    <a:pt x="411" y="384"/>
                    <a:pt x="407" y="382"/>
                    <a:pt x="404" y="380"/>
                  </a:cubicBezTo>
                  <a:cubicBezTo>
                    <a:pt x="403" y="384"/>
                    <a:pt x="400" y="388"/>
                    <a:pt x="395" y="389"/>
                  </a:cubicBezTo>
                  <a:cubicBezTo>
                    <a:pt x="395" y="390"/>
                    <a:pt x="395" y="390"/>
                    <a:pt x="394" y="390"/>
                  </a:cubicBezTo>
                  <a:cubicBezTo>
                    <a:pt x="394" y="390"/>
                    <a:pt x="393" y="391"/>
                    <a:pt x="392" y="391"/>
                  </a:cubicBezTo>
                  <a:cubicBezTo>
                    <a:pt x="390" y="392"/>
                    <a:pt x="388" y="392"/>
                    <a:pt x="386" y="392"/>
                  </a:cubicBezTo>
                  <a:cubicBezTo>
                    <a:pt x="384" y="392"/>
                    <a:pt x="382" y="392"/>
                    <a:pt x="381" y="392"/>
                  </a:cubicBezTo>
                  <a:cubicBezTo>
                    <a:pt x="381" y="397"/>
                    <a:pt x="379" y="401"/>
                    <a:pt x="375" y="404"/>
                  </a:cubicBezTo>
                  <a:cubicBezTo>
                    <a:pt x="374" y="406"/>
                    <a:pt x="374" y="406"/>
                    <a:pt x="374" y="406"/>
                  </a:cubicBezTo>
                  <a:cubicBezTo>
                    <a:pt x="370" y="409"/>
                    <a:pt x="367" y="410"/>
                    <a:pt x="364" y="411"/>
                  </a:cubicBezTo>
                  <a:cubicBezTo>
                    <a:pt x="365" y="414"/>
                    <a:pt x="366" y="418"/>
                    <a:pt x="364" y="424"/>
                  </a:cubicBezTo>
                  <a:cubicBezTo>
                    <a:pt x="363" y="425"/>
                    <a:pt x="363" y="425"/>
                    <a:pt x="363" y="427"/>
                  </a:cubicBezTo>
                  <a:cubicBezTo>
                    <a:pt x="361" y="430"/>
                    <a:pt x="359" y="432"/>
                    <a:pt x="357" y="434"/>
                  </a:cubicBezTo>
                  <a:cubicBezTo>
                    <a:pt x="361" y="437"/>
                    <a:pt x="362" y="441"/>
                    <a:pt x="362" y="443"/>
                  </a:cubicBezTo>
                  <a:cubicBezTo>
                    <a:pt x="362" y="444"/>
                    <a:pt x="362" y="445"/>
                    <a:pt x="362" y="445"/>
                  </a:cubicBezTo>
                  <a:cubicBezTo>
                    <a:pt x="362" y="448"/>
                    <a:pt x="363" y="451"/>
                    <a:pt x="362" y="454"/>
                  </a:cubicBezTo>
                  <a:cubicBezTo>
                    <a:pt x="362" y="456"/>
                    <a:pt x="361" y="458"/>
                    <a:pt x="360" y="460"/>
                  </a:cubicBezTo>
                  <a:cubicBezTo>
                    <a:pt x="365" y="461"/>
                    <a:pt x="369" y="465"/>
                    <a:pt x="371" y="470"/>
                  </a:cubicBezTo>
                  <a:cubicBezTo>
                    <a:pt x="373" y="473"/>
                    <a:pt x="374" y="477"/>
                    <a:pt x="373" y="481"/>
                  </a:cubicBezTo>
                  <a:cubicBezTo>
                    <a:pt x="373" y="481"/>
                    <a:pt x="373" y="481"/>
                    <a:pt x="374" y="481"/>
                  </a:cubicBezTo>
                  <a:cubicBezTo>
                    <a:pt x="378" y="481"/>
                    <a:pt x="383" y="482"/>
                    <a:pt x="387" y="486"/>
                  </a:cubicBezTo>
                  <a:cubicBezTo>
                    <a:pt x="391" y="488"/>
                    <a:pt x="392" y="492"/>
                    <a:pt x="393" y="495"/>
                  </a:cubicBezTo>
                  <a:cubicBezTo>
                    <a:pt x="396" y="493"/>
                    <a:pt x="400" y="492"/>
                    <a:pt x="403" y="492"/>
                  </a:cubicBezTo>
                  <a:close/>
                  <a:moveTo>
                    <a:pt x="199" y="464"/>
                  </a:moveTo>
                  <a:cubicBezTo>
                    <a:pt x="201" y="464"/>
                    <a:pt x="203" y="465"/>
                    <a:pt x="205" y="465"/>
                  </a:cubicBezTo>
                  <a:cubicBezTo>
                    <a:pt x="211" y="466"/>
                    <a:pt x="215" y="470"/>
                    <a:pt x="217" y="476"/>
                  </a:cubicBezTo>
                  <a:cubicBezTo>
                    <a:pt x="218" y="478"/>
                    <a:pt x="219" y="480"/>
                    <a:pt x="219" y="482"/>
                  </a:cubicBezTo>
                  <a:cubicBezTo>
                    <a:pt x="220" y="478"/>
                    <a:pt x="221" y="473"/>
                    <a:pt x="225" y="468"/>
                  </a:cubicBezTo>
                  <a:cubicBezTo>
                    <a:pt x="229" y="464"/>
                    <a:pt x="235" y="464"/>
                    <a:pt x="238" y="463"/>
                  </a:cubicBezTo>
                  <a:cubicBezTo>
                    <a:pt x="239" y="463"/>
                    <a:pt x="240" y="463"/>
                    <a:pt x="240" y="463"/>
                  </a:cubicBezTo>
                  <a:cubicBezTo>
                    <a:pt x="242" y="462"/>
                    <a:pt x="243" y="462"/>
                    <a:pt x="245" y="462"/>
                  </a:cubicBezTo>
                  <a:cubicBezTo>
                    <a:pt x="248" y="462"/>
                    <a:pt x="252" y="463"/>
                    <a:pt x="256" y="467"/>
                  </a:cubicBezTo>
                  <a:cubicBezTo>
                    <a:pt x="257" y="468"/>
                    <a:pt x="257" y="469"/>
                    <a:pt x="258" y="469"/>
                  </a:cubicBezTo>
                  <a:cubicBezTo>
                    <a:pt x="256" y="458"/>
                    <a:pt x="259" y="454"/>
                    <a:pt x="268" y="446"/>
                  </a:cubicBezTo>
                  <a:cubicBezTo>
                    <a:pt x="272" y="444"/>
                    <a:pt x="275" y="443"/>
                    <a:pt x="278" y="443"/>
                  </a:cubicBezTo>
                  <a:cubicBezTo>
                    <a:pt x="280" y="443"/>
                    <a:pt x="282" y="443"/>
                    <a:pt x="285" y="444"/>
                  </a:cubicBezTo>
                  <a:cubicBezTo>
                    <a:pt x="286" y="445"/>
                    <a:pt x="287" y="445"/>
                    <a:pt x="289" y="446"/>
                  </a:cubicBezTo>
                  <a:cubicBezTo>
                    <a:pt x="283" y="437"/>
                    <a:pt x="283" y="431"/>
                    <a:pt x="290" y="421"/>
                  </a:cubicBezTo>
                  <a:cubicBezTo>
                    <a:pt x="293" y="415"/>
                    <a:pt x="298" y="412"/>
                    <a:pt x="304" y="412"/>
                  </a:cubicBezTo>
                  <a:cubicBezTo>
                    <a:pt x="305" y="412"/>
                    <a:pt x="306" y="412"/>
                    <a:pt x="307" y="412"/>
                  </a:cubicBezTo>
                  <a:cubicBezTo>
                    <a:pt x="300" y="407"/>
                    <a:pt x="297" y="398"/>
                    <a:pt x="298" y="388"/>
                  </a:cubicBezTo>
                  <a:cubicBezTo>
                    <a:pt x="299" y="382"/>
                    <a:pt x="303" y="378"/>
                    <a:pt x="308" y="376"/>
                  </a:cubicBezTo>
                  <a:cubicBezTo>
                    <a:pt x="309" y="376"/>
                    <a:pt x="309" y="375"/>
                    <a:pt x="310" y="375"/>
                  </a:cubicBezTo>
                  <a:cubicBezTo>
                    <a:pt x="303" y="374"/>
                    <a:pt x="297" y="369"/>
                    <a:pt x="293" y="358"/>
                  </a:cubicBezTo>
                  <a:cubicBezTo>
                    <a:pt x="291" y="351"/>
                    <a:pt x="293" y="345"/>
                    <a:pt x="296" y="342"/>
                  </a:cubicBezTo>
                  <a:cubicBezTo>
                    <a:pt x="297" y="341"/>
                    <a:pt x="298" y="340"/>
                    <a:pt x="299" y="340"/>
                  </a:cubicBezTo>
                  <a:cubicBezTo>
                    <a:pt x="297" y="340"/>
                    <a:pt x="297" y="340"/>
                    <a:pt x="297" y="340"/>
                  </a:cubicBezTo>
                  <a:cubicBezTo>
                    <a:pt x="295" y="341"/>
                    <a:pt x="294" y="341"/>
                    <a:pt x="293" y="341"/>
                  </a:cubicBezTo>
                  <a:cubicBezTo>
                    <a:pt x="284" y="341"/>
                    <a:pt x="275" y="332"/>
                    <a:pt x="275" y="332"/>
                  </a:cubicBezTo>
                  <a:cubicBezTo>
                    <a:pt x="272" y="328"/>
                    <a:pt x="270" y="324"/>
                    <a:pt x="270" y="320"/>
                  </a:cubicBezTo>
                  <a:cubicBezTo>
                    <a:pt x="270" y="318"/>
                    <a:pt x="271" y="316"/>
                    <a:pt x="271" y="315"/>
                  </a:cubicBezTo>
                  <a:cubicBezTo>
                    <a:pt x="272" y="314"/>
                    <a:pt x="272" y="313"/>
                    <a:pt x="272" y="312"/>
                  </a:cubicBezTo>
                  <a:cubicBezTo>
                    <a:pt x="268" y="316"/>
                    <a:pt x="265" y="318"/>
                    <a:pt x="259" y="318"/>
                  </a:cubicBezTo>
                  <a:cubicBezTo>
                    <a:pt x="255" y="318"/>
                    <a:pt x="252" y="316"/>
                    <a:pt x="247" y="314"/>
                  </a:cubicBezTo>
                  <a:cubicBezTo>
                    <a:pt x="240" y="312"/>
                    <a:pt x="237" y="307"/>
                    <a:pt x="237" y="300"/>
                  </a:cubicBezTo>
                  <a:cubicBezTo>
                    <a:pt x="237" y="299"/>
                    <a:pt x="237" y="298"/>
                    <a:pt x="237" y="296"/>
                  </a:cubicBezTo>
                  <a:cubicBezTo>
                    <a:pt x="236" y="297"/>
                    <a:pt x="236" y="298"/>
                    <a:pt x="236" y="299"/>
                  </a:cubicBezTo>
                  <a:cubicBezTo>
                    <a:pt x="232" y="307"/>
                    <a:pt x="227" y="309"/>
                    <a:pt x="218" y="309"/>
                  </a:cubicBezTo>
                  <a:cubicBezTo>
                    <a:pt x="217" y="309"/>
                    <a:pt x="216" y="309"/>
                    <a:pt x="215" y="309"/>
                  </a:cubicBezTo>
                  <a:cubicBezTo>
                    <a:pt x="215" y="309"/>
                    <a:pt x="215" y="309"/>
                    <a:pt x="215" y="309"/>
                  </a:cubicBezTo>
                  <a:cubicBezTo>
                    <a:pt x="208" y="309"/>
                    <a:pt x="202" y="306"/>
                    <a:pt x="199" y="299"/>
                  </a:cubicBezTo>
                  <a:cubicBezTo>
                    <a:pt x="198" y="298"/>
                    <a:pt x="198" y="297"/>
                    <a:pt x="197" y="296"/>
                  </a:cubicBezTo>
                  <a:cubicBezTo>
                    <a:pt x="197" y="299"/>
                    <a:pt x="197" y="301"/>
                    <a:pt x="196" y="304"/>
                  </a:cubicBezTo>
                  <a:cubicBezTo>
                    <a:pt x="196" y="310"/>
                    <a:pt x="192" y="315"/>
                    <a:pt x="187" y="317"/>
                  </a:cubicBezTo>
                  <a:cubicBezTo>
                    <a:pt x="186" y="318"/>
                    <a:pt x="185" y="318"/>
                    <a:pt x="185" y="318"/>
                  </a:cubicBezTo>
                  <a:cubicBezTo>
                    <a:pt x="184" y="319"/>
                    <a:pt x="183" y="319"/>
                    <a:pt x="182" y="319"/>
                  </a:cubicBezTo>
                  <a:cubicBezTo>
                    <a:pt x="180" y="320"/>
                    <a:pt x="178" y="321"/>
                    <a:pt x="175" y="321"/>
                  </a:cubicBezTo>
                  <a:cubicBezTo>
                    <a:pt x="172" y="321"/>
                    <a:pt x="168" y="320"/>
                    <a:pt x="165" y="317"/>
                  </a:cubicBezTo>
                  <a:cubicBezTo>
                    <a:pt x="164" y="316"/>
                    <a:pt x="162" y="315"/>
                    <a:pt x="161" y="314"/>
                  </a:cubicBezTo>
                  <a:cubicBezTo>
                    <a:pt x="161" y="314"/>
                    <a:pt x="161" y="314"/>
                    <a:pt x="161" y="314"/>
                  </a:cubicBezTo>
                  <a:cubicBezTo>
                    <a:pt x="161" y="315"/>
                    <a:pt x="161" y="316"/>
                    <a:pt x="162" y="317"/>
                  </a:cubicBezTo>
                  <a:cubicBezTo>
                    <a:pt x="166" y="327"/>
                    <a:pt x="164" y="332"/>
                    <a:pt x="157" y="339"/>
                  </a:cubicBezTo>
                  <a:cubicBezTo>
                    <a:pt x="156" y="340"/>
                    <a:pt x="156" y="340"/>
                    <a:pt x="156" y="340"/>
                  </a:cubicBezTo>
                  <a:cubicBezTo>
                    <a:pt x="151" y="345"/>
                    <a:pt x="146" y="346"/>
                    <a:pt x="143" y="346"/>
                  </a:cubicBezTo>
                  <a:cubicBezTo>
                    <a:pt x="141" y="346"/>
                    <a:pt x="139" y="346"/>
                    <a:pt x="137" y="345"/>
                  </a:cubicBezTo>
                  <a:cubicBezTo>
                    <a:pt x="136" y="345"/>
                    <a:pt x="135" y="345"/>
                    <a:pt x="135" y="344"/>
                  </a:cubicBezTo>
                  <a:cubicBezTo>
                    <a:pt x="135" y="345"/>
                    <a:pt x="136" y="345"/>
                    <a:pt x="136" y="346"/>
                  </a:cubicBezTo>
                  <a:cubicBezTo>
                    <a:pt x="142" y="352"/>
                    <a:pt x="145" y="357"/>
                    <a:pt x="141" y="367"/>
                  </a:cubicBezTo>
                  <a:cubicBezTo>
                    <a:pt x="141" y="367"/>
                    <a:pt x="140" y="369"/>
                    <a:pt x="140" y="370"/>
                  </a:cubicBezTo>
                  <a:cubicBezTo>
                    <a:pt x="137" y="376"/>
                    <a:pt x="133" y="380"/>
                    <a:pt x="126" y="381"/>
                  </a:cubicBezTo>
                  <a:cubicBezTo>
                    <a:pt x="126" y="382"/>
                    <a:pt x="126" y="382"/>
                    <a:pt x="125" y="382"/>
                  </a:cubicBezTo>
                  <a:cubicBezTo>
                    <a:pt x="127" y="382"/>
                    <a:pt x="128" y="383"/>
                    <a:pt x="129" y="383"/>
                  </a:cubicBezTo>
                  <a:cubicBezTo>
                    <a:pt x="137" y="386"/>
                    <a:pt x="138" y="392"/>
                    <a:pt x="138" y="395"/>
                  </a:cubicBezTo>
                  <a:cubicBezTo>
                    <a:pt x="138" y="396"/>
                    <a:pt x="138" y="397"/>
                    <a:pt x="139" y="397"/>
                  </a:cubicBezTo>
                  <a:cubicBezTo>
                    <a:pt x="139" y="401"/>
                    <a:pt x="139" y="404"/>
                    <a:pt x="139" y="408"/>
                  </a:cubicBezTo>
                  <a:cubicBezTo>
                    <a:pt x="138" y="415"/>
                    <a:pt x="134" y="418"/>
                    <a:pt x="131" y="420"/>
                  </a:cubicBezTo>
                  <a:cubicBezTo>
                    <a:pt x="131" y="420"/>
                    <a:pt x="131" y="420"/>
                    <a:pt x="131" y="420"/>
                  </a:cubicBezTo>
                  <a:cubicBezTo>
                    <a:pt x="140" y="420"/>
                    <a:pt x="147" y="424"/>
                    <a:pt x="151" y="432"/>
                  </a:cubicBezTo>
                  <a:cubicBezTo>
                    <a:pt x="153" y="434"/>
                    <a:pt x="156" y="441"/>
                    <a:pt x="152" y="448"/>
                  </a:cubicBezTo>
                  <a:cubicBezTo>
                    <a:pt x="151" y="449"/>
                    <a:pt x="150" y="450"/>
                    <a:pt x="150" y="451"/>
                  </a:cubicBezTo>
                  <a:cubicBezTo>
                    <a:pt x="153" y="450"/>
                    <a:pt x="156" y="450"/>
                    <a:pt x="159" y="450"/>
                  </a:cubicBezTo>
                  <a:cubicBezTo>
                    <a:pt x="164" y="450"/>
                    <a:pt x="169" y="452"/>
                    <a:pt x="174" y="455"/>
                  </a:cubicBezTo>
                  <a:cubicBezTo>
                    <a:pt x="179" y="459"/>
                    <a:pt x="181" y="464"/>
                    <a:pt x="181" y="469"/>
                  </a:cubicBezTo>
                  <a:cubicBezTo>
                    <a:pt x="180" y="471"/>
                    <a:pt x="180" y="473"/>
                    <a:pt x="180" y="475"/>
                  </a:cubicBezTo>
                  <a:cubicBezTo>
                    <a:pt x="186" y="466"/>
                    <a:pt x="194" y="464"/>
                    <a:pt x="199" y="464"/>
                  </a:cubicBezTo>
                  <a:close/>
                  <a:moveTo>
                    <a:pt x="350" y="299"/>
                  </a:moveTo>
                  <a:cubicBezTo>
                    <a:pt x="352" y="299"/>
                    <a:pt x="353" y="299"/>
                    <a:pt x="355" y="299"/>
                  </a:cubicBezTo>
                  <a:cubicBezTo>
                    <a:pt x="360" y="301"/>
                    <a:pt x="363" y="303"/>
                    <a:pt x="365" y="306"/>
                  </a:cubicBezTo>
                  <a:cubicBezTo>
                    <a:pt x="365" y="305"/>
                    <a:pt x="366" y="304"/>
                    <a:pt x="367" y="303"/>
                  </a:cubicBezTo>
                  <a:cubicBezTo>
                    <a:pt x="371" y="299"/>
                    <a:pt x="376" y="298"/>
                    <a:pt x="378" y="298"/>
                  </a:cubicBezTo>
                  <a:cubicBezTo>
                    <a:pt x="379" y="298"/>
                    <a:pt x="379" y="298"/>
                    <a:pt x="380" y="298"/>
                  </a:cubicBezTo>
                  <a:cubicBezTo>
                    <a:pt x="381" y="297"/>
                    <a:pt x="382" y="297"/>
                    <a:pt x="384" y="297"/>
                  </a:cubicBezTo>
                  <a:cubicBezTo>
                    <a:pt x="385" y="297"/>
                    <a:pt x="388" y="298"/>
                    <a:pt x="390" y="299"/>
                  </a:cubicBezTo>
                  <a:cubicBezTo>
                    <a:pt x="391" y="294"/>
                    <a:pt x="394" y="291"/>
                    <a:pt x="399" y="286"/>
                  </a:cubicBezTo>
                  <a:cubicBezTo>
                    <a:pt x="402" y="284"/>
                    <a:pt x="405" y="283"/>
                    <a:pt x="408" y="283"/>
                  </a:cubicBezTo>
                  <a:cubicBezTo>
                    <a:pt x="409" y="283"/>
                    <a:pt x="409" y="283"/>
                    <a:pt x="410" y="283"/>
                  </a:cubicBezTo>
                  <a:cubicBezTo>
                    <a:pt x="409" y="279"/>
                    <a:pt x="410" y="274"/>
                    <a:pt x="414" y="268"/>
                  </a:cubicBezTo>
                  <a:cubicBezTo>
                    <a:pt x="416" y="265"/>
                    <a:pt x="419" y="262"/>
                    <a:pt x="423" y="261"/>
                  </a:cubicBezTo>
                  <a:cubicBezTo>
                    <a:pt x="420" y="257"/>
                    <a:pt x="419" y="252"/>
                    <a:pt x="420" y="246"/>
                  </a:cubicBezTo>
                  <a:cubicBezTo>
                    <a:pt x="421" y="242"/>
                    <a:pt x="422" y="239"/>
                    <a:pt x="424" y="237"/>
                  </a:cubicBezTo>
                  <a:cubicBezTo>
                    <a:pt x="421" y="235"/>
                    <a:pt x="418" y="231"/>
                    <a:pt x="416" y="225"/>
                  </a:cubicBezTo>
                  <a:cubicBezTo>
                    <a:pt x="415" y="221"/>
                    <a:pt x="415" y="217"/>
                    <a:pt x="416" y="214"/>
                  </a:cubicBezTo>
                  <a:cubicBezTo>
                    <a:pt x="410" y="213"/>
                    <a:pt x="404" y="208"/>
                    <a:pt x="404" y="207"/>
                  </a:cubicBezTo>
                  <a:cubicBezTo>
                    <a:pt x="401" y="204"/>
                    <a:pt x="399" y="200"/>
                    <a:pt x="399" y="197"/>
                  </a:cubicBezTo>
                  <a:cubicBezTo>
                    <a:pt x="398" y="197"/>
                    <a:pt x="396" y="198"/>
                    <a:pt x="394" y="198"/>
                  </a:cubicBezTo>
                  <a:cubicBezTo>
                    <a:pt x="391" y="198"/>
                    <a:pt x="388" y="196"/>
                    <a:pt x="384" y="195"/>
                  </a:cubicBezTo>
                  <a:cubicBezTo>
                    <a:pt x="380" y="193"/>
                    <a:pt x="377" y="191"/>
                    <a:pt x="376" y="187"/>
                  </a:cubicBezTo>
                  <a:cubicBezTo>
                    <a:pt x="373" y="190"/>
                    <a:pt x="369" y="191"/>
                    <a:pt x="364" y="191"/>
                  </a:cubicBezTo>
                  <a:cubicBezTo>
                    <a:pt x="362" y="191"/>
                    <a:pt x="362" y="191"/>
                    <a:pt x="362" y="191"/>
                  </a:cubicBezTo>
                  <a:cubicBezTo>
                    <a:pt x="357" y="191"/>
                    <a:pt x="354" y="190"/>
                    <a:pt x="351" y="187"/>
                  </a:cubicBezTo>
                  <a:cubicBezTo>
                    <a:pt x="349" y="192"/>
                    <a:pt x="346" y="195"/>
                    <a:pt x="342" y="197"/>
                  </a:cubicBezTo>
                  <a:cubicBezTo>
                    <a:pt x="342" y="197"/>
                    <a:pt x="341" y="197"/>
                    <a:pt x="341" y="198"/>
                  </a:cubicBezTo>
                  <a:cubicBezTo>
                    <a:pt x="340" y="198"/>
                    <a:pt x="340" y="198"/>
                    <a:pt x="339" y="198"/>
                  </a:cubicBezTo>
                  <a:cubicBezTo>
                    <a:pt x="337" y="199"/>
                    <a:pt x="335" y="200"/>
                    <a:pt x="333" y="200"/>
                  </a:cubicBezTo>
                  <a:cubicBezTo>
                    <a:pt x="331" y="200"/>
                    <a:pt x="329" y="200"/>
                    <a:pt x="327" y="199"/>
                  </a:cubicBezTo>
                  <a:cubicBezTo>
                    <a:pt x="328" y="204"/>
                    <a:pt x="326" y="208"/>
                    <a:pt x="322" y="212"/>
                  </a:cubicBezTo>
                  <a:cubicBezTo>
                    <a:pt x="320" y="213"/>
                    <a:pt x="320" y="213"/>
                    <a:pt x="320" y="213"/>
                  </a:cubicBezTo>
                  <a:cubicBezTo>
                    <a:pt x="317" y="217"/>
                    <a:pt x="313" y="218"/>
                    <a:pt x="310" y="218"/>
                  </a:cubicBezTo>
                  <a:cubicBezTo>
                    <a:pt x="312" y="222"/>
                    <a:pt x="313" y="226"/>
                    <a:pt x="310" y="231"/>
                  </a:cubicBezTo>
                  <a:cubicBezTo>
                    <a:pt x="310" y="232"/>
                    <a:pt x="310" y="233"/>
                    <a:pt x="309" y="234"/>
                  </a:cubicBezTo>
                  <a:cubicBezTo>
                    <a:pt x="308" y="237"/>
                    <a:pt x="306" y="240"/>
                    <a:pt x="304" y="242"/>
                  </a:cubicBezTo>
                  <a:cubicBezTo>
                    <a:pt x="308" y="245"/>
                    <a:pt x="308" y="249"/>
                    <a:pt x="309" y="251"/>
                  </a:cubicBezTo>
                  <a:cubicBezTo>
                    <a:pt x="309" y="251"/>
                    <a:pt x="309" y="252"/>
                    <a:pt x="309" y="253"/>
                  </a:cubicBezTo>
                  <a:cubicBezTo>
                    <a:pt x="309" y="255"/>
                    <a:pt x="309" y="258"/>
                    <a:pt x="309" y="261"/>
                  </a:cubicBezTo>
                  <a:cubicBezTo>
                    <a:pt x="309" y="264"/>
                    <a:pt x="308" y="266"/>
                    <a:pt x="307" y="267"/>
                  </a:cubicBezTo>
                  <a:cubicBezTo>
                    <a:pt x="312" y="269"/>
                    <a:pt x="315" y="272"/>
                    <a:pt x="318" y="277"/>
                  </a:cubicBezTo>
                  <a:cubicBezTo>
                    <a:pt x="320" y="281"/>
                    <a:pt x="320" y="285"/>
                    <a:pt x="319" y="288"/>
                  </a:cubicBezTo>
                  <a:cubicBezTo>
                    <a:pt x="320" y="288"/>
                    <a:pt x="320" y="288"/>
                    <a:pt x="320" y="288"/>
                  </a:cubicBezTo>
                  <a:cubicBezTo>
                    <a:pt x="325" y="288"/>
                    <a:pt x="330" y="290"/>
                    <a:pt x="334" y="293"/>
                  </a:cubicBezTo>
                  <a:cubicBezTo>
                    <a:pt x="338" y="296"/>
                    <a:pt x="339" y="299"/>
                    <a:pt x="340" y="302"/>
                  </a:cubicBezTo>
                  <a:cubicBezTo>
                    <a:pt x="343" y="300"/>
                    <a:pt x="346" y="299"/>
                    <a:pt x="350" y="299"/>
                  </a:cubicBezTo>
                  <a:close/>
                  <a:moveTo>
                    <a:pt x="418" y="478"/>
                  </a:moveTo>
                  <a:cubicBezTo>
                    <a:pt x="396" y="478"/>
                    <a:pt x="379" y="460"/>
                    <a:pt x="379" y="438"/>
                  </a:cubicBezTo>
                  <a:cubicBezTo>
                    <a:pt x="379" y="417"/>
                    <a:pt x="396" y="399"/>
                    <a:pt x="418" y="399"/>
                  </a:cubicBezTo>
                  <a:cubicBezTo>
                    <a:pt x="439" y="399"/>
                    <a:pt x="457" y="417"/>
                    <a:pt x="457" y="439"/>
                  </a:cubicBezTo>
                  <a:cubicBezTo>
                    <a:pt x="457" y="460"/>
                    <a:pt x="439" y="478"/>
                    <a:pt x="418" y="478"/>
                  </a:cubicBezTo>
                  <a:cubicBezTo>
                    <a:pt x="418" y="478"/>
                    <a:pt x="418" y="478"/>
                    <a:pt x="418" y="478"/>
                  </a:cubicBezTo>
                  <a:close/>
                  <a:moveTo>
                    <a:pt x="219" y="437"/>
                  </a:moveTo>
                  <a:cubicBezTo>
                    <a:pt x="192" y="437"/>
                    <a:pt x="170" y="415"/>
                    <a:pt x="170" y="388"/>
                  </a:cubicBezTo>
                  <a:cubicBezTo>
                    <a:pt x="170" y="361"/>
                    <a:pt x="192" y="339"/>
                    <a:pt x="219" y="339"/>
                  </a:cubicBezTo>
                  <a:cubicBezTo>
                    <a:pt x="246" y="339"/>
                    <a:pt x="268" y="361"/>
                    <a:pt x="268" y="388"/>
                  </a:cubicBezTo>
                  <a:cubicBezTo>
                    <a:pt x="268" y="415"/>
                    <a:pt x="246" y="437"/>
                    <a:pt x="219" y="437"/>
                  </a:cubicBezTo>
                  <a:close/>
                  <a:moveTo>
                    <a:pt x="364" y="285"/>
                  </a:moveTo>
                  <a:cubicBezTo>
                    <a:pt x="343" y="285"/>
                    <a:pt x="325" y="268"/>
                    <a:pt x="325" y="246"/>
                  </a:cubicBezTo>
                  <a:cubicBezTo>
                    <a:pt x="325" y="224"/>
                    <a:pt x="343" y="207"/>
                    <a:pt x="365" y="207"/>
                  </a:cubicBezTo>
                  <a:cubicBezTo>
                    <a:pt x="386" y="207"/>
                    <a:pt x="404" y="225"/>
                    <a:pt x="404" y="246"/>
                  </a:cubicBezTo>
                  <a:cubicBezTo>
                    <a:pt x="404" y="268"/>
                    <a:pt x="386" y="285"/>
                    <a:pt x="364" y="285"/>
                  </a:cubicBez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21" name="Freeform 114">
              <a:extLst>
                <a:ext uri="{FF2B5EF4-FFF2-40B4-BE49-F238E27FC236}">
                  <a16:creationId xmlns:a16="http://schemas.microsoft.com/office/drawing/2014/main" xmlns="" id="{F7E53554-9575-4A70-BA1B-5F46E089C5A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8" y="913"/>
              <a:ext cx="502" cy="559"/>
            </a:xfrm>
            <a:custGeom>
              <a:avLst/>
              <a:gdLst>
                <a:gd name="T0" fmla="*/ 24 w 616"/>
                <a:gd name="T1" fmla="*/ 578 h 685"/>
                <a:gd name="T2" fmla="*/ 360 w 616"/>
                <a:gd name="T3" fmla="*/ 177 h 685"/>
                <a:gd name="T4" fmla="*/ 330 w 616"/>
                <a:gd name="T5" fmla="*/ 191 h 685"/>
                <a:gd name="T6" fmla="*/ 303 w 616"/>
                <a:gd name="T7" fmla="*/ 218 h 685"/>
                <a:gd name="T8" fmla="*/ 307 w 616"/>
                <a:gd name="T9" fmla="*/ 263 h 685"/>
                <a:gd name="T10" fmla="*/ 300 w 616"/>
                <a:gd name="T11" fmla="*/ 291 h 685"/>
                <a:gd name="T12" fmla="*/ 319 w 616"/>
                <a:gd name="T13" fmla="*/ 318 h 685"/>
                <a:gd name="T14" fmla="*/ 349 w 616"/>
                <a:gd name="T15" fmla="*/ 335 h 685"/>
                <a:gd name="T16" fmla="*/ 382 w 616"/>
                <a:gd name="T17" fmla="*/ 340 h 685"/>
                <a:gd name="T18" fmla="*/ 408 w 616"/>
                <a:gd name="T19" fmla="*/ 333 h 685"/>
                <a:gd name="T20" fmla="*/ 436 w 616"/>
                <a:gd name="T21" fmla="*/ 313 h 685"/>
                <a:gd name="T22" fmla="*/ 449 w 616"/>
                <a:gd name="T23" fmla="*/ 284 h 685"/>
                <a:gd name="T24" fmla="*/ 460 w 616"/>
                <a:gd name="T25" fmla="*/ 248 h 685"/>
                <a:gd name="T26" fmla="*/ 450 w 616"/>
                <a:gd name="T27" fmla="*/ 217 h 685"/>
                <a:gd name="T28" fmla="*/ 425 w 616"/>
                <a:gd name="T29" fmla="*/ 191 h 685"/>
                <a:gd name="T30" fmla="*/ 396 w 616"/>
                <a:gd name="T31" fmla="*/ 178 h 685"/>
                <a:gd name="T32" fmla="*/ 215 w 616"/>
                <a:gd name="T33" fmla="*/ 294 h 685"/>
                <a:gd name="T34" fmla="*/ 184 w 616"/>
                <a:gd name="T35" fmla="*/ 320 h 685"/>
                <a:gd name="T36" fmla="*/ 139 w 616"/>
                <a:gd name="T37" fmla="*/ 342 h 685"/>
                <a:gd name="T38" fmla="*/ 116 w 616"/>
                <a:gd name="T39" fmla="*/ 391 h 685"/>
                <a:gd name="T40" fmla="*/ 123 w 616"/>
                <a:gd name="T41" fmla="*/ 443 h 685"/>
                <a:gd name="T42" fmla="*/ 152 w 616"/>
                <a:gd name="T43" fmla="*/ 482 h 685"/>
                <a:gd name="T44" fmla="*/ 189 w 616"/>
                <a:gd name="T45" fmla="*/ 505 h 685"/>
                <a:gd name="T46" fmla="*/ 230 w 616"/>
                <a:gd name="T47" fmla="*/ 512 h 685"/>
                <a:gd name="T48" fmla="*/ 259 w 616"/>
                <a:gd name="T49" fmla="*/ 487 h 685"/>
                <a:gd name="T50" fmla="*/ 292 w 616"/>
                <a:gd name="T51" fmla="*/ 467 h 685"/>
                <a:gd name="T52" fmla="*/ 316 w 616"/>
                <a:gd name="T53" fmla="*/ 436 h 685"/>
                <a:gd name="T54" fmla="*/ 325 w 616"/>
                <a:gd name="T55" fmla="*/ 399 h 685"/>
                <a:gd name="T56" fmla="*/ 317 w 616"/>
                <a:gd name="T57" fmla="*/ 363 h 685"/>
                <a:gd name="T58" fmla="*/ 295 w 616"/>
                <a:gd name="T59" fmla="*/ 331 h 685"/>
                <a:gd name="T60" fmla="*/ 261 w 616"/>
                <a:gd name="T61" fmla="*/ 312 h 685"/>
                <a:gd name="T62" fmla="*/ 427 w 616"/>
                <a:gd name="T63" fmla="*/ 384 h 685"/>
                <a:gd name="T64" fmla="*/ 399 w 616"/>
                <a:gd name="T65" fmla="*/ 392 h 685"/>
                <a:gd name="T66" fmla="*/ 374 w 616"/>
                <a:gd name="T67" fmla="*/ 411 h 685"/>
                <a:gd name="T68" fmla="*/ 360 w 616"/>
                <a:gd name="T69" fmla="*/ 437 h 685"/>
                <a:gd name="T70" fmla="*/ 349 w 616"/>
                <a:gd name="T71" fmla="*/ 475 h 685"/>
                <a:gd name="T72" fmla="*/ 366 w 616"/>
                <a:gd name="T73" fmla="*/ 503 h 685"/>
                <a:gd name="T74" fmla="*/ 392 w 616"/>
                <a:gd name="T75" fmla="*/ 518 h 685"/>
                <a:gd name="T76" fmla="*/ 423 w 616"/>
                <a:gd name="T77" fmla="*/ 525 h 685"/>
                <a:gd name="T78" fmla="*/ 448 w 616"/>
                <a:gd name="T79" fmla="*/ 514 h 685"/>
                <a:gd name="T80" fmla="*/ 472 w 616"/>
                <a:gd name="T81" fmla="*/ 500 h 685"/>
                <a:gd name="T82" fmla="*/ 490 w 616"/>
                <a:gd name="T83" fmla="*/ 490 h 685"/>
                <a:gd name="T84" fmla="*/ 502 w 616"/>
                <a:gd name="T85" fmla="*/ 463 h 685"/>
                <a:gd name="T86" fmla="*/ 500 w 616"/>
                <a:gd name="T87" fmla="*/ 433 h 685"/>
                <a:gd name="T88" fmla="*/ 484 w 616"/>
                <a:gd name="T89" fmla="*/ 407 h 685"/>
                <a:gd name="T90" fmla="*/ 460 w 616"/>
                <a:gd name="T91" fmla="*/ 390 h 685"/>
                <a:gd name="T92" fmla="*/ 427 w 616"/>
                <a:gd name="T93" fmla="*/ 384 h 685"/>
                <a:gd name="T94" fmla="*/ 231 w 616"/>
                <a:gd name="T95" fmla="*/ 363 h 685"/>
                <a:gd name="T96" fmla="*/ 457 w 616"/>
                <a:gd name="T97" fmla="*/ 451 h 685"/>
                <a:gd name="T98" fmla="*/ 592 w 616"/>
                <a:gd name="T99" fmla="*/ 607 h 685"/>
                <a:gd name="T100" fmla="*/ 57 w 616"/>
                <a:gd name="T101" fmla="*/ 0 h 685"/>
                <a:gd name="T102" fmla="*/ 0 w 616"/>
                <a:gd name="T103" fmla="*/ 661 h 685"/>
                <a:gd name="T104" fmla="*/ 432 w 616"/>
                <a:gd name="T105" fmla="*/ 607 h 685"/>
                <a:gd name="T106" fmla="*/ 616 w 616"/>
                <a:gd name="T107" fmla="*/ 578 h 685"/>
                <a:gd name="T108" fmla="*/ 173 w 616"/>
                <a:gd name="T109" fmla="*/ 35 h 685"/>
                <a:gd name="T110" fmla="*/ 254 w 616"/>
                <a:gd name="T111" fmla="*/ 337 h 685"/>
                <a:gd name="T112" fmla="*/ 291 w 616"/>
                <a:gd name="T113" fmla="*/ 426 h 685"/>
                <a:gd name="T114" fmla="*/ 219 w 616"/>
                <a:gd name="T115" fmla="*/ 465 h 685"/>
                <a:gd name="T116" fmla="*/ 162 w 616"/>
                <a:gd name="T117" fmla="*/ 406 h 685"/>
                <a:gd name="T118" fmla="*/ 199 w 616"/>
                <a:gd name="T119" fmla="*/ 342 h 685"/>
                <a:gd name="T120" fmla="*/ 231 w 616"/>
                <a:gd name="T121" fmla="*/ 339 h 6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616" h="685">
                  <a:moveTo>
                    <a:pt x="149" y="24"/>
                  </a:moveTo>
                  <a:cubicBezTo>
                    <a:pt x="149" y="133"/>
                    <a:pt x="149" y="133"/>
                    <a:pt x="149" y="133"/>
                  </a:cubicBezTo>
                  <a:cubicBezTo>
                    <a:pt x="192" y="133"/>
                    <a:pt x="192" y="133"/>
                    <a:pt x="192" y="133"/>
                  </a:cubicBezTo>
                  <a:cubicBezTo>
                    <a:pt x="192" y="59"/>
                    <a:pt x="192" y="59"/>
                    <a:pt x="192" y="59"/>
                  </a:cubicBezTo>
                  <a:cubicBezTo>
                    <a:pt x="260" y="59"/>
                    <a:pt x="260" y="59"/>
                    <a:pt x="260" y="59"/>
                  </a:cubicBezTo>
                  <a:cubicBezTo>
                    <a:pt x="260" y="133"/>
                    <a:pt x="260" y="133"/>
                    <a:pt x="260" y="133"/>
                  </a:cubicBezTo>
                  <a:cubicBezTo>
                    <a:pt x="592" y="133"/>
                    <a:pt x="592" y="133"/>
                    <a:pt x="592" y="133"/>
                  </a:cubicBezTo>
                  <a:cubicBezTo>
                    <a:pt x="592" y="578"/>
                    <a:pt x="592" y="578"/>
                    <a:pt x="592" y="578"/>
                  </a:cubicBezTo>
                  <a:cubicBezTo>
                    <a:pt x="24" y="578"/>
                    <a:pt x="24" y="578"/>
                    <a:pt x="24" y="578"/>
                  </a:cubicBezTo>
                  <a:cubicBezTo>
                    <a:pt x="24" y="133"/>
                    <a:pt x="24" y="133"/>
                    <a:pt x="24" y="133"/>
                  </a:cubicBezTo>
                  <a:cubicBezTo>
                    <a:pt x="81" y="133"/>
                    <a:pt x="81" y="133"/>
                    <a:pt x="81" y="133"/>
                  </a:cubicBezTo>
                  <a:cubicBezTo>
                    <a:pt x="81" y="24"/>
                    <a:pt x="81" y="24"/>
                    <a:pt x="81" y="24"/>
                  </a:cubicBezTo>
                  <a:cubicBezTo>
                    <a:pt x="149" y="24"/>
                    <a:pt x="149" y="24"/>
                    <a:pt x="149" y="24"/>
                  </a:cubicBezTo>
                  <a:moveTo>
                    <a:pt x="374" y="191"/>
                  </a:moveTo>
                  <a:cubicBezTo>
                    <a:pt x="372" y="191"/>
                    <a:pt x="371" y="191"/>
                    <a:pt x="370" y="189"/>
                  </a:cubicBezTo>
                  <a:cubicBezTo>
                    <a:pt x="368" y="186"/>
                    <a:pt x="366" y="183"/>
                    <a:pt x="365" y="180"/>
                  </a:cubicBezTo>
                  <a:cubicBezTo>
                    <a:pt x="364" y="178"/>
                    <a:pt x="363" y="177"/>
                    <a:pt x="361" y="177"/>
                  </a:cubicBezTo>
                  <a:cubicBezTo>
                    <a:pt x="361" y="177"/>
                    <a:pt x="360" y="177"/>
                    <a:pt x="360" y="177"/>
                  </a:cubicBezTo>
                  <a:cubicBezTo>
                    <a:pt x="358" y="177"/>
                    <a:pt x="357" y="178"/>
                    <a:pt x="356" y="178"/>
                  </a:cubicBezTo>
                  <a:cubicBezTo>
                    <a:pt x="353" y="178"/>
                    <a:pt x="352" y="179"/>
                    <a:pt x="352" y="182"/>
                  </a:cubicBezTo>
                  <a:cubicBezTo>
                    <a:pt x="352" y="186"/>
                    <a:pt x="352" y="191"/>
                    <a:pt x="351" y="195"/>
                  </a:cubicBezTo>
                  <a:cubicBezTo>
                    <a:pt x="351" y="197"/>
                    <a:pt x="351" y="197"/>
                    <a:pt x="349" y="198"/>
                  </a:cubicBezTo>
                  <a:cubicBezTo>
                    <a:pt x="348" y="199"/>
                    <a:pt x="347" y="199"/>
                    <a:pt x="346" y="200"/>
                  </a:cubicBezTo>
                  <a:cubicBezTo>
                    <a:pt x="346" y="200"/>
                    <a:pt x="345" y="200"/>
                    <a:pt x="345" y="200"/>
                  </a:cubicBezTo>
                  <a:cubicBezTo>
                    <a:pt x="344" y="200"/>
                    <a:pt x="343" y="200"/>
                    <a:pt x="342" y="199"/>
                  </a:cubicBezTo>
                  <a:cubicBezTo>
                    <a:pt x="340" y="198"/>
                    <a:pt x="339" y="196"/>
                    <a:pt x="337" y="195"/>
                  </a:cubicBezTo>
                  <a:cubicBezTo>
                    <a:pt x="333" y="192"/>
                    <a:pt x="332" y="191"/>
                    <a:pt x="330" y="191"/>
                  </a:cubicBezTo>
                  <a:cubicBezTo>
                    <a:pt x="329" y="191"/>
                    <a:pt x="327" y="192"/>
                    <a:pt x="323" y="195"/>
                  </a:cubicBezTo>
                  <a:cubicBezTo>
                    <a:pt x="322" y="196"/>
                    <a:pt x="321" y="198"/>
                    <a:pt x="322" y="199"/>
                  </a:cubicBezTo>
                  <a:cubicBezTo>
                    <a:pt x="323" y="202"/>
                    <a:pt x="325" y="205"/>
                    <a:pt x="326" y="207"/>
                  </a:cubicBezTo>
                  <a:cubicBezTo>
                    <a:pt x="328" y="213"/>
                    <a:pt x="329" y="212"/>
                    <a:pt x="324" y="217"/>
                  </a:cubicBezTo>
                  <a:cubicBezTo>
                    <a:pt x="323" y="218"/>
                    <a:pt x="322" y="218"/>
                    <a:pt x="321" y="218"/>
                  </a:cubicBezTo>
                  <a:cubicBezTo>
                    <a:pt x="320" y="218"/>
                    <a:pt x="320" y="218"/>
                    <a:pt x="319" y="218"/>
                  </a:cubicBezTo>
                  <a:cubicBezTo>
                    <a:pt x="316" y="217"/>
                    <a:pt x="313" y="216"/>
                    <a:pt x="309" y="216"/>
                  </a:cubicBezTo>
                  <a:cubicBezTo>
                    <a:pt x="308" y="215"/>
                    <a:pt x="308" y="215"/>
                    <a:pt x="307" y="215"/>
                  </a:cubicBezTo>
                  <a:cubicBezTo>
                    <a:pt x="306" y="215"/>
                    <a:pt x="305" y="216"/>
                    <a:pt x="303" y="218"/>
                  </a:cubicBezTo>
                  <a:cubicBezTo>
                    <a:pt x="303" y="219"/>
                    <a:pt x="302" y="220"/>
                    <a:pt x="301" y="221"/>
                  </a:cubicBezTo>
                  <a:cubicBezTo>
                    <a:pt x="300" y="223"/>
                    <a:pt x="300" y="224"/>
                    <a:pt x="301" y="226"/>
                  </a:cubicBezTo>
                  <a:cubicBezTo>
                    <a:pt x="303" y="228"/>
                    <a:pt x="306" y="230"/>
                    <a:pt x="308" y="232"/>
                  </a:cubicBezTo>
                  <a:cubicBezTo>
                    <a:pt x="313" y="237"/>
                    <a:pt x="312" y="235"/>
                    <a:pt x="310" y="242"/>
                  </a:cubicBezTo>
                  <a:cubicBezTo>
                    <a:pt x="309" y="244"/>
                    <a:pt x="308" y="244"/>
                    <a:pt x="307" y="245"/>
                  </a:cubicBezTo>
                  <a:cubicBezTo>
                    <a:pt x="304" y="245"/>
                    <a:pt x="300" y="246"/>
                    <a:pt x="297" y="246"/>
                  </a:cubicBezTo>
                  <a:cubicBezTo>
                    <a:pt x="293" y="247"/>
                    <a:pt x="293" y="247"/>
                    <a:pt x="292" y="251"/>
                  </a:cubicBezTo>
                  <a:cubicBezTo>
                    <a:pt x="292" y="258"/>
                    <a:pt x="292" y="258"/>
                    <a:pt x="292" y="258"/>
                  </a:cubicBezTo>
                  <a:cubicBezTo>
                    <a:pt x="297" y="259"/>
                    <a:pt x="302" y="261"/>
                    <a:pt x="307" y="263"/>
                  </a:cubicBezTo>
                  <a:cubicBezTo>
                    <a:pt x="308" y="263"/>
                    <a:pt x="309" y="263"/>
                    <a:pt x="309" y="264"/>
                  </a:cubicBezTo>
                  <a:cubicBezTo>
                    <a:pt x="309" y="267"/>
                    <a:pt x="309" y="269"/>
                    <a:pt x="309" y="272"/>
                  </a:cubicBezTo>
                  <a:cubicBezTo>
                    <a:pt x="309" y="273"/>
                    <a:pt x="307" y="274"/>
                    <a:pt x="305" y="275"/>
                  </a:cubicBezTo>
                  <a:cubicBezTo>
                    <a:pt x="304" y="276"/>
                    <a:pt x="303" y="277"/>
                    <a:pt x="301" y="278"/>
                  </a:cubicBezTo>
                  <a:cubicBezTo>
                    <a:pt x="299" y="279"/>
                    <a:pt x="296" y="280"/>
                    <a:pt x="295" y="282"/>
                  </a:cubicBezTo>
                  <a:cubicBezTo>
                    <a:pt x="295" y="284"/>
                    <a:pt x="297" y="287"/>
                    <a:pt x="297" y="289"/>
                  </a:cubicBezTo>
                  <a:cubicBezTo>
                    <a:pt x="298" y="289"/>
                    <a:pt x="298" y="290"/>
                    <a:pt x="298" y="290"/>
                  </a:cubicBezTo>
                  <a:cubicBezTo>
                    <a:pt x="298" y="291"/>
                    <a:pt x="298" y="291"/>
                    <a:pt x="299" y="291"/>
                  </a:cubicBezTo>
                  <a:cubicBezTo>
                    <a:pt x="299" y="291"/>
                    <a:pt x="300" y="291"/>
                    <a:pt x="300" y="291"/>
                  </a:cubicBezTo>
                  <a:cubicBezTo>
                    <a:pt x="303" y="291"/>
                    <a:pt x="307" y="291"/>
                    <a:pt x="310" y="290"/>
                  </a:cubicBezTo>
                  <a:cubicBezTo>
                    <a:pt x="311" y="290"/>
                    <a:pt x="312" y="290"/>
                    <a:pt x="312" y="290"/>
                  </a:cubicBezTo>
                  <a:cubicBezTo>
                    <a:pt x="315" y="290"/>
                    <a:pt x="318" y="292"/>
                    <a:pt x="319" y="295"/>
                  </a:cubicBezTo>
                  <a:cubicBezTo>
                    <a:pt x="320" y="296"/>
                    <a:pt x="320" y="297"/>
                    <a:pt x="319" y="298"/>
                  </a:cubicBezTo>
                  <a:cubicBezTo>
                    <a:pt x="317" y="302"/>
                    <a:pt x="315" y="306"/>
                    <a:pt x="313" y="311"/>
                  </a:cubicBezTo>
                  <a:cubicBezTo>
                    <a:pt x="312" y="312"/>
                    <a:pt x="312" y="312"/>
                    <a:pt x="313" y="313"/>
                  </a:cubicBezTo>
                  <a:cubicBezTo>
                    <a:pt x="315" y="315"/>
                    <a:pt x="316" y="317"/>
                    <a:pt x="318" y="318"/>
                  </a:cubicBezTo>
                  <a:cubicBezTo>
                    <a:pt x="318" y="318"/>
                    <a:pt x="318" y="318"/>
                    <a:pt x="318" y="318"/>
                  </a:cubicBezTo>
                  <a:cubicBezTo>
                    <a:pt x="319" y="318"/>
                    <a:pt x="319" y="318"/>
                    <a:pt x="319" y="318"/>
                  </a:cubicBezTo>
                  <a:cubicBezTo>
                    <a:pt x="322" y="316"/>
                    <a:pt x="325" y="315"/>
                    <a:pt x="327" y="314"/>
                  </a:cubicBezTo>
                  <a:cubicBezTo>
                    <a:pt x="329" y="313"/>
                    <a:pt x="331" y="312"/>
                    <a:pt x="332" y="312"/>
                  </a:cubicBezTo>
                  <a:cubicBezTo>
                    <a:pt x="334" y="312"/>
                    <a:pt x="336" y="313"/>
                    <a:pt x="338" y="315"/>
                  </a:cubicBezTo>
                  <a:cubicBezTo>
                    <a:pt x="339" y="315"/>
                    <a:pt x="340" y="316"/>
                    <a:pt x="340" y="317"/>
                  </a:cubicBezTo>
                  <a:cubicBezTo>
                    <a:pt x="339" y="320"/>
                    <a:pt x="339" y="323"/>
                    <a:pt x="339" y="326"/>
                  </a:cubicBezTo>
                  <a:cubicBezTo>
                    <a:pt x="339" y="333"/>
                    <a:pt x="338" y="333"/>
                    <a:pt x="345" y="335"/>
                  </a:cubicBezTo>
                  <a:cubicBezTo>
                    <a:pt x="345" y="335"/>
                    <a:pt x="346" y="335"/>
                    <a:pt x="346" y="336"/>
                  </a:cubicBezTo>
                  <a:cubicBezTo>
                    <a:pt x="346" y="336"/>
                    <a:pt x="347" y="336"/>
                    <a:pt x="347" y="336"/>
                  </a:cubicBezTo>
                  <a:cubicBezTo>
                    <a:pt x="348" y="336"/>
                    <a:pt x="348" y="336"/>
                    <a:pt x="349" y="335"/>
                  </a:cubicBezTo>
                  <a:cubicBezTo>
                    <a:pt x="351" y="332"/>
                    <a:pt x="353" y="330"/>
                    <a:pt x="355" y="327"/>
                  </a:cubicBezTo>
                  <a:cubicBezTo>
                    <a:pt x="357" y="324"/>
                    <a:pt x="359" y="323"/>
                    <a:pt x="362" y="323"/>
                  </a:cubicBezTo>
                  <a:cubicBezTo>
                    <a:pt x="363" y="323"/>
                    <a:pt x="364" y="323"/>
                    <a:pt x="364" y="323"/>
                  </a:cubicBezTo>
                  <a:cubicBezTo>
                    <a:pt x="366" y="324"/>
                    <a:pt x="367" y="324"/>
                    <a:pt x="367" y="325"/>
                  </a:cubicBezTo>
                  <a:cubicBezTo>
                    <a:pt x="368" y="328"/>
                    <a:pt x="369" y="330"/>
                    <a:pt x="370" y="332"/>
                  </a:cubicBezTo>
                  <a:cubicBezTo>
                    <a:pt x="371" y="335"/>
                    <a:pt x="371" y="339"/>
                    <a:pt x="373" y="340"/>
                  </a:cubicBezTo>
                  <a:cubicBezTo>
                    <a:pt x="374" y="340"/>
                    <a:pt x="375" y="340"/>
                    <a:pt x="376" y="340"/>
                  </a:cubicBezTo>
                  <a:cubicBezTo>
                    <a:pt x="378" y="340"/>
                    <a:pt x="380" y="340"/>
                    <a:pt x="381" y="340"/>
                  </a:cubicBezTo>
                  <a:cubicBezTo>
                    <a:pt x="381" y="340"/>
                    <a:pt x="381" y="340"/>
                    <a:pt x="382" y="340"/>
                  </a:cubicBezTo>
                  <a:cubicBezTo>
                    <a:pt x="382" y="340"/>
                    <a:pt x="382" y="340"/>
                    <a:pt x="382" y="340"/>
                  </a:cubicBezTo>
                  <a:cubicBezTo>
                    <a:pt x="383" y="340"/>
                    <a:pt x="383" y="339"/>
                    <a:pt x="383" y="338"/>
                  </a:cubicBezTo>
                  <a:cubicBezTo>
                    <a:pt x="384" y="336"/>
                    <a:pt x="385" y="333"/>
                    <a:pt x="385" y="331"/>
                  </a:cubicBezTo>
                  <a:cubicBezTo>
                    <a:pt x="386" y="328"/>
                    <a:pt x="386" y="325"/>
                    <a:pt x="387" y="324"/>
                  </a:cubicBezTo>
                  <a:cubicBezTo>
                    <a:pt x="389" y="322"/>
                    <a:pt x="392" y="322"/>
                    <a:pt x="395" y="321"/>
                  </a:cubicBezTo>
                  <a:cubicBezTo>
                    <a:pt x="395" y="321"/>
                    <a:pt x="395" y="321"/>
                    <a:pt x="396" y="321"/>
                  </a:cubicBezTo>
                  <a:cubicBezTo>
                    <a:pt x="396" y="321"/>
                    <a:pt x="397" y="322"/>
                    <a:pt x="397" y="322"/>
                  </a:cubicBezTo>
                  <a:cubicBezTo>
                    <a:pt x="399" y="324"/>
                    <a:pt x="401" y="326"/>
                    <a:pt x="403" y="328"/>
                  </a:cubicBezTo>
                  <a:cubicBezTo>
                    <a:pt x="405" y="330"/>
                    <a:pt x="406" y="333"/>
                    <a:pt x="408" y="333"/>
                  </a:cubicBezTo>
                  <a:cubicBezTo>
                    <a:pt x="408" y="333"/>
                    <a:pt x="408" y="333"/>
                    <a:pt x="408" y="333"/>
                  </a:cubicBezTo>
                  <a:cubicBezTo>
                    <a:pt x="410" y="333"/>
                    <a:pt x="412" y="331"/>
                    <a:pt x="415" y="330"/>
                  </a:cubicBezTo>
                  <a:cubicBezTo>
                    <a:pt x="416" y="329"/>
                    <a:pt x="416" y="329"/>
                    <a:pt x="416" y="328"/>
                  </a:cubicBezTo>
                  <a:cubicBezTo>
                    <a:pt x="415" y="325"/>
                    <a:pt x="415" y="322"/>
                    <a:pt x="414" y="319"/>
                  </a:cubicBezTo>
                  <a:cubicBezTo>
                    <a:pt x="413" y="312"/>
                    <a:pt x="413" y="312"/>
                    <a:pt x="419" y="308"/>
                  </a:cubicBezTo>
                  <a:cubicBezTo>
                    <a:pt x="419" y="307"/>
                    <a:pt x="420" y="307"/>
                    <a:pt x="420" y="307"/>
                  </a:cubicBezTo>
                  <a:cubicBezTo>
                    <a:pt x="421" y="307"/>
                    <a:pt x="421" y="307"/>
                    <a:pt x="421" y="307"/>
                  </a:cubicBezTo>
                  <a:cubicBezTo>
                    <a:pt x="424" y="308"/>
                    <a:pt x="427" y="310"/>
                    <a:pt x="430" y="311"/>
                  </a:cubicBezTo>
                  <a:cubicBezTo>
                    <a:pt x="432" y="311"/>
                    <a:pt x="434" y="313"/>
                    <a:pt x="436" y="313"/>
                  </a:cubicBezTo>
                  <a:cubicBezTo>
                    <a:pt x="436" y="313"/>
                    <a:pt x="436" y="313"/>
                    <a:pt x="436" y="313"/>
                  </a:cubicBezTo>
                  <a:cubicBezTo>
                    <a:pt x="439" y="313"/>
                    <a:pt x="440" y="310"/>
                    <a:pt x="442" y="308"/>
                  </a:cubicBezTo>
                  <a:cubicBezTo>
                    <a:pt x="442" y="308"/>
                    <a:pt x="442" y="308"/>
                    <a:pt x="442" y="307"/>
                  </a:cubicBezTo>
                  <a:cubicBezTo>
                    <a:pt x="443" y="307"/>
                    <a:pt x="443" y="306"/>
                    <a:pt x="442" y="305"/>
                  </a:cubicBezTo>
                  <a:cubicBezTo>
                    <a:pt x="441" y="303"/>
                    <a:pt x="439" y="300"/>
                    <a:pt x="437" y="298"/>
                  </a:cubicBezTo>
                  <a:cubicBezTo>
                    <a:pt x="433" y="292"/>
                    <a:pt x="433" y="292"/>
                    <a:pt x="436" y="286"/>
                  </a:cubicBezTo>
                  <a:cubicBezTo>
                    <a:pt x="437" y="285"/>
                    <a:pt x="438" y="285"/>
                    <a:pt x="439" y="285"/>
                  </a:cubicBezTo>
                  <a:cubicBezTo>
                    <a:pt x="442" y="285"/>
                    <a:pt x="445" y="285"/>
                    <a:pt x="448" y="284"/>
                  </a:cubicBezTo>
                  <a:cubicBezTo>
                    <a:pt x="448" y="284"/>
                    <a:pt x="448" y="284"/>
                    <a:pt x="449" y="284"/>
                  </a:cubicBezTo>
                  <a:cubicBezTo>
                    <a:pt x="450" y="284"/>
                    <a:pt x="451" y="285"/>
                    <a:pt x="452" y="285"/>
                  </a:cubicBezTo>
                  <a:cubicBezTo>
                    <a:pt x="453" y="285"/>
                    <a:pt x="454" y="284"/>
                    <a:pt x="455" y="284"/>
                  </a:cubicBezTo>
                  <a:cubicBezTo>
                    <a:pt x="457" y="283"/>
                    <a:pt x="457" y="280"/>
                    <a:pt x="458" y="278"/>
                  </a:cubicBezTo>
                  <a:cubicBezTo>
                    <a:pt x="458" y="276"/>
                    <a:pt x="458" y="276"/>
                    <a:pt x="457" y="275"/>
                  </a:cubicBezTo>
                  <a:cubicBezTo>
                    <a:pt x="454" y="274"/>
                    <a:pt x="452" y="271"/>
                    <a:pt x="449" y="270"/>
                  </a:cubicBezTo>
                  <a:cubicBezTo>
                    <a:pt x="444" y="268"/>
                    <a:pt x="443" y="265"/>
                    <a:pt x="444" y="260"/>
                  </a:cubicBezTo>
                  <a:cubicBezTo>
                    <a:pt x="444" y="258"/>
                    <a:pt x="444" y="258"/>
                    <a:pt x="445" y="257"/>
                  </a:cubicBezTo>
                  <a:cubicBezTo>
                    <a:pt x="450" y="255"/>
                    <a:pt x="454" y="253"/>
                    <a:pt x="458" y="252"/>
                  </a:cubicBezTo>
                  <a:cubicBezTo>
                    <a:pt x="460" y="251"/>
                    <a:pt x="461" y="250"/>
                    <a:pt x="460" y="248"/>
                  </a:cubicBezTo>
                  <a:cubicBezTo>
                    <a:pt x="460" y="246"/>
                    <a:pt x="460" y="244"/>
                    <a:pt x="459" y="242"/>
                  </a:cubicBezTo>
                  <a:cubicBezTo>
                    <a:pt x="459" y="241"/>
                    <a:pt x="459" y="241"/>
                    <a:pt x="457" y="241"/>
                  </a:cubicBezTo>
                  <a:cubicBezTo>
                    <a:pt x="455" y="241"/>
                    <a:pt x="452" y="240"/>
                    <a:pt x="450" y="240"/>
                  </a:cubicBezTo>
                  <a:cubicBezTo>
                    <a:pt x="449" y="240"/>
                    <a:pt x="449" y="240"/>
                    <a:pt x="448" y="240"/>
                  </a:cubicBezTo>
                  <a:cubicBezTo>
                    <a:pt x="448" y="240"/>
                    <a:pt x="448" y="240"/>
                    <a:pt x="447" y="240"/>
                  </a:cubicBezTo>
                  <a:cubicBezTo>
                    <a:pt x="443" y="240"/>
                    <a:pt x="441" y="237"/>
                    <a:pt x="439" y="233"/>
                  </a:cubicBezTo>
                  <a:cubicBezTo>
                    <a:pt x="439" y="232"/>
                    <a:pt x="439" y="231"/>
                    <a:pt x="440" y="230"/>
                  </a:cubicBezTo>
                  <a:cubicBezTo>
                    <a:pt x="443" y="227"/>
                    <a:pt x="446" y="223"/>
                    <a:pt x="450" y="220"/>
                  </a:cubicBezTo>
                  <a:cubicBezTo>
                    <a:pt x="451" y="219"/>
                    <a:pt x="451" y="218"/>
                    <a:pt x="450" y="217"/>
                  </a:cubicBezTo>
                  <a:cubicBezTo>
                    <a:pt x="449" y="215"/>
                    <a:pt x="447" y="213"/>
                    <a:pt x="446" y="211"/>
                  </a:cubicBezTo>
                  <a:cubicBezTo>
                    <a:pt x="446" y="211"/>
                    <a:pt x="445" y="210"/>
                    <a:pt x="445" y="210"/>
                  </a:cubicBezTo>
                  <a:cubicBezTo>
                    <a:pt x="444" y="210"/>
                    <a:pt x="444" y="210"/>
                    <a:pt x="443" y="211"/>
                  </a:cubicBezTo>
                  <a:cubicBezTo>
                    <a:pt x="439" y="212"/>
                    <a:pt x="435" y="213"/>
                    <a:pt x="431" y="215"/>
                  </a:cubicBezTo>
                  <a:cubicBezTo>
                    <a:pt x="431" y="215"/>
                    <a:pt x="431" y="215"/>
                    <a:pt x="431" y="215"/>
                  </a:cubicBezTo>
                  <a:cubicBezTo>
                    <a:pt x="429" y="215"/>
                    <a:pt x="423" y="210"/>
                    <a:pt x="423" y="209"/>
                  </a:cubicBezTo>
                  <a:cubicBezTo>
                    <a:pt x="423" y="208"/>
                    <a:pt x="423" y="208"/>
                    <a:pt x="424" y="207"/>
                  </a:cubicBezTo>
                  <a:cubicBezTo>
                    <a:pt x="425" y="204"/>
                    <a:pt x="426" y="200"/>
                    <a:pt x="427" y="197"/>
                  </a:cubicBezTo>
                  <a:cubicBezTo>
                    <a:pt x="429" y="193"/>
                    <a:pt x="429" y="193"/>
                    <a:pt x="425" y="191"/>
                  </a:cubicBezTo>
                  <a:cubicBezTo>
                    <a:pt x="424" y="190"/>
                    <a:pt x="423" y="189"/>
                    <a:pt x="421" y="188"/>
                  </a:cubicBezTo>
                  <a:cubicBezTo>
                    <a:pt x="421" y="187"/>
                    <a:pt x="420" y="187"/>
                    <a:pt x="420" y="187"/>
                  </a:cubicBezTo>
                  <a:cubicBezTo>
                    <a:pt x="420" y="187"/>
                    <a:pt x="419" y="188"/>
                    <a:pt x="419" y="188"/>
                  </a:cubicBezTo>
                  <a:cubicBezTo>
                    <a:pt x="417" y="190"/>
                    <a:pt x="415" y="192"/>
                    <a:pt x="413" y="194"/>
                  </a:cubicBezTo>
                  <a:cubicBezTo>
                    <a:pt x="409" y="196"/>
                    <a:pt x="408" y="198"/>
                    <a:pt x="406" y="198"/>
                  </a:cubicBezTo>
                  <a:cubicBezTo>
                    <a:pt x="405" y="198"/>
                    <a:pt x="403" y="197"/>
                    <a:pt x="400" y="196"/>
                  </a:cubicBezTo>
                  <a:cubicBezTo>
                    <a:pt x="399" y="195"/>
                    <a:pt x="399" y="195"/>
                    <a:pt x="399" y="193"/>
                  </a:cubicBezTo>
                  <a:cubicBezTo>
                    <a:pt x="399" y="189"/>
                    <a:pt x="398" y="185"/>
                    <a:pt x="398" y="181"/>
                  </a:cubicBezTo>
                  <a:cubicBezTo>
                    <a:pt x="398" y="179"/>
                    <a:pt x="398" y="178"/>
                    <a:pt x="396" y="178"/>
                  </a:cubicBezTo>
                  <a:cubicBezTo>
                    <a:pt x="394" y="178"/>
                    <a:pt x="391" y="177"/>
                    <a:pt x="389" y="176"/>
                  </a:cubicBezTo>
                  <a:cubicBezTo>
                    <a:pt x="388" y="176"/>
                    <a:pt x="388" y="176"/>
                    <a:pt x="388" y="176"/>
                  </a:cubicBezTo>
                  <a:cubicBezTo>
                    <a:pt x="387" y="177"/>
                    <a:pt x="387" y="177"/>
                    <a:pt x="387" y="178"/>
                  </a:cubicBezTo>
                  <a:cubicBezTo>
                    <a:pt x="385" y="181"/>
                    <a:pt x="383" y="184"/>
                    <a:pt x="382" y="186"/>
                  </a:cubicBezTo>
                  <a:cubicBezTo>
                    <a:pt x="379" y="192"/>
                    <a:pt x="381" y="191"/>
                    <a:pt x="374" y="191"/>
                  </a:cubicBezTo>
                  <a:cubicBezTo>
                    <a:pt x="374" y="191"/>
                    <a:pt x="374" y="191"/>
                    <a:pt x="374" y="191"/>
                  </a:cubicBezTo>
                  <a:moveTo>
                    <a:pt x="227" y="309"/>
                  </a:moveTo>
                  <a:cubicBezTo>
                    <a:pt x="224" y="309"/>
                    <a:pt x="223" y="308"/>
                    <a:pt x="222" y="306"/>
                  </a:cubicBezTo>
                  <a:cubicBezTo>
                    <a:pt x="220" y="302"/>
                    <a:pt x="217" y="298"/>
                    <a:pt x="215" y="294"/>
                  </a:cubicBezTo>
                  <a:cubicBezTo>
                    <a:pt x="213" y="291"/>
                    <a:pt x="212" y="290"/>
                    <a:pt x="210" y="290"/>
                  </a:cubicBezTo>
                  <a:cubicBezTo>
                    <a:pt x="209" y="290"/>
                    <a:pt x="209" y="290"/>
                    <a:pt x="208" y="290"/>
                  </a:cubicBezTo>
                  <a:cubicBezTo>
                    <a:pt x="206" y="290"/>
                    <a:pt x="204" y="291"/>
                    <a:pt x="202" y="291"/>
                  </a:cubicBezTo>
                  <a:cubicBezTo>
                    <a:pt x="198" y="292"/>
                    <a:pt x="198" y="292"/>
                    <a:pt x="198" y="296"/>
                  </a:cubicBezTo>
                  <a:cubicBezTo>
                    <a:pt x="197" y="302"/>
                    <a:pt x="197" y="308"/>
                    <a:pt x="196" y="314"/>
                  </a:cubicBezTo>
                  <a:cubicBezTo>
                    <a:pt x="196" y="316"/>
                    <a:pt x="195" y="318"/>
                    <a:pt x="194" y="318"/>
                  </a:cubicBezTo>
                  <a:cubicBezTo>
                    <a:pt x="192" y="319"/>
                    <a:pt x="191" y="320"/>
                    <a:pt x="189" y="320"/>
                  </a:cubicBezTo>
                  <a:cubicBezTo>
                    <a:pt x="189" y="321"/>
                    <a:pt x="188" y="321"/>
                    <a:pt x="187" y="321"/>
                  </a:cubicBezTo>
                  <a:cubicBezTo>
                    <a:pt x="186" y="321"/>
                    <a:pt x="185" y="321"/>
                    <a:pt x="184" y="320"/>
                  </a:cubicBezTo>
                  <a:cubicBezTo>
                    <a:pt x="182" y="318"/>
                    <a:pt x="179" y="316"/>
                    <a:pt x="176" y="314"/>
                  </a:cubicBezTo>
                  <a:cubicBezTo>
                    <a:pt x="171" y="311"/>
                    <a:pt x="170" y="309"/>
                    <a:pt x="168" y="309"/>
                  </a:cubicBezTo>
                  <a:cubicBezTo>
                    <a:pt x="166" y="309"/>
                    <a:pt x="164" y="310"/>
                    <a:pt x="159" y="314"/>
                  </a:cubicBezTo>
                  <a:cubicBezTo>
                    <a:pt x="156" y="316"/>
                    <a:pt x="156" y="318"/>
                    <a:pt x="157" y="320"/>
                  </a:cubicBezTo>
                  <a:cubicBezTo>
                    <a:pt x="159" y="324"/>
                    <a:pt x="160" y="327"/>
                    <a:pt x="162" y="331"/>
                  </a:cubicBezTo>
                  <a:cubicBezTo>
                    <a:pt x="165" y="339"/>
                    <a:pt x="166" y="337"/>
                    <a:pt x="159" y="344"/>
                  </a:cubicBezTo>
                  <a:cubicBezTo>
                    <a:pt x="158" y="345"/>
                    <a:pt x="156" y="346"/>
                    <a:pt x="155" y="346"/>
                  </a:cubicBezTo>
                  <a:cubicBezTo>
                    <a:pt x="154" y="346"/>
                    <a:pt x="153" y="346"/>
                    <a:pt x="153" y="346"/>
                  </a:cubicBezTo>
                  <a:cubicBezTo>
                    <a:pt x="148" y="344"/>
                    <a:pt x="144" y="343"/>
                    <a:pt x="139" y="342"/>
                  </a:cubicBezTo>
                  <a:cubicBezTo>
                    <a:pt x="138" y="342"/>
                    <a:pt x="137" y="342"/>
                    <a:pt x="136" y="342"/>
                  </a:cubicBezTo>
                  <a:cubicBezTo>
                    <a:pt x="134" y="342"/>
                    <a:pt x="133" y="343"/>
                    <a:pt x="131" y="345"/>
                  </a:cubicBezTo>
                  <a:cubicBezTo>
                    <a:pt x="130" y="347"/>
                    <a:pt x="129" y="349"/>
                    <a:pt x="128" y="350"/>
                  </a:cubicBezTo>
                  <a:cubicBezTo>
                    <a:pt x="127" y="352"/>
                    <a:pt x="127" y="354"/>
                    <a:pt x="129" y="356"/>
                  </a:cubicBezTo>
                  <a:cubicBezTo>
                    <a:pt x="131" y="359"/>
                    <a:pt x="134" y="361"/>
                    <a:pt x="137" y="364"/>
                  </a:cubicBezTo>
                  <a:cubicBezTo>
                    <a:pt x="145" y="372"/>
                    <a:pt x="144" y="369"/>
                    <a:pt x="140" y="378"/>
                  </a:cubicBezTo>
                  <a:cubicBezTo>
                    <a:pt x="140" y="380"/>
                    <a:pt x="138" y="381"/>
                    <a:pt x="136" y="382"/>
                  </a:cubicBezTo>
                  <a:cubicBezTo>
                    <a:pt x="132" y="382"/>
                    <a:pt x="127" y="383"/>
                    <a:pt x="123" y="384"/>
                  </a:cubicBezTo>
                  <a:cubicBezTo>
                    <a:pt x="117" y="385"/>
                    <a:pt x="117" y="385"/>
                    <a:pt x="116" y="391"/>
                  </a:cubicBezTo>
                  <a:cubicBezTo>
                    <a:pt x="116" y="399"/>
                    <a:pt x="116" y="399"/>
                    <a:pt x="116" y="399"/>
                  </a:cubicBezTo>
                  <a:cubicBezTo>
                    <a:pt x="123" y="401"/>
                    <a:pt x="130" y="404"/>
                    <a:pt x="137" y="406"/>
                  </a:cubicBezTo>
                  <a:cubicBezTo>
                    <a:pt x="137" y="407"/>
                    <a:pt x="138" y="407"/>
                    <a:pt x="138" y="408"/>
                  </a:cubicBezTo>
                  <a:cubicBezTo>
                    <a:pt x="139" y="412"/>
                    <a:pt x="139" y="415"/>
                    <a:pt x="139" y="419"/>
                  </a:cubicBezTo>
                  <a:cubicBezTo>
                    <a:pt x="139" y="421"/>
                    <a:pt x="136" y="422"/>
                    <a:pt x="134" y="423"/>
                  </a:cubicBezTo>
                  <a:cubicBezTo>
                    <a:pt x="132" y="424"/>
                    <a:pt x="130" y="425"/>
                    <a:pt x="128" y="427"/>
                  </a:cubicBezTo>
                  <a:cubicBezTo>
                    <a:pt x="126" y="429"/>
                    <a:pt x="121" y="430"/>
                    <a:pt x="120" y="433"/>
                  </a:cubicBezTo>
                  <a:cubicBezTo>
                    <a:pt x="119" y="436"/>
                    <a:pt x="122" y="439"/>
                    <a:pt x="123" y="443"/>
                  </a:cubicBezTo>
                  <a:cubicBezTo>
                    <a:pt x="123" y="443"/>
                    <a:pt x="123" y="443"/>
                    <a:pt x="123" y="443"/>
                  </a:cubicBezTo>
                  <a:cubicBezTo>
                    <a:pt x="124" y="445"/>
                    <a:pt x="124" y="445"/>
                    <a:pt x="126" y="445"/>
                  </a:cubicBezTo>
                  <a:cubicBezTo>
                    <a:pt x="126" y="445"/>
                    <a:pt x="126" y="445"/>
                    <a:pt x="126" y="445"/>
                  </a:cubicBezTo>
                  <a:cubicBezTo>
                    <a:pt x="131" y="445"/>
                    <a:pt x="136" y="445"/>
                    <a:pt x="140" y="444"/>
                  </a:cubicBezTo>
                  <a:cubicBezTo>
                    <a:pt x="142" y="444"/>
                    <a:pt x="142" y="444"/>
                    <a:pt x="143" y="444"/>
                  </a:cubicBezTo>
                  <a:cubicBezTo>
                    <a:pt x="148" y="444"/>
                    <a:pt x="151" y="446"/>
                    <a:pt x="153" y="450"/>
                  </a:cubicBezTo>
                  <a:cubicBezTo>
                    <a:pt x="154" y="452"/>
                    <a:pt x="154" y="453"/>
                    <a:pt x="153" y="454"/>
                  </a:cubicBezTo>
                  <a:cubicBezTo>
                    <a:pt x="150" y="460"/>
                    <a:pt x="147" y="466"/>
                    <a:pt x="144" y="472"/>
                  </a:cubicBezTo>
                  <a:cubicBezTo>
                    <a:pt x="143" y="473"/>
                    <a:pt x="143" y="474"/>
                    <a:pt x="144" y="475"/>
                  </a:cubicBezTo>
                  <a:cubicBezTo>
                    <a:pt x="147" y="477"/>
                    <a:pt x="148" y="481"/>
                    <a:pt x="152" y="482"/>
                  </a:cubicBezTo>
                  <a:cubicBezTo>
                    <a:pt x="152" y="482"/>
                    <a:pt x="152" y="482"/>
                    <a:pt x="152" y="482"/>
                  </a:cubicBezTo>
                  <a:cubicBezTo>
                    <a:pt x="152" y="482"/>
                    <a:pt x="153" y="481"/>
                    <a:pt x="153" y="481"/>
                  </a:cubicBezTo>
                  <a:cubicBezTo>
                    <a:pt x="157" y="479"/>
                    <a:pt x="161" y="478"/>
                    <a:pt x="164" y="476"/>
                  </a:cubicBezTo>
                  <a:cubicBezTo>
                    <a:pt x="166" y="474"/>
                    <a:pt x="169" y="474"/>
                    <a:pt x="171" y="474"/>
                  </a:cubicBezTo>
                  <a:cubicBezTo>
                    <a:pt x="174" y="474"/>
                    <a:pt x="176" y="475"/>
                    <a:pt x="179" y="477"/>
                  </a:cubicBezTo>
                  <a:cubicBezTo>
                    <a:pt x="180" y="478"/>
                    <a:pt x="181" y="478"/>
                    <a:pt x="181" y="480"/>
                  </a:cubicBezTo>
                  <a:cubicBezTo>
                    <a:pt x="180" y="484"/>
                    <a:pt x="180" y="488"/>
                    <a:pt x="180" y="492"/>
                  </a:cubicBezTo>
                  <a:cubicBezTo>
                    <a:pt x="179" y="501"/>
                    <a:pt x="179" y="501"/>
                    <a:pt x="188" y="505"/>
                  </a:cubicBezTo>
                  <a:cubicBezTo>
                    <a:pt x="188" y="505"/>
                    <a:pt x="189" y="505"/>
                    <a:pt x="189" y="505"/>
                  </a:cubicBezTo>
                  <a:cubicBezTo>
                    <a:pt x="190" y="506"/>
                    <a:pt x="190" y="506"/>
                    <a:pt x="191" y="506"/>
                  </a:cubicBezTo>
                  <a:cubicBezTo>
                    <a:pt x="191" y="506"/>
                    <a:pt x="192" y="505"/>
                    <a:pt x="193" y="505"/>
                  </a:cubicBezTo>
                  <a:cubicBezTo>
                    <a:pt x="196" y="501"/>
                    <a:pt x="199" y="498"/>
                    <a:pt x="202" y="494"/>
                  </a:cubicBezTo>
                  <a:cubicBezTo>
                    <a:pt x="204" y="490"/>
                    <a:pt x="207" y="488"/>
                    <a:pt x="211" y="488"/>
                  </a:cubicBezTo>
                  <a:cubicBezTo>
                    <a:pt x="212" y="488"/>
                    <a:pt x="213" y="489"/>
                    <a:pt x="214" y="489"/>
                  </a:cubicBezTo>
                  <a:cubicBezTo>
                    <a:pt x="216" y="489"/>
                    <a:pt x="217" y="489"/>
                    <a:pt x="218" y="491"/>
                  </a:cubicBezTo>
                  <a:cubicBezTo>
                    <a:pt x="219" y="495"/>
                    <a:pt x="220" y="498"/>
                    <a:pt x="221" y="501"/>
                  </a:cubicBezTo>
                  <a:cubicBezTo>
                    <a:pt x="223" y="505"/>
                    <a:pt x="223" y="510"/>
                    <a:pt x="226" y="511"/>
                  </a:cubicBezTo>
                  <a:cubicBezTo>
                    <a:pt x="227" y="512"/>
                    <a:pt x="228" y="512"/>
                    <a:pt x="230" y="512"/>
                  </a:cubicBezTo>
                  <a:cubicBezTo>
                    <a:pt x="232" y="512"/>
                    <a:pt x="235" y="511"/>
                    <a:pt x="237" y="511"/>
                  </a:cubicBezTo>
                  <a:cubicBezTo>
                    <a:pt x="237" y="511"/>
                    <a:pt x="238" y="511"/>
                    <a:pt x="238" y="511"/>
                  </a:cubicBezTo>
                  <a:cubicBezTo>
                    <a:pt x="238" y="511"/>
                    <a:pt x="238" y="511"/>
                    <a:pt x="238" y="511"/>
                  </a:cubicBezTo>
                  <a:cubicBezTo>
                    <a:pt x="239" y="511"/>
                    <a:pt x="240" y="511"/>
                    <a:pt x="240" y="509"/>
                  </a:cubicBezTo>
                  <a:cubicBezTo>
                    <a:pt x="241" y="506"/>
                    <a:pt x="242" y="502"/>
                    <a:pt x="243" y="499"/>
                  </a:cubicBezTo>
                  <a:cubicBezTo>
                    <a:pt x="243" y="496"/>
                    <a:pt x="243" y="491"/>
                    <a:pt x="246" y="489"/>
                  </a:cubicBezTo>
                  <a:cubicBezTo>
                    <a:pt x="248" y="487"/>
                    <a:pt x="252" y="487"/>
                    <a:pt x="256" y="486"/>
                  </a:cubicBezTo>
                  <a:cubicBezTo>
                    <a:pt x="256" y="486"/>
                    <a:pt x="257" y="486"/>
                    <a:pt x="257" y="486"/>
                  </a:cubicBezTo>
                  <a:cubicBezTo>
                    <a:pt x="258" y="486"/>
                    <a:pt x="258" y="486"/>
                    <a:pt x="259" y="487"/>
                  </a:cubicBezTo>
                  <a:cubicBezTo>
                    <a:pt x="262" y="490"/>
                    <a:pt x="264" y="493"/>
                    <a:pt x="267" y="495"/>
                  </a:cubicBezTo>
                  <a:cubicBezTo>
                    <a:pt x="269" y="498"/>
                    <a:pt x="271" y="502"/>
                    <a:pt x="273" y="502"/>
                  </a:cubicBezTo>
                  <a:cubicBezTo>
                    <a:pt x="274" y="502"/>
                    <a:pt x="274" y="502"/>
                    <a:pt x="274" y="502"/>
                  </a:cubicBezTo>
                  <a:cubicBezTo>
                    <a:pt x="277" y="502"/>
                    <a:pt x="280" y="499"/>
                    <a:pt x="283" y="498"/>
                  </a:cubicBezTo>
                  <a:cubicBezTo>
                    <a:pt x="284" y="497"/>
                    <a:pt x="285" y="496"/>
                    <a:pt x="284" y="495"/>
                  </a:cubicBezTo>
                  <a:cubicBezTo>
                    <a:pt x="283" y="491"/>
                    <a:pt x="283" y="487"/>
                    <a:pt x="282" y="483"/>
                  </a:cubicBezTo>
                  <a:cubicBezTo>
                    <a:pt x="281" y="473"/>
                    <a:pt x="281" y="474"/>
                    <a:pt x="288" y="467"/>
                  </a:cubicBezTo>
                  <a:cubicBezTo>
                    <a:pt x="289" y="467"/>
                    <a:pt x="289" y="467"/>
                    <a:pt x="290" y="467"/>
                  </a:cubicBezTo>
                  <a:cubicBezTo>
                    <a:pt x="291" y="467"/>
                    <a:pt x="291" y="467"/>
                    <a:pt x="292" y="467"/>
                  </a:cubicBezTo>
                  <a:cubicBezTo>
                    <a:pt x="295" y="469"/>
                    <a:pt x="299" y="470"/>
                    <a:pt x="303" y="472"/>
                  </a:cubicBezTo>
                  <a:cubicBezTo>
                    <a:pt x="306" y="473"/>
                    <a:pt x="309" y="475"/>
                    <a:pt x="312" y="475"/>
                  </a:cubicBezTo>
                  <a:cubicBezTo>
                    <a:pt x="312" y="475"/>
                    <a:pt x="312" y="475"/>
                    <a:pt x="312" y="475"/>
                  </a:cubicBezTo>
                  <a:cubicBezTo>
                    <a:pt x="315" y="474"/>
                    <a:pt x="317" y="470"/>
                    <a:pt x="320" y="468"/>
                  </a:cubicBezTo>
                  <a:cubicBezTo>
                    <a:pt x="320" y="468"/>
                    <a:pt x="320" y="467"/>
                    <a:pt x="320" y="467"/>
                  </a:cubicBezTo>
                  <a:cubicBezTo>
                    <a:pt x="321" y="466"/>
                    <a:pt x="321" y="465"/>
                    <a:pt x="320" y="464"/>
                  </a:cubicBezTo>
                  <a:cubicBezTo>
                    <a:pt x="318" y="461"/>
                    <a:pt x="315" y="457"/>
                    <a:pt x="313" y="454"/>
                  </a:cubicBezTo>
                  <a:cubicBezTo>
                    <a:pt x="307" y="447"/>
                    <a:pt x="307" y="447"/>
                    <a:pt x="312" y="438"/>
                  </a:cubicBezTo>
                  <a:cubicBezTo>
                    <a:pt x="313" y="437"/>
                    <a:pt x="314" y="436"/>
                    <a:pt x="316" y="436"/>
                  </a:cubicBezTo>
                  <a:cubicBezTo>
                    <a:pt x="320" y="436"/>
                    <a:pt x="324" y="436"/>
                    <a:pt x="328" y="436"/>
                  </a:cubicBezTo>
                  <a:cubicBezTo>
                    <a:pt x="328" y="436"/>
                    <a:pt x="329" y="436"/>
                    <a:pt x="329" y="436"/>
                  </a:cubicBezTo>
                  <a:cubicBezTo>
                    <a:pt x="330" y="436"/>
                    <a:pt x="332" y="436"/>
                    <a:pt x="334" y="436"/>
                  </a:cubicBezTo>
                  <a:cubicBezTo>
                    <a:pt x="335" y="436"/>
                    <a:pt x="337" y="436"/>
                    <a:pt x="338" y="435"/>
                  </a:cubicBezTo>
                  <a:cubicBezTo>
                    <a:pt x="340" y="434"/>
                    <a:pt x="340" y="429"/>
                    <a:pt x="341" y="427"/>
                  </a:cubicBezTo>
                  <a:cubicBezTo>
                    <a:pt x="342" y="425"/>
                    <a:pt x="342" y="424"/>
                    <a:pt x="340" y="423"/>
                  </a:cubicBezTo>
                  <a:cubicBezTo>
                    <a:pt x="337" y="421"/>
                    <a:pt x="333" y="418"/>
                    <a:pt x="329" y="416"/>
                  </a:cubicBezTo>
                  <a:cubicBezTo>
                    <a:pt x="323" y="414"/>
                    <a:pt x="321" y="409"/>
                    <a:pt x="322" y="402"/>
                  </a:cubicBezTo>
                  <a:cubicBezTo>
                    <a:pt x="322" y="400"/>
                    <a:pt x="323" y="400"/>
                    <a:pt x="325" y="399"/>
                  </a:cubicBezTo>
                  <a:cubicBezTo>
                    <a:pt x="330" y="396"/>
                    <a:pt x="336" y="394"/>
                    <a:pt x="342" y="391"/>
                  </a:cubicBezTo>
                  <a:cubicBezTo>
                    <a:pt x="345" y="390"/>
                    <a:pt x="346" y="389"/>
                    <a:pt x="345" y="386"/>
                  </a:cubicBezTo>
                  <a:cubicBezTo>
                    <a:pt x="344" y="384"/>
                    <a:pt x="344" y="381"/>
                    <a:pt x="343" y="379"/>
                  </a:cubicBezTo>
                  <a:cubicBezTo>
                    <a:pt x="343" y="377"/>
                    <a:pt x="342" y="376"/>
                    <a:pt x="341" y="376"/>
                  </a:cubicBezTo>
                  <a:cubicBezTo>
                    <a:pt x="337" y="376"/>
                    <a:pt x="334" y="375"/>
                    <a:pt x="330" y="375"/>
                  </a:cubicBezTo>
                  <a:cubicBezTo>
                    <a:pt x="330" y="375"/>
                    <a:pt x="329" y="375"/>
                    <a:pt x="328" y="375"/>
                  </a:cubicBezTo>
                  <a:cubicBezTo>
                    <a:pt x="328" y="376"/>
                    <a:pt x="327" y="376"/>
                    <a:pt x="327" y="376"/>
                  </a:cubicBezTo>
                  <a:cubicBezTo>
                    <a:pt x="321" y="376"/>
                    <a:pt x="318" y="372"/>
                    <a:pt x="316" y="366"/>
                  </a:cubicBezTo>
                  <a:cubicBezTo>
                    <a:pt x="316" y="365"/>
                    <a:pt x="316" y="364"/>
                    <a:pt x="317" y="363"/>
                  </a:cubicBezTo>
                  <a:cubicBezTo>
                    <a:pt x="321" y="358"/>
                    <a:pt x="326" y="353"/>
                    <a:pt x="330" y="348"/>
                  </a:cubicBezTo>
                  <a:cubicBezTo>
                    <a:pt x="332" y="346"/>
                    <a:pt x="332" y="345"/>
                    <a:pt x="331" y="344"/>
                  </a:cubicBezTo>
                  <a:cubicBezTo>
                    <a:pt x="329" y="341"/>
                    <a:pt x="327" y="339"/>
                    <a:pt x="326" y="337"/>
                  </a:cubicBezTo>
                  <a:cubicBezTo>
                    <a:pt x="325" y="335"/>
                    <a:pt x="324" y="335"/>
                    <a:pt x="324" y="335"/>
                  </a:cubicBezTo>
                  <a:cubicBezTo>
                    <a:pt x="323" y="335"/>
                    <a:pt x="322" y="335"/>
                    <a:pt x="322" y="335"/>
                  </a:cubicBezTo>
                  <a:cubicBezTo>
                    <a:pt x="316" y="337"/>
                    <a:pt x="311" y="339"/>
                    <a:pt x="305" y="341"/>
                  </a:cubicBezTo>
                  <a:cubicBezTo>
                    <a:pt x="305" y="341"/>
                    <a:pt x="305" y="341"/>
                    <a:pt x="305" y="341"/>
                  </a:cubicBezTo>
                  <a:cubicBezTo>
                    <a:pt x="302" y="341"/>
                    <a:pt x="294" y="335"/>
                    <a:pt x="294" y="333"/>
                  </a:cubicBezTo>
                  <a:cubicBezTo>
                    <a:pt x="294" y="332"/>
                    <a:pt x="295" y="331"/>
                    <a:pt x="295" y="331"/>
                  </a:cubicBezTo>
                  <a:cubicBezTo>
                    <a:pt x="296" y="326"/>
                    <a:pt x="298" y="321"/>
                    <a:pt x="300" y="317"/>
                  </a:cubicBezTo>
                  <a:cubicBezTo>
                    <a:pt x="302" y="312"/>
                    <a:pt x="302" y="312"/>
                    <a:pt x="297" y="309"/>
                  </a:cubicBezTo>
                  <a:cubicBezTo>
                    <a:pt x="295" y="307"/>
                    <a:pt x="293" y="306"/>
                    <a:pt x="292" y="304"/>
                  </a:cubicBezTo>
                  <a:cubicBezTo>
                    <a:pt x="291" y="304"/>
                    <a:pt x="290" y="304"/>
                    <a:pt x="290" y="304"/>
                  </a:cubicBezTo>
                  <a:cubicBezTo>
                    <a:pt x="289" y="304"/>
                    <a:pt x="289" y="304"/>
                    <a:pt x="288" y="305"/>
                  </a:cubicBezTo>
                  <a:cubicBezTo>
                    <a:pt x="285" y="307"/>
                    <a:pt x="283" y="310"/>
                    <a:pt x="280" y="312"/>
                  </a:cubicBezTo>
                  <a:cubicBezTo>
                    <a:pt x="276" y="316"/>
                    <a:pt x="274" y="318"/>
                    <a:pt x="271" y="318"/>
                  </a:cubicBezTo>
                  <a:cubicBezTo>
                    <a:pt x="269" y="318"/>
                    <a:pt x="267" y="317"/>
                    <a:pt x="263" y="315"/>
                  </a:cubicBezTo>
                  <a:cubicBezTo>
                    <a:pt x="261" y="314"/>
                    <a:pt x="261" y="314"/>
                    <a:pt x="261" y="312"/>
                  </a:cubicBezTo>
                  <a:cubicBezTo>
                    <a:pt x="261" y="306"/>
                    <a:pt x="260" y="300"/>
                    <a:pt x="260" y="295"/>
                  </a:cubicBezTo>
                  <a:cubicBezTo>
                    <a:pt x="260" y="293"/>
                    <a:pt x="260" y="292"/>
                    <a:pt x="258" y="291"/>
                  </a:cubicBezTo>
                  <a:cubicBezTo>
                    <a:pt x="254" y="290"/>
                    <a:pt x="251" y="290"/>
                    <a:pt x="248" y="289"/>
                  </a:cubicBezTo>
                  <a:cubicBezTo>
                    <a:pt x="247" y="289"/>
                    <a:pt x="247" y="289"/>
                    <a:pt x="247" y="289"/>
                  </a:cubicBezTo>
                  <a:cubicBezTo>
                    <a:pt x="246" y="289"/>
                    <a:pt x="245" y="290"/>
                    <a:pt x="244" y="291"/>
                  </a:cubicBezTo>
                  <a:cubicBezTo>
                    <a:pt x="243" y="295"/>
                    <a:pt x="240" y="299"/>
                    <a:pt x="238" y="303"/>
                  </a:cubicBezTo>
                  <a:cubicBezTo>
                    <a:pt x="234" y="310"/>
                    <a:pt x="236" y="309"/>
                    <a:pt x="227" y="309"/>
                  </a:cubicBezTo>
                  <a:cubicBezTo>
                    <a:pt x="227" y="309"/>
                    <a:pt x="227" y="309"/>
                    <a:pt x="227" y="309"/>
                  </a:cubicBezTo>
                  <a:moveTo>
                    <a:pt x="427" y="384"/>
                  </a:moveTo>
                  <a:cubicBezTo>
                    <a:pt x="425" y="384"/>
                    <a:pt x="424" y="383"/>
                    <a:pt x="423" y="382"/>
                  </a:cubicBezTo>
                  <a:cubicBezTo>
                    <a:pt x="422" y="378"/>
                    <a:pt x="420" y="375"/>
                    <a:pt x="418" y="372"/>
                  </a:cubicBezTo>
                  <a:cubicBezTo>
                    <a:pt x="417" y="370"/>
                    <a:pt x="416" y="370"/>
                    <a:pt x="415" y="370"/>
                  </a:cubicBezTo>
                  <a:cubicBezTo>
                    <a:pt x="414" y="370"/>
                    <a:pt x="414" y="370"/>
                    <a:pt x="413" y="370"/>
                  </a:cubicBezTo>
                  <a:cubicBezTo>
                    <a:pt x="412" y="370"/>
                    <a:pt x="410" y="370"/>
                    <a:pt x="409" y="370"/>
                  </a:cubicBezTo>
                  <a:cubicBezTo>
                    <a:pt x="406" y="371"/>
                    <a:pt x="406" y="371"/>
                    <a:pt x="405" y="374"/>
                  </a:cubicBezTo>
                  <a:cubicBezTo>
                    <a:pt x="405" y="379"/>
                    <a:pt x="405" y="383"/>
                    <a:pt x="405" y="388"/>
                  </a:cubicBezTo>
                  <a:cubicBezTo>
                    <a:pt x="404" y="389"/>
                    <a:pt x="404" y="390"/>
                    <a:pt x="403" y="391"/>
                  </a:cubicBezTo>
                  <a:cubicBezTo>
                    <a:pt x="401" y="391"/>
                    <a:pt x="400" y="392"/>
                    <a:pt x="399" y="392"/>
                  </a:cubicBezTo>
                  <a:cubicBezTo>
                    <a:pt x="399" y="392"/>
                    <a:pt x="398" y="392"/>
                    <a:pt x="398" y="392"/>
                  </a:cubicBezTo>
                  <a:cubicBezTo>
                    <a:pt x="397" y="392"/>
                    <a:pt x="396" y="392"/>
                    <a:pt x="396" y="392"/>
                  </a:cubicBezTo>
                  <a:cubicBezTo>
                    <a:pt x="394" y="390"/>
                    <a:pt x="392" y="389"/>
                    <a:pt x="390" y="387"/>
                  </a:cubicBezTo>
                  <a:cubicBezTo>
                    <a:pt x="386" y="385"/>
                    <a:pt x="385" y="383"/>
                    <a:pt x="383" y="383"/>
                  </a:cubicBezTo>
                  <a:cubicBezTo>
                    <a:pt x="382" y="383"/>
                    <a:pt x="381" y="385"/>
                    <a:pt x="377" y="388"/>
                  </a:cubicBezTo>
                  <a:cubicBezTo>
                    <a:pt x="375" y="389"/>
                    <a:pt x="375" y="390"/>
                    <a:pt x="376" y="392"/>
                  </a:cubicBezTo>
                  <a:cubicBezTo>
                    <a:pt x="377" y="395"/>
                    <a:pt x="378" y="397"/>
                    <a:pt x="379" y="400"/>
                  </a:cubicBezTo>
                  <a:cubicBezTo>
                    <a:pt x="381" y="406"/>
                    <a:pt x="382" y="404"/>
                    <a:pt x="377" y="409"/>
                  </a:cubicBezTo>
                  <a:cubicBezTo>
                    <a:pt x="376" y="410"/>
                    <a:pt x="375" y="411"/>
                    <a:pt x="374" y="411"/>
                  </a:cubicBezTo>
                  <a:cubicBezTo>
                    <a:pt x="373" y="411"/>
                    <a:pt x="373" y="411"/>
                    <a:pt x="372" y="411"/>
                  </a:cubicBezTo>
                  <a:cubicBezTo>
                    <a:pt x="369" y="410"/>
                    <a:pt x="366" y="409"/>
                    <a:pt x="363" y="408"/>
                  </a:cubicBezTo>
                  <a:cubicBezTo>
                    <a:pt x="362" y="408"/>
                    <a:pt x="361" y="408"/>
                    <a:pt x="360" y="408"/>
                  </a:cubicBezTo>
                  <a:cubicBezTo>
                    <a:pt x="359" y="408"/>
                    <a:pt x="358" y="408"/>
                    <a:pt x="357" y="410"/>
                  </a:cubicBezTo>
                  <a:cubicBezTo>
                    <a:pt x="356" y="412"/>
                    <a:pt x="355" y="413"/>
                    <a:pt x="354" y="414"/>
                  </a:cubicBezTo>
                  <a:cubicBezTo>
                    <a:pt x="353" y="416"/>
                    <a:pt x="353" y="417"/>
                    <a:pt x="355" y="418"/>
                  </a:cubicBezTo>
                  <a:cubicBezTo>
                    <a:pt x="357" y="420"/>
                    <a:pt x="359" y="422"/>
                    <a:pt x="361" y="424"/>
                  </a:cubicBezTo>
                  <a:cubicBezTo>
                    <a:pt x="367" y="430"/>
                    <a:pt x="366" y="427"/>
                    <a:pt x="363" y="435"/>
                  </a:cubicBezTo>
                  <a:cubicBezTo>
                    <a:pt x="363" y="436"/>
                    <a:pt x="362" y="437"/>
                    <a:pt x="360" y="437"/>
                  </a:cubicBezTo>
                  <a:cubicBezTo>
                    <a:pt x="357" y="438"/>
                    <a:pt x="354" y="438"/>
                    <a:pt x="350" y="439"/>
                  </a:cubicBezTo>
                  <a:cubicBezTo>
                    <a:pt x="346" y="440"/>
                    <a:pt x="346" y="440"/>
                    <a:pt x="345" y="444"/>
                  </a:cubicBezTo>
                  <a:cubicBezTo>
                    <a:pt x="345" y="450"/>
                    <a:pt x="345" y="450"/>
                    <a:pt x="345" y="450"/>
                  </a:cubicBezTo>
                  <a:cubicBezTo>
                    <a:pt x="351" y="451"/>
                    <a:pt x="356" y="453"/>
                    <a:pt x="361" y="455"/>
                  </a:cubicBezTo>
                  <a:cubicBezTo>
                    <a:pt x="361" y="455"/>
                    <a:pt x="362" y="456"/>
                    <a:pt x="362" y="456"/>
                  </a:cubicBezTo>
                  <a:cubicBezTo>
                    <a:pt x="362" y="459"/>
                    <a:pt x="363" y="462"/>
                    <a:pt x="362" y="464"/>
                  </a:cubicBezTo>
                  <a:cubicBezTo>
                    <a:pt x="362" y="466"/>
                    <a:pt x="360" y="466"/>
                    <a:pt x="358" y="467"/>
                  </a:cubicBezTo>
                  <a:cubicBezTo>
                    <a:pt x="357" y="468"/>
                    <a:pt x="356" y="469"/>
                    <a:pt x="355" y="470"/>
                  </a:cubicBezTo>
                  <a:cubicBezTo>
                    <a:pt x="353" y="472"/>
                    <a:pt x="349" y="472"/>
                    <a:pt x="349" y="475"/>
                  </a:cubicBezTo>
                  <a:cubicBezTo>
                    <a:pt x="348" y="477"/>
                    <a:pt x="350" y="479"/>
                    <a:pt x="351" y="482"/>
                  </a:cubicBezTo>
                  <a:cubicBezTo>
                    <a:pt x="351" y="482"/>
                    <a:pt x="351" y="482"/>
                    <a:pt x="351" y="482"/>
                  </a:cubicBezTo>
                  <a:cubicBezTo>
                    <a:pt x="351" y="483"/>
                    <a:pt x="352" y="484"/>
                    <a:pt x="353" y="484"/>
                  </a:cubicBezTo>
                  <a:cubicBezTo>
                    <a:pt x="353" y="484"/>
                    <a:pt x="353" y="484"/>
                    <a:pt x="353" y="484"/>
                  </a:cubicBezTo>
                  <a:cubicBezTo>
                    <a:pt x="356" y="483"/>
                    <a:pt x="360" y="483"/>
                    <a:pt x="363" y="483"/>
                  </a:cubicBezTo>
                  <a:cubicBezTo>
                    <a:pt x="364" y="483"/>
                    <a:pt x="365" y="483"/>
                    <a:pt x="366" y="483"/>
                  </a:cubicBezTo>
                  <a:cubicBezTo>
                    <a:pt x="369" y="483"/>
                    <a:pt x="371" y="484"/>
                    <a:pt x="372" y="487"/>
                  </a:cubicBezTo>
                  <a:cubicBezTo>
                    <a:pt x="373" y="488"/>
                    <a:pt x="373" y="489"/>
                    <a:pt x="373" y="491"/>
                  </a:cubicBezTo>
                  <a:cubicBezTo>
                    <a:pt x="370" y="495"/>
                    <a:pt x="368" y="499"/>
                    <a:pt x="366" y="503"/>
                  </a:cubicBezTo>
                  <a:cubicBezTo>
                    <a:pt x="365" y="504"/>
                    <a:pt x="365" y="505"/>
                    <a:pt x="366" y="506"/>
                  </a:cubicBezTo>
                  <a:cubicBezTo>
                    <a:pt x="368" y="507"/>
                    <a:pt x="369" y="510"/>
                    <a:pt x="372" y="511"/>
                  </a:cubicBezTo>
                  <a:cubicBezTo>
                    <a:pt x="372" y="511"/>
                    <a:pt x="372" y="511"/>
                    <a:pt x="372" y="511"/>
                  </a:cubicBezTo>
                  <a:cubicBezTo>
                    <a:pt x="372" y="511"/>
                    <a:pt x="372" y="510"/>
                    <a:pt x="373" y="510"/>
                  </a:cubicBezTo>
                  <a:cubicBezTo>
                    <a:pt x="375" y="509"/>
                    <a:pt x="378" y="508"/>
                    <a:pt x="381" y="506"/>
                  </a:cubicBezTo>
                  <a:cubicBezTo>
                    <a:pt x="382" y="505"/>
                    <a:pt x="384" y="505"/>
                    <a:pt x="386" y="505"/>
                  </a:cubicBezTo>
                  <a:cubicBezTo>
                    <a:pt x="388" y="505"/>
                    <a:pt x="390" y="505"/>
                    <a:pt x="392" y="507"/>
                  </a:cubicBezTo>
                  <a:cubicBezTo>
                    <a:pt x="393" y="508"/>
                    <a:pt x="393" y="508"/>
                    <a:pt x="393" y="509"/>
                  </a:cubicBezTo>
                  <a:cubicBezTo>
                    <a:pt x="393" y="512"/>
                    <a:pt x="393" y="515"/>
                    <a:pt x="392" y="518"/>
                  </a:cubicBezTo>
                  <a:cubicBezTo>
                    <a:pt x="392" y="525"/>
                    <a:pt x="392" y="525"/>
                    <a:pt x="398" y="528"/>
                  </a:cubicBezTo>
                  <a:cubicBezTo>
                    <a:pt x="398" y="528"/>
                    <a:pt x="399" y="528"/>
                    <a:pt x="399" y="528"/>
                  </a:cubicBezTo>
                  <a:cubicBezTo>
                    <a:pt x="400" y="528"/>
                    <a:pt x="400" y="528"/>
                    <a:pt x="400" y="528"/>
                  </a:cubicBezTo>
                  <a:cubicBezTo>
                    <a:pt x="401" y="528"/>
                    <a:pt x="401" y="528"/>
                    <a:pt x="402" y="527"/>
                  </a:cubicBezTo>
                  <a:cubicBezTo>
                    <a:pt x="404" y="525"/>
                    <a:pt x="407" y="522"/>
                    <a:pt x="409" y="519"/>
                  </a:cubicBezTo>
                  <a:cubicBezTo>
                    <a:pt x="410" y="517"/>
                    <a:pt x="413" y="516"/>
                    <a:pt x="415" y="516"/>
                  </a:cubicBezTo>
                  <a:cubicBezTo>
                    <a:pt x="416" y="516"/>
                    <a:pt x="417" y="516"/>
                    <a:pt x="418" y="516"/>
                  </a:cubicBezTo>
                  <a:cubicBezTo>
                    <a:pt x="419" y="516"/>
                    <a:pt x="420" y="516"/>
                    <a:pt x="420" y="518"/>
                  </a:cubicBezTo>
                  <a:cubicBezTo>
                    <a:pt x="421" y="520"/>
                    <a:pt x="422" y="522"/>
                    <a:pt x="423" y="525"/>
                  </a:cubicBezTo>
                  <a:cubicBezTo>
                    <a:pt x="424" y="527"/>
                    <a:pt x="424" y="531"/>
                    <a:pt x="426" y="532"/>
                  </a:cubicBezTo>
                  <a:cubicBezTo>
                    <a:pt x="427" y="533"/>
                    <a:pt x="428" y="533"/>
                    <a:pt x="429" y="533"/>
                  </a:cubicBezTo>
                  <a:cubicBezTo>
                    <a:pt x="431" y="533"/>
                    <a:pt x="433" y="532"/>
                    <a:pt x="435" y="532"/>
                  </a:cubicBezTo>
                  <a:cubicBezTo>
                    <a:pt x="435" y="532"/>
                    <a:pt x="435" y="532"/>
                    <a:pt x="435" y="532"/>
                  </a:cubicBezTo>
                  <a:cubicBezTo>
                    <a:pt x="435" y="532"/>
                    <a:pt x="435" y="532"/>
                    <a:pt x="435" y="532"/>
                  </a:cubicBezTo>
                  <a:cubicBezTo>
                    <a:pt x="436" y="532"/>
                    <a:pt x="436" y="532"/>
                    <a:pt x="437" y="531"/>
                  </a:cubicBezTo>
                  <a:cubicBezTo>
                    <a:pt x="437" y="528"/>
                    <a:pt x="438" y="526"/>
                    <a:pt x="438" y="523"/>
                  </a:cubicBezTo>
                  <a:cubicBezTo>
                    <a:pt x="439" y="521"/>
                    <a:pt x="439" y="518"/>
                    <a:pt x="441" y="516"/>
                  </a:cubicBezTo>
                  <a:cubicBezTo>
                    <a:pt x="442" y="514"/>
                    <a:pt x="446" y="515"/>
                    <a:pt x="448" y="514"/>
                  </a:cubicBezTo>
                  <a:cubicBezTo>
                    <a:pt x="448" y="514"/>
                    <a:pt x="449" y="514"/>
                    <a:pt x="449" y="514"/>
                  </a:cubicBezTo>
                  <a:cubicBezTo>
                    <a:pt x="450" y="514"/>
                    <a:pt x="450" y="514"/>
                    <a:pt x="451" y="515"/>
                  </a:cubicBezTo>
                  <a:cubicBezTo>
                    <a:pt x="452" y="517"/>
                    <a:pt x="454" y="519"/>
                    <a:pt x="456" y="521"/>
                  </a:cubicBezTo>
                  <a:cubicBezTo>
                    <a:pt x="458" y="522"/>
                    <a:pt x="459" y="525"/>
                    <a:pt x="461" y="525"/>
                  </a:cubicBezTo>
                  <a:cubicBezTo>
                    <a:pt x="461" y="525"/>
                    <a:pt x="461" y="525"/>
                    <a:pt x="461" y="525"/>
                  </a:cubicBezTo>
                  <a:cubicBezTo>
                    <a:pt x="463" y="525"/>
                    <a:pt x="466" y="523"/>
                    <a:pt x="468" y="522"/>
                  </a:cubicBezTo>
                  <a:cubicBezTo>
                    <a:pt x="469" y="522"/>
                    <a:pt x="469" y="521"/>
                    <a:pt x="469" y="520"/>
                  </a:cubicBezTo>
                  <a:cubicBezTo>
                    <a:pt x="468" y="517"/>
                    <a:pt x="468" y="514"/>
                    <a:pt x="468" y="512"/>
                  </a:cubicBezTo>
                  <a:cubicBezTo>
                    <a:pt x="466" y="505"/>
                    <a:pt x="466" y="505"/>
                    <a:pt x="472" y="500"/>
                  </a:cubicBezTo>
                  <a:cubicBezTo>
                    <a:pt x="472" y="500"/>
                    <a:pt x="473" y="499"/>
                    <a:pt x="473" y="499"/>
                  </a:cubicBezTo>
                  <a:cubicBezTo>
                    <a:pt x="474" y="499"/>
                    <a:pt x="474" y="500"/>
                    <a:pt x="475" y="500"/>
                  </a:cubicBezTo>
                  <a:cubicBezTo>
                    <a:pt x="477" y="501"/>
                    <a:pt x="480" y="502"/>
                    <a:pt x="483" y="503"/>
                  </a:cubicBezTo>
                  <a:cubicBezTo>
                    <a:pt x="485" y="504"/>
                    <a:pt x="487" y="506"/>
                    <a:pt x="489" y="506"/>
                  </a:cubicBezTo>
                  <a:cubicBezTo>
                    <a:pt x="489" y="506"/>
                    <a:pt x="489" y="506"/>
                    <a:pt x="490" y="505"/>
                  </a:cubicBezTo>
                  <a:cubicBezTo>
                    <a:pt x="492" y="505"/>
                    <a:pt x="493" y="502"/>
                    <a:pt x="495" y="500"/>
                  </a:cubicBezTo>
                  <a:cubicBezTo>
                    <a:pt x="495" y="500"/>
                    <a:pt x="495" y="500"/>
                    <a:pt x="495" y="500"/>
                  </a:cubicBezTo>
                  <a:cubicBezTo>
                    <a:pt x="496" y="499"/>
                    <a:pt x="496" y="499"/>
                    <a:pt x="496" y="498"/>
                  </a:cubicBezTo>
                  <a:cubicBezTo>
                    <a:pt x="494" y="495"/>
                    <a:pt x="492" y="493"/>
                    <a:pt x="490" y="490"/>
                  </a:cubicBezTo>
                  <a:cubicBezTo>
                    <a:pt x="486" y="485"/>
                    <a:pt x="486" y="485"/>
                    <a:pt x="490" y="479"/>
                  </a:cubicBezTo>
                  <a:cubicBezTo>
                    <a:pt x="490" y="478"/>
                    <a:pt x="491" y="477"/>
                    <a:pt x="492" y="477"/>
                  </a:cubicBezTo>
                  <a:cubicBezTo>
                    <a:pt x="495" y="477"/>
                    <a:pt x="498" y="477"/>
                    <a:pt x="501" y="477"/>
                  </a:cubicBezTo>
                  <a:cubicBezTo>
                    <a:pt x="502" y="477"/>
                    <a:pt x="502" y="477"/>
                    <a:pt x="502" y="477"/>
                  </a:cubicBezTo>
                  <a:cubicBezTo>
                    <a:pt x="503" y="477"/>
                    <a:pt x="504" y="477"/>
                    <a:pt x="506" y="477"/>
                  </a:cubicBezTo>
                  <a:cubicBezTo>
                    <a:pt x="507" y="477"/>
                    <a:pt x="508" y="477"/>
                    <a:pt x="508" y="476"/>
                  </a:cubicBezTo>
                  <a:cubicBezTo>
                    <a:pt x="510" y="475"/>
                    <a:pt x="510" y="472"/>
                    <a:pt x="511" y="470"/>
                  </a:cubicBezTo>
                  <a:cubicBezTo>
                    <a:pt x="512" y="469"/>
                    <a:pt x="511" y="468"/>
                    <a:pt x="510" y="468"/>
                  </a:cubicBezTo>
                  <a:cubicBezTo>
                    <a:pt x="508" y="466"/>
                    <a:pt x="505" y="464"/>
                    <a:pt x="502" y="463"/>
                  </a:cubicBezTo>
                  <a:cubicBezTo>
                    <a:pt x="498" y="460"/>
                    <a:pt x="496" y="457"/>
                    <a:pt x="497" y="452"/>
                  </a:cubicBezTo>
                  <a:cubicBezTo>
                    <a:pt x="497" y="451"/>
                    <a:pt x="497" y="450"/>
                    <a:pt x="499" y="450"/>
                  </a:cubicBezTo>
                  <a:cubicBezTo>
                    <a:pt x="503" y="448"/>
                    <a:pt x="507" y="446"/>
                    <a:pt x="511" y="444"/>
                  </a:cubicBezTo>
                  <a:cubicBezTo>
                    <a:pt x="514" y="443"/>
                    <a:pt x="514" y="443"/>
                    <a:pt x="514" y="440"/>
                  </a:cubicBezTo>
                  <a:cubicBezTo>
                    <a:pt x="513" y="439"/>
                    <a:pt x="513" y="437"/>
                    <a:pt x="513" y="435"/>
                  </a:cubicBezTo>
                  <a:cubicBezTo>
                    <a:pt x="512" y="434"/>
                    <a:pt x="512" y="433"/>
                    <a:pt x="510" y="433"/>
                  </a:cubicBezTo>
                  <a:cubicBezTo>
                    <a:pt x="508" y="433"/>
                    <a:pt x="505" y="432"/>
                    <a:pt x="503" y="432"/>
                  </a:cubicBezTo>
                  <a:cubicBezTo>
                    <a:pt x="502" y="432"/>
                    <a:pt x="502" y="432"/>
                    <a:pt x="502" y="433"/>
                  </a:cubicBezTo>
                  <a:cubicBezTo>
                    <a:pt x="501" y="433"/>
                    <a:pt x="501" y="433"/>
                    <a:pt x="500" y="433"/>
                  </a:cubicBezTo>
                  <a:cubicBezTo>
                    <a:pt x="496" y="433"/>
                    <a:pt x="494" y="430"/>
                    <a:pt x="493" y="426"/>
                  </a:cubicBezTo>
                  <a:cubicBezTo>
                    <a:pt x="492" y="425"/>
                    <a:pt x="492" y="424"/>
                    <a:pt x="493" y="423"/>
                  </a:cubicBezTo>
                  <a:cubicBezTo>
                    <a:pt x="496" y="419"/>
                    <a:pt x="500" y="416"/>
                    <a:pt x="503" y="412"/>
                  </a:cubicBezTo>
                  <a:cubicBezTo>
                    <a:pt x="504" y="411"/>
                    <a:pt x="504" y="410"/>
                    <a:pt x="503" y="409"/>
                  </a:cubicBezTo>
                  <a:cubicBezTo>
                    <a:pt x="502" y="407"/>
                    <a:pt x="501" y="406"/>
                    <a:pt x="500" y="404"/>
                  </a:cubicBezTo>
                  <a:cubicBezTo>
                    <a:pt x="499" y="403"/>
                    <a:pt x="499" y="403"/>
                    <a:pt x="498" y="403"/>
                  </a:cubicBezTo>
                  <a:cubicBezTo>
                    <a:pt x="498" y="403"/>
                    <a:pt x="497" y="403"/>
                    <a:pt x="497" y="403"/>
                  </a:cubicBezTo>
                  <a:cubicBezTo>
                    <a:pt x="493" y="404"/>
                    <a:pt x="488" y="406"/>
                    <a:pt x="484" y="407"/>
                  </a:cubicBezTo>
                  <a:cubicBezTo>
                    <a:pt x="484" y="407"/>
                    <a:pt x="484" y="407"/>
                    <a:pt x="484" y="407"/>
                  </a:cubicBezTo>
                  <a:cubicBezTo>
                    <a:pt x="482" y="407"/>
                    <a:pt x="476" y="403"/>
                    <a:pt x="476" y="401"/>
                  </a:cubicBezTo>
                  <a:cubicBezTo>
                    <a:pt x="476" y="401"/>
                    <a:pt x="477" y="400"/>
                    <a:pt x="477" y="399"/>
                  </a:cubicBezTo>
                  <a:cubicBezTo>
                    <a:pt x="478" y="396"/>
                    <a:pt x="479" y="393"/>
                    <a:pt x="480" y="389"/>
                  </a:cubicBezTo>
                  <a:cubicBezTo>
                    <a:pt x="482" y="386"/>
                    <a:pt x="482" y="386"/>
                    <a:pt x="479" y="383"/>
                  </a:cubicBezTo>
                  <a:cubicBezTo>
                    <a:pt x="477" y="382"/>
                    <a:pt x="476" y="381"/>
                    <a:pt x="475" y="380"/>
                  </a:cubicBezTo>
                  <a:cubicBezTo>
                    <a:pt x="474" y="380"/>
                    <a:pt x="474" y="380"/>
                    <a:pt x="473" y="380"/>
                  </a:cubicBezTo>
                  <a:cubicBezTo>
                    <a:pt x="473" y="380"/>
                    <a:pt x="472" y="380"/>
                    <a:pt x="472" y="380"/>
                  </a:cubicBezTo>
                  <a:cubicBezTo>
                    <a:pt x="470" y="382"/>
                    <a:pt x="468" y="384"/>
                    <a:pt x="466" y="386"/>
                  </a:cubicBezTo>
                  <a:cubicBezTo>
                    <a:pt x="463" y="389"/>
                    <a:pt x="461" y="390"/>
                    <a:pt x="460" y="390"/>
                  </a:cubicBezTo>
                  <a:cubicBezTo>
                    <a:pt x="458" y="390"/>
                    <a:pt x="457" y="389"/>
                    <a:pt x="454" y="388"/>
                  </a:cubicBezTo>
                  <a:cubicBezTo>
                    <a:pt x="452" y="388"/>
                    <a:pt x="452" y="387"/>
                    <a:pt x="452" y="386"/>
                  </a:cubicBezTo>
                  <a:cubicBezTo>
                    <a:pt x="452" y="381"/>
                    <a:pt x="452" y="377"/>
                    <a:pt x="451" y="373"/>
                  </a:cubicBezTo>
                  <a:cubicBezTo>
                    <a:pt x="451" y="372"/>
                    <a:pt x="451" y="371"/>
                    <a:pt x="450" y="371"/>
                  </a:cubicBezTo>
                  <a:cubicBezTo>
                    <a:pt x="447" y="370"/>
                    <a:pt x="445" y="370"/>
                    <a:pt x="442" y="369"/>
                  </a:cubicBezTo>
                  <a:cubicBezTo>
                    <a:pt x="441" y="369"/>
                    <a:pt x="441" y="369"/>
                    <a:pt x="441" y="369"/>
                  </a:cubicBezTo>
                  <a:cubicBezTo>
                    <a:pt x="441" y="369"/>
                    <a:pt x="440" y="370"/>
                    <a:pt x="440" y="370"/>
                  </a:cubicBezTo>
                  <a:cubicBezTo>
                    <a:pt x="438" y="373"/>
                    <a:pt x="437" y="376"/>
                    <a:pt x="435" y="379"/>
                  </a:cubicBezTo>
                  <a:cubicBezTo>
                    <a:pt x="432" y="385"/>
                    <a:pt x="434" y="384"/>
                    <a:pt x="427" y="384"/>
                  </a:cubicBezTo>
                  <a:cubicBezTo>
                    <a:pt x="427" y="384"/>
                    <a:pt x="427" y="384"/>
                    <a:pt x="427" y="384"/>
                  </a:cubicBezTo>
                  <a:moveTo>
                    <a:pt x="377" y="231"/>
                  </a:moveTo>
                  <a:cubicBezTo>
                    <a:pt x="377" y="231"/>
                    <a:pt x="377" y="231"/>
                    <a:pt x="377" y="231"/>
                  </a:cubicBezTo>
                  <a:cubicBezTo>
                    <a:pt x="392" y="231"/>
                    <a:pt x="404" y="243"/>
                    <a:pt x="404" y="258"/>
                  </a:cubicBezTo>
                  <a:cubicBezTo>
                    <a:pt x="404" y="273"/>
                    <a:pt x="392" y="285"/>
                    <a:pt x="376" y="285"/>
                  </a:cubicBezTo>
                  <a:cubicBezTo>
                    <a:pt x="376" y="285"/>
                    <a:pt x="376" y="285"/>
                    <a:pt x="376" y="285"/>
                  </a:cubicBezTo>
                  <a:cubicBezTo>
                    <a:pt x="361" y="285"/>
                    <a:pt x="349" y="273"/>
                    <a:pt x="349" y="258"/>
                  </a:cubicBezTo>
                  <a:cubicBezTo>
                    <a:pt x="349" y="243"/>
                    <a:pt x="362" y="231"/>
                    <a:pt x="377" y="231"/>
                  </a:cubicBezTo>
                  <a:moveTo>
                    <a:pt x="231" y="363"/>
                  </a:moveTo>
                  <a:cubicBezTo>
                    <a:pt x="231" y="363"/>
                    <a:pt x="231" y="363"/>
                    <a:pt x="231" y="363"/>
                  </a:cubicBezTo>
                  <a:cubicBezTo>
                    <a:pt x="251" y="363"/>
                    <a:pt x="268" y="380"/>
                    <a:pt x="268" y="400"/>
                  </a:cubicBezTo>
                  <a:cubicBezTo>
                    <a:pt x="268" y="421"/>
                    <a:pt x="251" y="437"/>
                    <a:pt x="231" y="437"/>
                  </a:cubicBezTo>
                  <a:cubicBezTo>
                    <a:pt x="231" y="437"/>
                    <a:pt x="231" y="437"/>
                    <a:pt x="231" y="437"/>
                  </a:cubicBezTo>
                  <a:cubicBezTo>
                    <a:pt x="210" y="437"/>
                    <a:pt x="194" y="420"/>
                    <a:pt x="194" y="400"/>
                  </a:cubicBezTo>
                  <a:cubicBezTo>
                    <a:pt x="194" y="379"/>
                    <a:pt x="210" y="363"/>
                    <a:pt x="231" y="363"/>
                  </a:cubicBezTo>
                  <a:moveTo>
                    <a:pt x="430" y="423"/>
                  </a:moveTo>
                  <a:cubicBezTo>
                    <a:pt x="430" y="423"/>
                    <a:pt x="430" y="423"/>
                    <a:pt x="430" y="423"/>
                  </a:cubicBezTo>
                  <a:cubicBezTo>
                    <a:pt x="445" y="423"/>
                    <a:pt x="457" y="436"/>
                    <a:pt x="457" y="451"/>
                  </a:cubicBezTo>
                  <a:cubicBezTo>
                    <a:pt x="457" y="466"/>
                    <a:pt x="445" y="478"/>
                    <a:pt x="430" y="478"/>
                  </a:cubicBezTo>
                  <a:cubicBezTo>
                    <a:pt x="430" y="478"/>
                    <a:pt x="430" y="478"/>
                    <a:pt x="430" y="478"/>
                  </a:cubicBezTo>
                  <a:cubicBezTo>
                    <a:pt x="415" y="478"/>
                    <a:pt x="403" y="466"/>
                    <a:pt x="403" y="450"/>
                  </a:cubicBezTo>
                  <a:cubicBezTo>
                    <a:pt x="403" y="435"/>
                    <a:pt x="415" y="423"/>
                    <a:pt x="430" y="423"/>
                  </a:cubicBezTo>
                  <a:moveTo>
                    <a:pt x="592" y="607"/>
                  </a:moveTo>
                  <a:cubicBezTo>
                    <a:pt x="592" y="661"/>
                    <a:pt x="592" y="661"/>
                    <a:pt x="592" y="661"/>
                  </a:cubicBezTo>
                  <a:cubicBezTo>
                    <a:pt x="456" y="661"/>
                    <a:pt x="456" y="661"/>
                    <a:pt x="456" y="661"/>
                  </a:cubicBezTo>
                  <a:cubicBezTo>
                    <a:pt x="456" y="607"/>
                    <a:pt x="456" y="607"/>
                    <a:pt x="456" y="607"/>
                  </a:cubicBezTo>
                  <a:cubicBezTo>
                    <a:pt x="592" y="607"/>
                    <a:pt x="592" y="607"/>
                    <a:pt x="592" y="607"/>
                  </a:cubicBezTo>
                  <a:moveTo>
                    <a:pt x="160" y="607"/>
                  </a:moveTo>
                  <a:cubicBezTo>
                    <a:pt x="160" y="661"/>
                    <a:pt x="160" y="661"/>
                    <a:pt x="160" y="661"/>
                  </a:cubicBezTo>
                  <a:cubicBezTo>
                    <a:pt x="24" y="661"/>
                    <a:pt x="24" y="661"/>
                    <a:pt x="24" y="661"/>
                  </a:cubicBezTo>
                  <a:cubicBezTo>
                    <a:pt x="24" y="607"/>
                    <a:pt x="24" y="607"/>
                    <a:pt x="24" y="607"/>
                  </a:cubicBezTo>
                  <a:cubicBezTo>
                    <a:pt x="160" y="607"/>
                    <a:pt x="160" y="607"/>
                    <a:pt x="160" y="607"/>
                  </a:cubicBezTo>
                  <a:moveTo>
                    <a:pt x="173" y="0"/>
                  </a:moveTo>
                  <a:cubicBezTo>
                    <a:pt x="149" y="0"/>
                    <a:pt x="149" y="0"/>
                    <a:pt x="149" y="0"/>
                  </a:cubicBezTo>
                  <a:cubicBezTo>
                    <a:pt x="81" y="0"/>
                    <a:pt x="81" y="0"/>
                    <a:pt x="81" y="0"/>
                  </a:cubicBezTo>
                  <a:cubicBezTo>
                    <a:pt x="57" y="0"/>
                    <a:pt x="57" y="0"/>
                    <a:pt x="57" y="0"/>
                  </a:cubicBezTo>
                  <a:cubicBezTo>
                    <a:pt x="57" y="24"/>
                    <a:pt x="57" y="24"/>
                    <a:pt x="57" y="24"/>
                  </a:cubicBezTo>
                  <a:cubicBezTo>
                    <a:pt x="57" y="109"/>
                    <a:pt x="57" y="109"/>
                    <a:pt x="57" y="109"/>
                  </a:cubicBezTo>
                  <a:cubicBezTo>
                    <a:pt x="24" y="109"/>
                    <a:pt x="24" y="109"/>
                    <a:pt x="24" y="109"/>
                  </a:cubicBezTo>
                  <a:cubicBezTo>
                    <a:pt x="0" y="109"/>
                    <a:pt x="0" y="109"/>
                    <a:pt x="0" y="109"/>
                  </a:cubicBezTo>
                  <a:cubicBezTo>
                    <a:pt x="0" y="133"/>
                    <a:pt x="0" y="133"/>
                    <a:pt x="0" y="133"/>
                  </a:cubicBezTo>
                  <a:cubicBezTo>
                    <a:pt x="0" y="578"/>
                    <a:pt x="0" y="578"/>
                    <a:pt x="0" y="578"/>
                  </a:cubicBezTo>
                  <a:cubicBezTo>
                    <a:pt x="0" y="602"/>
                    <a:pt x="0" y="602"/>
                    <a:pt x="0" y="602"/>
                  </a:cubicBezTo>
                  <a:cubicBezTo>
                    <a:pt x="0" y="607"/>
                    <a:pt x="0" y="607"/>
                    <a:pt x="0" y="607"/>
                  </a:cubicBezTo>
                  <a:cubicBezTo>
                    <a:pt x="0" y="661"/>
                    <a:pt x="0" y="661"/>
                    <a:pt x="0" y="661"/>
                  </a:cubicBezTo>
                  <a:cubicBezTo>
                    <a:pt x="0" y="685"/>
                    <a:pt x="0" y="685"/>
                    <a:pt x="0" y="685"/>
                  </a:cubicBezTo>
                  <a:cubicBezTo>
                    <a:pt x="24" y="685"/>
                    <a:pt x="24" y="685"/>
                    <a:pt x="24" y="685"/>
                  </a:cubicBezTo>
                  <a:cubicBezTo>
                    <a:pt x="160" y="685"/>
                    <a:pt x="160" y="685"/>
                    <a:pt x="160" y="685"/>
                  </a:cubicBezTo>
                  <a:cubicBezTo>
                    <a:pt x="184" y="685"/>
                    <a:pt x="184" y="685"/>
                    <a:pt x="184" y="685"/>
                  </a:cubicBezTo>
                  <a:cubicBezTo>
                    <a:pt x="184" y="661"/>
                    <a:pt x="184" y="661"/>
                    <a:pt x="184" y="661"/>
                  </a:cubicBezTo>
                  <a:cubicBezTo>
                    <a:pt x="184" y="607"/>
                    <a:pt x="184" y="607"/>
                    <a:pt x="184" y="607"/>
                  </a:cubicBezTo>
                  <a:cubicBezTo>
                    <a:pt x="184" y="602"/>
                    <a:pt x="184" y="602"/>
                    <a:pt x="184" y="602"/>
                  </a:cubicBezTo>
                  <a:cubicBezTo>
                    <a:pt x="432" y="602"/>
                    <a:pt x="432" y="602"/>
                    <a:pt x="432" y="602"/>
                  </a:cubicBezTo>
                  <a:cubicBezTo>
                    <a:pt x="432" y="607"/>
                    <a:pt x="432" y="607"/>
                    <a:pt x="432" y="607"/>
                  </a:cubicBezTo>
                  <a:cubicBezTo>
                    <a:pt x="432" y="661"/>
                    <a:pt x="432" y="661"/>
                    <a:pt x="432" y="661"/>
                  </a:cubicBezTo>
                  <a:cubicBezTo>
                    <a:pt x="432" y="685"/>
                    <a:pt x="432" y="685"/>
                    <a:pt x="432" y="685"/>
                  </a:cubicBezTo>
                  <a:cubicBezTo>
                    <a:pt x="456" y="685"/>
                    <a:pt x="456" y="685"/>
                    <a:pt x="456" y="685"/>
                  </a:cubicBezTo>
                  <a:cubicBezTo>
                    <a:pt x="592" y="685"/>
                    <a:pt x="592" y="685"/>
                    <a:pt x="592" y="685"/>
                  </a:cubicBezTo>
                  <a:cubicBezTo>
                    <a:pt x="616" y="685"/>
                    <a:pt x="616" y="685"/>
                    <a:pt x="616" y="685"/>
                  </a:cubicBezTo>
                  <a:cubicBezTo>
                    <a:pt x="616" y="661"/>
                    <a:pt x="616" y="661"/>
                    <a:pt x="616" y="661"/>
                  </a:cubicBezTo>
                  <a:cubicBezTo>
                    <a:pt x="616" y="607"/>
                    <a:pt x="616" y="607"/>
                    <a:pt x="616" y="607"/>
                  </a:cubicBezTo>
                  <a:cubicBezTo>
                    <a:pt x="616" y="583"/>
                    <a:pt x="616" y="583"/>
                    <a:pt x="616" y="583"/>
                  </a:cubicBezTo>
                  <a:cubicBezTo>
                    <a:pt x="616" y="578"/>
                    <a:pt x="616" y="578"/>
                    <a:pt x="616" y="578"/>
                  </a:cubicBezTo>
                  <a:cubicBezTo>
                    <a:pt x="616" y="133"/>
                    <a:pt x="616" y="133"/>
                    <a:pt x="616" y="133"/>
                  </a:cubicBezTo>
                  <a:cubicBezTo>
                    <a:pt x="616" y="109"/>
                    <a:pt x="616" y="109"/>
                    <a:pt x="616" y="109"/>
                  </a:cubicBezTo>
                  <a:cubicBezTo>
                    <a:pt x="592" y="109"/>
                    <a:pt x="592" y="109"/>
                    <a:pt x="592" y="109"/>
                  </a:cubicBezTo>
                  <a:cubicBezTo>
                    <a:pt x="284" y="109"/>
                    <a:pt x="284" y="109"/>
                    <a:pt x="284" y="109"/>
                  </a:cubicBezTo>
                  <a:cubicBezTo>
                    <a:pt x="284" y="59"/>
                    <a:pt x="284" y="59"/>
                    <a:pt x="284" y="59"/>
                  </a:cubicBezTo>
                  <a:cubicBezTo>
                    <a:pt x="284" y="35"/>
                    <a:pt x="284" y="35"/>
                    <a:pt x="284" y="35"/>
                  </a:cubicBezTo>
                  <a:cubicBezTo>
                    <a:pt x="260" y="35"/>
                    <a:pt x="260" y="35"/>
                    <a:pt x="260" y="35"/>
                  </a:cubicBezTo>
                  <a:cubicBezTo>
                    <a:pt x="192" y="35"/>
                    <a:pt x="192" y="35"/>
                    <a:pt x="192" y="35"/>
                  </a:cubicBezTo>
                  <a:cubicBezTo>
                    <a:pt x="173" y="35"/>
                    <a:pt x="173" y="35"/>
                    <a:pt x="173" y="35"/>
                  </a:cubicBezTo>
                  <a:cubicBezTo>
                    <a:pt x="173" y="24"/>
                    <a:pt x="173" y="24"/>
                    <a:pt x="173" y="24"/>
                  </a:cubicBezTo>
                  <a:cubicBezTo>
                    <a:pt x="173" y="0"/>
                    <a:pt x="173" y="0"/>
                    <a:pt x="173" y="0"/>
                  </a:cubicBezTo>
                  <a:close/>
                  <a:moveTo>
                    <a:pt x="227" y="333"/>
                  </a:moveTo>
                  <a:cubicBezTo>
                    <a:pt x="228" y="333"/>
                    <a:pt x="228" y="333"/>
                    <a:pt x="228" y="333"/>
                  </a:cubicBezTo>
                  <a:cubicBezTo>
                    <a:pt x="229" y="333"/>
                    <a:pt x="229" y="333"/>
                    <a:pt x="230" y="333"/>
                  </a:cubicBezTo>
                  <a:cubicBezTo>
                    <a:pt x="236" y="333"/>
                    <a:pt x="240" y="332"/>
                    <a:pt x="244" y="331"/>
                  </a:cubicBezTo>
                  <a:cubicBezTo>
                    <a:pt x="247" y="333"/>
                    <a:pt x="250" y="336"/>
                    <a:pt x="254" y="337"/>
                  </a:cubicBezTo>
                  <a:cubicBezTo>
                    <a:pt x="254" y="337"/>
                    <a:pt x="254" y="337"/>
                    <a:pt x="254" y="337"/>
                  </a:cubicBezTo>
                  <a:cubicBezTo>
                    <a:pt x="254" y="337"/>
                    <a:pt x="254" y="337"/>
                    <a:pt x="254" y="337"/>
                  </a:cubicBezTo>
                  <a:cubicBezTo>
                    <a:pt x="260" y="340"/>
                    <a:pt x="265" y="342"/>
                    <a:pt x="271" y="342"/>
                  </a:cubicBezTo>
                  <a:cubicBezTo>
                    <a:pt x="271" y="342"/>
                    <a:pt x="272" y="342"/>
                    <a:pt x="272" y="342"/>
                  </a:cubicBezTo>
                  <a:cubicBezTo>
                    <a:pt x="273" y="345"/>
                    <a:pt x="275" y="349"/>
                    <a:pt x="278" y="352"/>
                  </a:cubicBezTo>
                  <a:cubicBezTo>
                    <a:pt x="280" y="353"/>
                    <a:pt x="285" y="359"/>
                    <a:pt x="292" y="362"/>
                  </a:cubicBezTo>
                  <a:cubicBezTo>
                    <a:pt x="292" y="366"/>
                    <a:pt x="292" y="370"/>
                    <a:pt x="293" y="374"/>
                  </a:cubicBezTo>
                  <a:cubicBezTo>
                    <a:pt x="296" y="380"/>
                    <a:pt x="298" y="385"/>
                    <a:pt x="302" y="389"/>
                  </a:cubicBezTo>
                  <a:cubicBezTo>
                    <a:pt x="300" y="391"/>
                    <a:pt x="299" y="394"/>
                    <a:pt x="298" y="398"/>
                  </a:cubicBezTo>
                  <a:cubicBezTo>
                    <a:pt x="297" y="405"/>
                    <a:pt x="298" y="411"/>
                    <a:pt x="300" y="417"/>
                  </a:cubicBezTo>
                  <a:cubicBezTo>
                    <a:pt x="296" y="419"/>
                    <a:pt x="294" y="423"/>
                    <a:pt x="291" y="426"/>
                  </a:cubicBezTo>
                  <a:cubicBezTo>
                    <a:pt x="291" y="427"/>
                    <a:pt x="291" y="427"/>
                    <a:pt x="291" y="427"/>
                  </a:cubicBezTo>
                  <a:cubicBezTo>
                    <a:pt x="288" y="433"/>
                    <a:pt x="286" y="438"/>
                    <a:pt x="285" y="443"/>
                  </a:cubicBezTo>
                  <a:cubicBezTo>
                    <a:pt x="281" y="444"/>
                    <a:pt x="277" y="445"/>
                    <a:pt x="273" y="449"/>
                  </a:cubicBezTo>
                  <a:cubicBezTo>
                    <a:pt x="267" y="454"/>
                    <a:pt x="263" y="458"/>
                    <a:pt x="261" y="462"/>
                  </a:cubicBezTo>
                  <a:cubicBezTo>
                    <a:pt x="259" y="462"/>
                    <a:pt x="258" y="462"/>
                    <a:pt x="257" y="462"/>
                  </a:cubicBezTo>
                  <a:cubicBezTo>
                    <a:pt x="254" y="462"/>
                    <a:pt x="252" y="462"/>
                    <a:pt x="249" y="463"/>
                  </a:cubicBezTo>
                  <a:cubicBezTo>
                    <a:pt x="249" y="463"/>
                    <a:pt x="249" y="463"/>
                    <a:pt x="248" y="463"/>
                  </a:cubicBezTo>
                  <a:cubicBezTo>
                    <a:pt x="245" y="464"/>
                    <a:pt x="237" y="465"/>
                    <a:pt x="231" y="470"/>
                  </a:cubicBezTo>
                  <a:cubicBezTo>
                    <a:pt x="228" y="468"/>
                    <a:pt x="224" y="466"/>
                    <a:pt x="219" y="465"/>
                  </a:cubicBezTo>
                  <a:cubicBezTo>
                    <a:pt x="216" y="465"/>
                    <a:pt x="214" y="464"/>
                    <a:pt x="211" y="464"/>
                  </a:cubicBezTo>
                  <a:cubicBezTo>
                    <a:pt x="208" y="464"/>
                    <a:pt x="204" y="465"/>
                    <a:pt x="201" y="466"/>
                  </a:cubicBezTo>
                  <a:cubicBezTo>
                    <a:pt x="199" y="463"/>
                    <a:pt x="197" y="460"/>
                    <a:pt x="194" y="458"/>
                  </a:cubicBezTo>
                  <a:cubicBezTo>
                    <a:pt x="189" y="454"/>
                    <a:pt x="183" y="451"/>
                    <a:pt x="178" y="450"/>
                  </a:cubicBezTo>
                  <a:cubicBezTo>
                    <a:pt x="177" y="447"/>
                    <a:pt x="176" y="443"/>
                    <a:pt x="174" y="439"/>
                  </a:cubicBezTo>
                  <a:cubicBezTo>
                    <a:pt x="171" y="433"/>
                    <a:pt x="167" y="428"/>
                    <a:pt x="162" y="425"/>
                  </a:cubicBezTo>
                  <a:cubicBezTo>
                    <a:pt x="162" y="424"/>
                    <a:pt x="163" y="423"/>
                    <a:pt x="163" y="422"/>
                  </a:cubicBezTo>
                  <a:cubicBezTo>
                    <a:pt x="163" y="416"/>
                    <a:pt x="163" y="412"/>
                    <a:pt x="163" y="408"/>
                  </a:cubicBezTo>
                  <a:cubicBezTo>
                    <a:pt x="162" y="407"/>
                    <a:pt x="162" y="407"/>
                    <a:pt x="162" y="406"/>
                  </a:cubicBezTo>
                  <a:cubicBezTo>
                    <a:pt x="162" y="404"/>
                    <a:pt x="161" y="399"/>
                    <a:pt x="158" y="394"/>
                  </a:cubicBezTo>
                  <a:cubicBezTo>
                    <a:pt x="160" y="392"/>
                    <a:pt x="162" y="389"/>
                    <a:pt x="163" y="386"/>
                  </a:cubicBezTo>
                  <a:cubicBezTo>
                    <a:pt x="163" y="385"/>
                    <a:pt x="164" y="384"/>
                    <a:pt x="164" y="383"/>
                  </a:cubicBezTo>
                  <a:cubicBezTo>
                    <a:pt x="166" y="377"/>
                    <a:pt x="167" y="372"/>
                    <a:pt x="167" y="368"/>
                  </a:cubicBezTo>
                  <a:cubicBezTo>
                    <a:pt x="170" y="366"/>
                    <a:pt x="174" y="364"/>
                    <a:pt x="176" y="361"/>
                  </a:cubicBezTo>
                  <a:cubicBezTo>
                    <a:pt x="177" y="360"/>
                    <a:pt x="178" y="359"/>
                    <a:pt x="178" y="359"/>
                  </a:cubicBezTo>
                  <a:cubicBezTo>
                    <a:pt x="183" y="354"/>
                    <a:pt x="186" y="350"/>
                    <a:pt x="187" y="345"/>
                  </a:cubicBezTo>
                  <a:cubicBezTo>
                    <a:pt x="187" y="345"/>
                    <a:pt x="187" y="345"/>
                    <a:pt x="187" y="345"/>
                  </a:cubicBezTo>
                  <a:cubicBezTo>
                    <a:pt x="191" y="345"/>
                    <a:pt x="195" y="344"/>
                    <a:pt x="199" y="342"/>
                  </a:cubicBezTo>
                  <a:cubicBezTo>
                    <a:pt x="200" y="342"/>
                    <a:pt x="201" y="341"/>
                    <a:pt x="202" y="341"/>
                  </a:cubicBezTo>
                  <a:cubicBezTo>
                    <a:pt x="203" y="341"/>
                    <a:pt x="203" y="340"/>
                    <a:pt x="204" y="340"/>
                  </a:cubicBezTo>
                  <a:cubicBezTo>
                    <a:pt x="208" y="338"/>
                    <a:pt x="212" y="335"/>
                    <a:pt x="215" y="331"/>
                  </a:cubicBezTo>
                  <a:cubicBezTo>
                    <a:pt x="219" y="332"/>
                    <a:pt x="223" y="333"/>
                    <a:pt x="227" y="333"/>
                  </a:cubicBezTo>
                  <a:close/>
                  <a:moveTo>
                    <a:pt x="231" y="339"/>
                  </a:moveTo>
                  <a:cubicBezTo>
                    <a:pt x="197" y="339"/>
                    <a:pt x="170" y="366"/>
                    <a:pt x="170" y="400"/>
                  </a:cubicBezTo>
                  <a:cubicBezTo>
                    <a:pt x="170" y="434"/>
                    <a:pt x="197" y="461"/>
                    <a:pt x="231" y="461"/>
                  </a:cubicBezTo>
                  <a:cubicBezTo>
                    <a:pt x="264" y="461"/>
                    <a:pt x="292" y="434"/>
                    <a:pt x="292" y="400"/>
                  </a:cubicBezTo>
                  <a:cubicBezTo>
                    <a:pt x="292" y="366"/>
                    <a:pt x="264" y="339"/>
                    <a:pt x="231" y="339"/>
                  </a:cubicBezTo>
                  <a:cubicBezTo>
                    <a:pt x="231" y="339"/>
                    <a:pt x="231" y="339"/>
                    <a:pt x="231" y="339"/>
                  </a:cubicBezTo>
                  <a:cubicBezTo>
                    <a:pt x="231" y="339"/>
                    <a:pt x="231" y="339"/>
                    <a:pt x="231" y="33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grpSp>
        <p:nvGrpSpPr>
          <p:cNvPr id="122" name="Group 7">
            <a:extLst>
              <a:ext uri="{FF2B5EF4-FFF2-40B4-BE49-F238E27FC236}">
                <a16:creationId xmlns:a16="http://schemas.microsoft.com/office/drawing/2014/main" xmlns="" id="{4609B51F-8710-4D91-A27D-928BEAEE292E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746934" y="999784"/>
            <a:ext cx="325109" cy="440608"/>
            <a:chOff x="3441" y="986"/>
            <a:chExt cx="304" cy="412"/>
          </a:xfrm>
          <a:effectLst>
            <a:outerShdw blurRad="101600" dist="76200" dir="2700000" algn="ctr" rotWithShape="0">
              <a:srgbClr val="000000">
                <a:alpha val="29000"/>
              </a:srgbClr>
            </a:outerShdw>
          </a:effectLst>
        </p:grpSpPr>
        <p:sp>
          <p:nvSpPr>
            <p:cNvPr id="123" name="AutoShape 6">
              <a:extLst>
                <a:ext uri="{FF2B5EF4-FFF2-40B4-BE49-F238E27FC236}">
                  <a16:creationId xmlns:a16="http://schemas.microsoft.com/office/drawing/2014/main" xmlns="" id="{4F26D54A-71D8-491C-96DF-A9E0E0CEDEA9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441" y="986"/>
              <a:ext cx="304" cy="4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24" name="Freeform 8">
              <a:extLst>
                <a:ext uri="{FF2B5EF4-FFF2-40B4-BE49-F238E27FC236}">
                  <a16:creationId xmlns:a16="http://schemas.microsoft.com/office/drawing/2014/main" xmlns="" id="{0D65C4F7-A1D4-4D7E-A12D-AA6F4320826A}"/>
                </a:ext>
              </a:extLst>
            </p:cNvPr>
            <p:cNvSpPr>
              <a:spLocks/>
            </p:cNvSpPr>
            <p:nvPr/>
          </p:nvSpPr>
          <p:spPr bwMode="auto">
            <a:xfrm>
              <a:off x="3442" y="986"/>
              <a:ext cx="304" cy="411"/>
            </a:xfrm>
            <a:custGeom>
              <a:avLst/>
              <a:gdLst>
                <a:gd name="T0" fmla="*/ 387 w 432"/>
                <a:gd name="T1" fmla="*/ 0 h 584"/>
                <a:gd name="T2" fmla="*/ 45 w 432"/>
                <a:gd name="T3" fmla="*/ 0 h 584"/>
                <a:gd name="T4" fmla="*/ 0 w 432"/>
                <a:gd name="T5" fmla="*/ 44 h 584"/>
                <a:gd name="T6" fmla="*/ 0 w 432"/>
                <a:gd name="T7" fmla="*/ 539 h 584"/>
                <a:gd name="T8" fmla="*/ 45 w 432"/>
                <a:gd name="T9" fmla="*/ 584 h 584"/>
                <a:gd name="T10" fmla="*/ 387 w 432"/>
                <a:gd name="T11" fmla="*/ 584 h 584"/>
                <a:gd name="T12" fmla="*/ 432 w 432"/>
                <a:gd name="T13" fmla="*/ 539 h 584"/>
                <a:gd name="T14" fmla="*/ 432 w 432"/>
                <a:gd name="T15" fmla="*/ 44 h 584"/>
                <a:gd name="T16" fmla="*/ 387 w 432"/>
                <a:gd name="T17" fmla="*/ 0 h 5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32" h="584">
                  <a:moveTo>
                    <a:pt x="387" y="0"/>
                  </a:moveTo>
                  <a:cubicBezTo>
                    <a:pt x="45" y="0"/>
                    <a:pt x="45" y="0"/>
                    <a:pt x="45" y="0"/>
                  </a:cubicBezTo>
                  <a:cubicBezTo>
                    <a:pt x="20" y="0"/>
                    <a:pt x="0" y="20"/>
                    <a:pt x="0" y="44"/>
                  </a:cubicBezTo>
                  <a:cubicBezTo>
                    <a:pt x="0" y="539"/>
                    <a:pt x="0" y="539"/>
                    <a:pt x="0" y="539"/>
                  </a:cubicBezTo>
                  <a:cubicBezTo>
                    <a:pt x="0" y="564"/>
                    <a:pt x="20" y="584"/>
                    <a:pt x="45" y="584"/>
                  </a:cubicBezTo>
                  <a:cubicBezTo>
                    <a:pt x="387" y="584"/>
                    <a:pt x="387" y="584"/>
                    <a:pt x="387" y="584"/>
                  </a:cubicBezTo>
                  <a:cubicBezTo>
                    <a:pt x="411" y="584"/>
                    <a:pt x="432" y="564"/>
                    <a:pt x="432" y="539"/>
                  </a:cubicBezTo>
                  <a:cubicBezTo>
                    <a:pt x="432" y="44"/>
                    <a:pt x="432" y="44"/>
                    <a:pt x="432" y="44"/>
                  </a:cubicBezTo>
                  <a:cubicBezTo>
                    <a:pt x="432" y="20"/>
                    <a:pt x="411" y="0"/>
                    <a:pt x="38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25" name="Freeform 9">
              <a:extLst>
                <a:ext uri="{FF2B5EF4-FFF2-40B4-BE49-F238E27FC236}">
                  <a16:creationId xmlns:a16="http://schemas.microsoft.com/office/drawing/2014/main" xmlns="" id="{952AA10F-8E97-4E3E-AA2C-169DD4F1D6B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59" y="1003"/>
              <a:ext cx="270" cy="377"/>
            </a:xfrm>
            <a:custGeom>
              <a:avLst/>
              <a:gdLst>
                <a:gd name="T0" fmla="*/ 21 w 384"/>
                <a:gd name="T1" fmla="*/ 536 h 536"/>
                <a:gd name="T2" fmla="*/ 359 w 384"/>
                <a:gd name="T3" fmla="*/ 502 h 536"/>
                <a:gd name="T4" fmla="*/ 359 w 384"/>
                <a:gd name="T5" fmla="*/ 29 h 536"/>
                <a:gd name="T6" fmla="*/ 181 w 384"/>
                <a:gd name="T7" fmla="*/ 152 h 536"/>
                <a:gd name="T8" fmla="*/ 115 w 384"/>
                <a:gd name="T9" fmla="*/ 111 h 536"/>
                <a:gd name="T10" fmla="*/ 338 w 384"/>
                <a:gd name="T11" fmla="*/ 116 h 536"/>
                <a:gd name="T12" fmla="*/ 240 w 384"/>
                <a:gd name="T13" fmla="*/ 152 h 536"/>
                <a:gd name="T14" fmla="*/ 307 w 384"/>
                <a:gd name="T15" fmla="*/ 111 h 536"/>
                <a:gd name="T16" fmla="*/ 87 w 384"/>
                <a:gd name="T17" fmla="*/ 90 h 536"/>
                <a:gd name="T18" fmla="*/ 43 w 384"/>
                <a:gd name="T19" fmla="*/ 90 h 536"/>
                <a:gd name="T20" fmla="*/ 87 w 384"/>
                <a:gd name="T21" fmla="*/ 59 h 536"/>
                <a:gd name="T22" fmla="*/ 173 w 384"/>
                <a:gd name="T23" fmla="*/ 209 h 536"/>
                <a:gd name="T24" fmla="*/ 173 w 384"/>
                <a:gd name="T25" fmla="*/ 168 h 536"/>
                <a:gd name="T26" fmla="*/ 338 w 384"/>
                <a:gd name="T27" fmla="*/ 204 h 536"/>
                <a:gd name="T28" fmla="*/ 231 w 384"/>
                <a:gd name="T29" fmla="*/ 204 h 536"/>
                <a:gd name="T30" fmla="*/ 333 w 384"/>
                <a:gd name="T31" fmla="*/ 168 h 536"/>
                <a:gd name="T32" fmla="*/ 180 w 384"/>
                <a:gd name="T33" fmla="*/ 266 h 536"/>
                <a:gd name="T34" fmla="*/ 115 w 384"/>
                <a:gd name="T35" fmla="*/ 225 h 536"/>
                <a:gd name="T36" fmla="*/ 213 w 384"/>
                <a:gd name="T37" fmla="*/ 59 h 536"/>
                <a:gd name="T38" fmla="*/ 114 w 384"/>
                <a:gd name="T39" fmla="*/ 95 h 536"/>
                <a:gd name="T40" fmla="*/ 175 w 384"/>
                <a:gd name="T41" fmla="*/ 54 h 536"/>
                <a:gd name="T42" fmla="*/ 333 w 384"/>
                <a:gd name="T43" fmla="*/ 95 h 536"/>
                <a:gd name="T44" fmla="*/ 231 w 384"/>
                <a:gd name="T45" fmla="*/ 59 h 536"/>
                <a:gd name="T46" fmla="*/ 338 w 384"/>
                <a:gd name="T47" fmla="*/ 59 h 536"/>
                <a:gd name="T48" fmla="*/ 82 w 384"/>
                <a:gd name="T49" fmla="*/ 266 h 536"/>
                <a:gd name="T50" fmla="*/ 43 w 384"/>
                <a:gd name="T51" fmla="*/ 173 h 536"/>
                <a:gd name="T52" fmla="*/ 338 w 384"/>
                <a:gd name="T53" fmla="*/ 261 h 536"/>
                <a:gd name="T54" fmla="*/ 231 w 384"/>
                <a:gd name="T55" fmla="*/ 261 h 536"/>
                <a:gd name="T56" fmla="*/ 333 w 384"/>
                <a:gd name="T57" fmla="*/ 225 h 536"/>
                <a:gd name="T58" fmla="*/ 181 w 384"/>
                <a:gd name="T59" fmla="*/ 380 h 536"/>
                <a:gd name="T60" fmla="*/ 115 w 384"/>
                <a:gd name="T61" fmla="*/ 339 h 536"/>
                <a:gd name="T62" fmla="*/ 338 w 384"/>
                <a:gd name="T63" fmla="*/ 344 h 536"/>
                <a:gd name="T64" fmla="*/ 240 w 384"/>
                <a:gd name="T65" fmla="*/ 380 h 536"/>
                <a:gd name="T66" fmla="*/ 307 w 384"/>
                <a:gd name="T67" fmla="*/ 339 h 536"/>
                <a:gd name="T68" fmla="*/ 87 w 384"/>
                <a:gd name="T69" fmla="*/ 318 h 536"/>
                <a:gd name="T70" fmla="*/ 43 w 384"/>
                <a:gd name="T71" fmla="*/ 318 h 536"/>
                <a:gd name="T72" fmla="*/ 87 w 384"/>
                <a:gd name="T73" fmla="*/ 287 h 536"/>
                <a:gd name="T74" fmla="*/ 173 w 384"/>
                <a:gd name="T75" fmla="*/ 437 h 536"/>
                <a:gd name="T76" fmla="*/ 173 w 384"/>
                <a:gd name="T77" fmla="*/ 396 h 536"/>
                <a:gd name="T78" fmla="*/ 338 w 384"/>
                <a:gd name="T79" fmla="*/ 432 h 536"/>
                <a:gd name="T80" fmla="*/ 231 w 384"/>
                <a:gd name="T81" fmla="*/ 432 h 536"/>
                <a:gd name="T82" fmla="*/ 333 w 384"/>
                <a:gd name="T83" fmla="*/ 396 h 536"/>
                <a:gd name="T84" fmla="*/ 180 w 384"/>
                <a:gd name="T85" fmla="*/ 494 h 536"/>
                <a:gd name="T86" fmla="*/ 115 w 384"/>
                <a:gd name="T87" fmla="*/ 453 h 536"/>
                <a:gd name="T88" fmla="*/ 213 w 384"/>
                <a:gd name="T89" fmla="*/ 287 h 536"/>
                <a:gd name="T90" fmla="*/ 114 w 384"/>
                <a:gd name="T91" fmla="*/ 323 h 536"/>
                <a:gd name="T92" fmla="*/ 175 w 384"/>
                <a:gd name="T93" fmla="*/ 282 h 536"/>
                <a:gd name="T94" fmla="*/ 333 w 384"/>
                <a:gd name="T95" fmla="*/ 323 h 536"/>
                <a:gd name="T96" fmla="*/ 231 w 384"/>
                <a:gd name="T97" fmla="*/ 287 h 536"/>
                <a:gd name="T98" fmla="*/ 338 w 384"/>
                <a:gd name="T99" fmla="*/ 287 h 536"/>
                <a:gd name="T100" fmla="*/ 82 w 384"/>
                <a:gd name="T101" fmla="*/ 494 h 536"/>
                <a:gd name="T102" fmla="*/ 43 w 384"/>
                <a:gd name="T103" fmla="*/ 401 h 536"/>
                <a:gd name="T104" fmla="*/ 338 w 384"/>
                <a:gd name="T105" fmla="*/ 489 h 536"/>
                <a:gd name="T106" fmla="*/ 231 w 384"/>
                <a:gd name="T107" fmla="*/ 489 h 536"/>
                <a:gd name="T108" fmla="*/ 333 w 384"/>
                <a:gd name="T109" fmla="*/ 453 h 5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384" h="536">
                  <a:moveTo>
                    <a:pt x="363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10" y="0"/>
                    <a:pt x="0" y="9"/>
                    <a:pt x="0" y="20"/>
                  </a:cubicBezTo>
                  <a:cubicBezTo>
                    <a:pt x="0" y="515"/>
                    <a:pt x="0" y="515"/>
                    <a:pt x="0" y="515"/>
                  </a:cubicBezTo>
                  <a:cubicBezTo>
                    <a:pt x="0" y="527"/>
                    <a:pt x="10" y="536"/>
                    <a:pt x="21" y="536"/>
                  </a:cubicBezTo>
                  <a:cubicBezTo>
                    <a:pt x="363" y="536"/>
                    <a:pt x="363" y="536"/>
                    <a:pt x="363" y="536"/>
                  </a:cubicBezTo>
                  <a:cubicBezTo>
                    <a:pt x="374" y="536"/>
                    <a:pt x="384" y="527"/>
                    <a:pt x="384" y="515"/>
                  </a:cubicBezTo>
                  <a:cubicBezTo>
                    <a:pt x="384" y="20"/>
                    <a:pt x="384" y="20"/>
                    <a:pt x="384" y="20"/>
                  </a:cubicBezTo>
                  <a:cubicBezTo>
                    <a:pt x="384" y="9"/>
                    <a:pt x="374" y="0"/>
                    <a:pt x="363" y="0"/>
                  </a:cubicBezTo>
                  <a:close/>
                  <a:moveTo>
                    <a:pt x="359" y="502"/>
                  </a:moveTo>
                  <a:cubicBezTo>
                    <a:pt x="359" y="509"/>
                    <a:pt x="351" y="515"/>
                    <a:pt x="341" y="515"/>
                  </a:cubicBezTo>
                  <a:cubicBezTo>
                    <a:pt x="43" y="515"/>
                    <a:pt x="43" y="515"/>
                    <a:pt x="43" y="515"/>
                  </a:cubicBezTo>
                  <a:cubicBezTo>
                    <a:pt x="33" y="515"/>
                    <a:pt x="25" y="509"/>
                    <a:pt x="25" y="502"/>
                  </a:cubicBezTo>
                  <a:cubicBezTo>
                    <a:pt x="25" y="29"/>
                    <a:pt x="25" y="29"/>
                    <a:pt x="25" y="29"/>
                  </a:cubicBezTo>
                  <a:cubicBezTo>
                    <a:pt x="359" y="29"/>
                    <a:pt x="359" y="29"/>
                    <a:pt x="359" y="29"/>
                  </a:cubicBezTo>
                  <a:lnTo>
                    <a:pt x="359" y="502"/>
                  </a:lnTo>
                  <a:close/>
                  <a:moveTo>
                    <a:pt x="213" y="116"/>
                  </a:moveTo>
                  <a:cubicBezTo>
                    <a:pt x="213" y="147"/>
                    <a:pt x="213" y="147"/>
                    <a:pt x="213" y="147"/>
                  </a:cubicBezTo>
                  <a:cubicBezTo>
                    <a:pt x="213" y="150"/>
                    <a:pt x="211" y="152"/>
                    <a:pt x="208" y="152"/>
                  </a:cubicBezTo>
                  <a:cubicBezTo>
                    <a:pt x="181" y="152"/>
                    <a:pt x="181" y="152"/>
                    <a:pt x="181" y="152"/>
                  </a:cubicBezTo>
                  <a:cubicBezTo>
                    <a:pt x="173" y="152"/>
                    <a:pt x="173" y="152"/>
                    <a:pt x="173" y="152"/>
                  </a:cubicBezTo>
                  <a:cubicBezTo>
                    <a:pt x="115" y="152"/>
                    <a:pt x="115" y="152"/>
                    <a:pt x="115" y="152"/>
                  </a:cubicBezTo>
                  <a:cubicBezTo>
                    <a:pt x="110" y="152"/>
                    <a:pt x="105" y="150"/>
                    <a:pt x="105" y="147"/>
                  </a:cubicBezTo>
                  <a:cubicBezTo>
                    <a:pt x="105" y="116"/>
                    <a:pt x="105" y="116"/>
                    <a:pt x="105" y="116"/>
                  </a:cubicBezTo>
                  <a:cubicBezTo>
                    <a:pt x="105" y="113"/>
                    <a:pt x="110" y="111"/>
                    <a:pt x="115" y="111"/>
                  </a:cubicBezTo>
                  <a:cubicBezTo>
                    <a:pt x="173" y="111"/>
                    <a:pt x="173" y="111"/>
                    <a:pt x="173" y="111"/>
                  </a:cubicBezTo>
                  <a:cubicBezTo>
                    <a:pt x="181" y="111"/>
                    <a:pt x="181" y="111"/>
                    <a:pt x="181" y="111"/>
                  </a:cubicBezTo>
                  <a:cubicBezTo>
                    <a:pt x="208" y="111"/>
                    <a:pt x="208" y="111"/>
                    <a:pt x="208" y="111"/>
                  </a:cubicBezTo>
                  <a:cubicBezTo>
                    <a:pt x="211" y="111"/>
                    <a:pt x="213" y="113"/>
                    <a:pt x="213" y="116"/>
                  </a:cubicBezTo>
                  <a:close/>
                  <a:moveTo>
                    <a:pt x="338" y="116"/>
                  </a:moveTo>
                  <a:cubicBezTo>
                    <a:pt x="338" y="147"/>
                    <a:pt x="338" y="147"/>
                    <a:pt x="338" y="147"/>
                  </a:cubicBezTo>
                  <a:cubicBezTo>
                    <a:pt x="338" y="150"/>
                    <a:pt x="336" y="152"/>
                    <a:pt x="333" y="152"/>
                  </a:cubicBezTo>
                  <a:cubicBezTo>
                    <a:pt x="307" y="152"/>
                    <a:pt x="307" y="152"/>
                    <a:pt x="307" y="152"/>
                  </a:cubicBezTo>
                  <a:cubicBezTo>
                    <a:pt x="299" y="152"/>
                    <a:pt x="299" y="152"/>
                    <a:pt x="299" y="152"/>
                  </a:cubicBezTo>
                  <a:cubicBezTo>
                    <a:pt x="240" y="152"/>
                    <a:pt x="240" y="152"/>
                    <a:pt x="240" y="152"/>
                  </a:cubicBezTo>
                  <a:cubicBezTo>
                    <a:pt x="235" y="152"/>
                    <a:pt x="231" y="150"/>
                    <a:pt x="231" y="147"/>
                  </a:cubicBezTo>
                  <a:cubicBezTo>
                    <a:pt x="231" y="116"/>
                    <a:pt x="231" y="116"/>
                    <a:pt x="231" y="116"/>
                  </a:cubicBezTo>
                  <a:cubicBezTo>
                    <a:pt x="231" y="113"/>
                    <a:pt x="235" y="111"/>
                    <a:pt x="240" y="111"/>
                  </a:cubicBezTo>
                  <a:cubicBezTo>
                    <a:pt x="299" y="111"/>
                    <a:pt x="299" y="111"/>
                    <a:pt x="299" y="111"/>
                  </a:cubicBezTo>
                  <a:cubicBezTo>
                    <a:pt x="307" y="111"/>
                    <a:pt x="307" y="111"/>
                    <a:pt x="307" y="111"/>
                  </a:cubicBezTo>
                  <a:cubicBezTo>
                    <a:pt x="333" y="111"/>
                    <a:pt x="333" y="111"/>
                    <a:pt x="333" y="111"/>
                  </a:cubicBezTo>
                  <a:cubicBezTo>
                    <a:pt x="336" y="111"/>
                    <a:pt x="338" y="113"/>
                    <a:pt x="338" y="116"/>
                  </a:cubicBezTo>
                  <a:close/>
                  <a:moveTo>
                    <a:pt x="87" y="59"/>
                  </a:moveTo>
                  <a:cubicBezTo>
                    <a:pt x="87" y="85"/>
                    <a:pt x="87" y="85"/>
                    <a:pt x="87" y="85"/>
                  </a:cubicBezTo>
                  <a:cubicBezTo>
                    <a:pt x="87" y="90"/>
                    <a:pt x="87" y="90"/>
                    <a:pt x="87" y="90"/>
                  </a:cubicBezTo>
                  <a:cubicBezTo>
                    <a:pt x="87" y="143"/>
                    <a:pt x="87" y="143"/>
                    <a:pt x="87" y="143"/>
                  </a:cubicBezTo>
                  <a:cubicBezTo>
                    <a:pt x="87" y="148"/>
                    <a:pt x="85" y="152"/>
                    <a:pt x="82" y="152"/>
                  </a:cubicBezTo>
                  <a:cubicBezTo>
                    <a:pt x="48" y="152"/>
                    <a:pt x="48" y="152"/>
                    <a:pt x="48" y="152"/>
                  </a:cubicBezTo>
                  <a:cubicBezTo>
                    <a:pt x="45" y="152"/>
                    <a:pt x="43" y="148"/>
                    <a:pt x="43" y="143"/>
                  </a:cubicBezTo>
                  <a:cubicBezTo>
                    <a:pt x="43" y="90"/>
                    <a:pt x="43" y="90"/>
                    <a:pt x="43" y="90"/>
                  </a:cubicBezTo>
                  <a:cubicBezTo>
                    <a:pt x="43" y="85"/>
                    <a:pt x="43" y="85"/>
                    <a:pt x="43" y="85"/>
                  </a:cubicBezTo>
                  <a:cubicBezTo>
                    <a:pt x="43" y="59"/>
                    <a:pt x="43" y="59"/>
                    <a:pt x="43" y="59"/>
                  </a:cubicBezTo>
                  <a:cubicBezTo>
                    <a:pt x="43" y="56"/>
                    <a:pt x="45" y="54"/>
                    <a:pt x="48" y="54"/>
                  </a:cubicBezTo>
                  <a:cubicBezTo>
                    <a:pt x="82" y="54"/>
                    <a:pt x="82" y="54"/>
                    <a:pt x="82" y="54"/>
                  </a:cubicBezTo>
                  <a:cubicBezTo>
                    <a:pt x="85" y="54"/>
                    <a:pt x="87" y="56"/>
                    <a:pt x="87" y="59"/>
                  </a:cubicBezTo>
                  <a:close/>
                  <a:moveTo>
                    <a:pt x="213" y="173"/>
                  </a:moveTo>
                  <a:cubicBezTo>
                    <a:pt x="213" y="204"/>
                    <a:pt x="213" y="204"/>
                    <a:pt x="213" y="204"/>
                  </a:cubicBezTo>
                  <a:cubicBezTo>
                    <a:pt x="213" y="207"/>
                    <a:pt x="211" y="209"/>
                    <a:pt x="208" y="209"/>
                  </a:cubicBezTo>
                  <a:cubicBezTo>
                    <a:pt x="178" y="209"/>
                    <a:pt x="178" y="209"/>
                    <a:pt x="178" y="209"/>
                  </a:cubicBezTo>
                  <a:cubicBezTo>
                    <a:pt x="173" y="209"/>
                    <a:pt x="173" y="209"/>
                    <a:pt x="173" y="209"/>
                  </a:cubicBezTo>
                  <a:cubicBezTo>
                    <a:pt x="114" y="209"/>
                    <a:pt x="114" y="209"/>
                    <a:pt x="114" y="209"/>
                  </a:cubicBezTo>
                  <a:cubicBezTo>
                    <a:pt x="109" y="209"/>
                    <a:pt x="105" y="207"/>
                    <a:pt x="105" y="204"/>
                  </a:cubicBezTo>
                  <a:cubicBezTo>
                    <a:pt x="105" y="173"/>
                    <a:pt x="105" y="173"/>
                    <a:pt x="105" y="173"/>
                  </a:cubicBezTo>
                  <a:cubicBezTo>
                    <a:pt x="105" y="170"/>
                    <a:pt x="109" y="168"/>
                    <a:pt x="114" y="168"/>
                  </a:cubicBezTo>
                  <a:cubicBezTo>
                    <a:pt x="173" y="168"/>
                    <a:pt x="173" y="168"/>
                    <a:pt x="173" y="168"/>
                  </a:cubicBezTo>
                  <a:cubicBezTo>
                    <a:pt x="178" y="168"/>
                    <a:pt x="178" y="168"/>
                    <a:pt x="178" y="168"/>
                  </a:cubicBezTo>
                  <a:cubicBezTo>
                    <a:pt x="208" y="168"/>
                    <a:pt x="208" y="168"/>
                    <a:pt x="208" y="168"/>
                  </a:cubicBezTo>
                  <a:cubicBezTo>
                    <a:pt x="211" y="168"/>
                    <a:pt x="213" y="170"/>
                    <a:pt x="213" y="173"/>
                  </a:cubicBezTo>
                  <a:close/>
                  <a:moveTo>
                    <a:pt x="338" y="173"/>
                  </a:moveTo>
                  <a:cubicBezTo>
                    <a:pt x="338" y="204"/>
                    <a:pt x="338" y="204"/>
                    <a:pt x="338" y="204"/>
                  </a:cubicBezTo>
                  <a:cubicBezTo>
                    <a:pt x="338" y="207"/>
                    <a:pt x="336" y="209"/>
                    <a:pt x="333" y="209"/>
                  </a:cubicBezTo>
                  <a:cubicBezTo>
                    <a:pt x="303" y="209"/>
                    <a:pt x="303" y="209"/>
                    <a:pt x="303" y="209"/>
                  </a:cubicBezTo>
                  <a:cubicBezTo>
                    <a:pt x="299" y="209"/>
                    <a:pt x="299" y="209"/>
                    <a:pt x="299" y="209"/>
                  </a:cubicBezTo>
                  <a:cubicBezTo>
                    <a:pt x="240" y="209"/>
                    <a:pt x="240" y="209"/>
                    <a:pt x="240" y="209"/>
                  </a:cubicBezTo>
                  <a:cubicBezTo>
                    <a:pt x="235" y="209"/>
                    <a:pt x="231" y="207"/>
                    <a:pt x="231" y="204"/>
                  </a:cubicBezTo>
                  <a:cubicBezTo>
                    <a:pt x="231" y="173"/>
                    <a:pt x="231" y="173"/>
                    <a:pt x="231" y="173"/>
                  </a:cubicBezTo>
                  <a:cubicBezTo>
                    <a:pt x="231" y="170"/>
                    <a:pt x="235" y="168"/>
                    <a:pt x="240" y="168"/>
                  </a:cubicBezTo>
                  <a:cubicBezTo>
                    <a:pt x="299" y="168"/>
                    <a:pt x="299" y="168"/>
                    <a:pt x="299" y="168"/>
                  </a:cubicBezTo>
                  <a:cubicBezTo>
                    <a:pt x="303" y="168"/>
                    <a:pt x="303" y="168"/>
                    <a:pt x="303" y="168"/>
                  </a:cubicBezTo>
                  <a:cubicBezTo>
                    <a:pt x="333" y="168"/>
                    <a:pt x="333" y="168"/>
                    <a:pt x="333" y="168"/>
                  </a:cubicBezTo>
                  <a:cubicBezTo>
                    <a:pt x="336" y="168"/>
                    <a:pt x="338" y="170"/>
                    <a:pt x="338" y="173"/>
                  </a:cubicBezTo>
                  <a:close/>
                  <a:moveTo>
                    <a:pt x="213" y="230"/>
                  </a:moveTo>
                  <a:cubicBezTo>
                    <a:pt x="213" y="261"/>
                    <a:pt x="213" y="261"/>
                    <a:pt x="213" y="261"/>
                  </a:cubicBezTo>
                  <a:cubicBezTo>
                    <a:pt x="213" y="264"/>
                    <a:pt x="211" y="266"/>
                    <a:pt x="208" y="266"/>
                  </a:cubicBezTo>
                  <a:cubicBezTo>
                    <a:pt x="180" y="266"/>
                    <a:pt x="180" y="266"/>
                    <a:pt x="180" y="266"/>
                  </a:cubicBezTo>
                  <a:cubicBezTo>
                    <a:pt x="173" y="266"/>
                    <a:pt x="173" y="266"/>
                    <a:pt x="173" y="266"/>
                  </a:cubicBezTo>
                  <a:cubicBezTo>
                    <a:pt x="115" y="266"/>
                    <a:pt x="115" y="266"/>
                    <a:pt x="115" y="266"/>
                  </a:cubicBezTo>
                  <a:cubicBezTo>
                    <a:pt x="109" y="266"/>
                    <a:pt x="105" y="264"/>
                    <a:pt x="105" y="261"/>
                  </a:cubicBezTo>
                  <a:cubicBezTo>
                    <a:pt x="105" y="230"/>
                    <a:pt x="105" y="230"/>
                    <a:pt x="105" y="230"/>
                  </a:cubicBezTo>
                  <a:cubicBezTo>
                    <a:pt x="105" y="227"/>
                    <a:pt x="109" y="225"/>
                    <a:pt x="115" y="225"/>
                  </a:cubicBezTo>
                  <a:cubicBezTo>
                    <a:pt x="173" y="225"/>
                    <a:pt x="173" y="225"/>
                    <a:pt x="173" y="225"/>
                  </a:cubicBezTo>
                  <a:cubicBezTo>
                    <a:pt x="180" y="225"/>
                    <a:pt x="180" y="225"/>
                    <a:pt x="180" y="225"/>
                  </a:cubicBezTo>
                  <a:cubicBezTo>
                    <a:pt x="208" y="225"/>
                    <a:pt x="208" y="225"/>
                    <a:pt x="208" y="225"/>
                  </a:cubicBezTo>
                  <a:cubicBezTo>
                    <a:pt x="211" y="225"/>
                    <a:pt x="213" y="227"/>
                    <a:pt x="213" y="230"/>
                  </a:cubicBezTo>
                  <a:close/>
                  <a:moveTo>
                    <a:pt x="213" y="59"/>
                  </a:moveTo>
                  <a:cubicBezTo>
                    <a:pt x="213" y="90"/>
                    <a:pt x="213" y="90"/>
                    <a:pt x="213" y="90"/>
                  </a:cubicBezTo>
                  <a:cubicBezTo>
                    <a:pt x="213" y="93"/>
                    <a:pt x="211" y="95"/>
                    <a:pt x="208" y="95"/>
                  </a:cubicBezTo>
                  <a:cubicBezTo>
                    <a:pt x="175" y="95"/>
                    <a:pt x="175" y="95"/>
                    <a:pt x="175" y="95"/>
                  </a:cubicBezTo>
                  <a:cubicBezTo>
                    <a:pt x="173" y="95"/>
                    <a:pt x="173" y="95"/>
                    <a:pt x="173" y="95"/>
                  </a:cubicBezTo>
                  <a:cubicBezTo>
                    <a:pt x="114" y="95"/>
                    <a:pt x="114" y="95"/>
                    <a:pt x="114" y="95"/>
                  </a:cubicBezTo>
                  <a:cubicBezTo>
                    <a:pt x="109" y="95"/>
                    <a:pt x="105" y="93"/>
                    <a:pt x="105" y="90"/>
                  </a:cubicBezTo>
                  <a:cubicBezTo>
                    <a:pt x="105" y="59"/>
                    <a:pt x="105" y="59"/>
                    <a:pt x="105" y="59"/>
                  </a:cubicBezTo>
                  <a:cubicBezTo>
                    <a:pt x="105" y="56"/>
                    <a:pt x="109" y="54"/>
                    <a:pt x="114" y="54"/>
                  </a:cubicBezTo>
                  <a:cubicBezTo>
                    <a:pt x="173" y="54"/>
                    <a:pt x="173" y="54"/>
                    <a:pt x="173" y="54"/>
                  </a:cubicBezTo>
                  <a:cubicBezTo>
                    <a:pt x="175" y="54"/>
                    <a:pt x="175" y="54"/>
                    <a:pt x="175" y="54"/>
                  </a:cubicBezTo>
                  <a:cubicBezTo>
                    <a:pt x="208" y="54"/>
                    <a:pt x="208" y="54"/>
                    <a:pt x="208" y="54"/>
                  </a:cubicBezTo>
                  <a:cubicBezTo>
                    <a:pt x="211" y="54"/>
                    <a:pt x="213" y="56"/>
                    <a:pt x="213" y="59"/>
                  </a:cubicBezTo>
                  <a:close/>
                  <a:moveTo>
                    <a:pt x="338" y="59"/>
                  </a:moveTo>
                  <a:cubicBezTo>
                    <a:pt x="338" y="90"/>
                    <a:pt x="338" y="90"/>
                    <a:pt x="338" y="90"/>
                  </a:cubicBezTo>
                  <a:cubicBezTo>
                    <a:pt x="338" y="93"/>
                    <a:pt x="336" y="95"/>
                    <a:pt x="333" y="95"/>
                  </a:cubicBezTo>
                  <a:cubicBezTo>
                    <a:pt x="300" y="95"/>
                    <a:pt x="300" y="95"/>
                    <a:pt x="300" y="95"/>
                  </a:cubicBezTo>
                  <a:cubicBezTo>
                    <a:pt x="299" y="95"/>
                    <a:pt x="299" y="95"/>
                    <a:pt x="299" y="95"/>
                  </a:cubicBezTo>
                  <a:cubicBezTo>
                    <a:pt x="239" y="95"/>
                    <a:pt x="239" y="95"/>
                    <a:pt x="239" y="95"/>
                  </a:cubicBezTo>
                  <a:cubicBezTo>
                    <a:pt x="235" y="95"/>
                    <a:pt x="231" y="93"/>
                    <a:pt x="231" y="90"/>
                  </a:cubicBezTo>
                  <a:cubicBezTo>
                    <a:pt x="231" y="59"/>
                    <a:pt x="231" y="59"/>
                    <a:pt x="231" y="59"/>
                  </a:cubicBezTo>
                  <a:cubicBezTo>
                    <a:pt x="231" y="56"/>
                    <a:pt x="235" y="54"/>
                    <a:pt x="239" y="54"/>
                  </a:cubicBezTo>
                  <a:cubicBezTo>
                    <a:pt x="299" y="54"/>
                    <a:pt x="299" y="54"/>
                    <a:pt x="299" y="54"/>
                  </a:cubicBezTo>
                  <a:cubicBezTo>
                    <a:pt x="300" y="54"/>
                    <a:pt x="300" y="54"/>
                    <a:pt x="300" y="54"/>
                  </a:cubicBezTo>
                  <a:cubicBezTo>
                    <a:pt x="333" y="54"/>
                    <a:pt x="333" y="54"/>
                    <a:pt x="333" y="54"/>
                  </a:cubicBezTo>
                  <a:cubicBezTo>
                    <a:pt x="336" y="54"/>
                    <a:pt x="338" y="56"/>
                    <a:pt x="338" y="59"/>
                  </a:cubicBezTo>
                  <a:close/>
                  <a:moveTo>
                    <a:pt x="87" y="173"/>
                  </a:moveTo>
                  <a:cubicBezTo>
                    <a:pt x="87" y="199"/>
                    <a:pt x="87" y="199"/>
                    <a:pt x="87" y="199"/>
                  </a:cubicBezTo>
                  <a:cubicBezTo>
                    <a:pt x="87" y="204"/>
                    <a:pt x="87" y="204"/>
                    <a:pt x="87" y="204"/>
                  </a:cubicBezTo>
                  <a:cubicBezTo>
                    <a:pt x="87" y="257"/>
                    <a:pt x="87" y="257"/>
                    <a:pt x="87" y="257"/>
                  </a:cubicBezTo>
                  <a:cubicBezTo>
                    <a:pt x="87" y="262"/>
                    <a:pt x="85" y="266"/>
                    <a:pt x="82" y="266"/>
                  </a:cubicBezTo>
                  <a:cubicBezTo>
                    <a:pt x="48" y="266"/>
                    <a:pt x="48" y="266"/>
                    <a:pt x="48" y="266"/>
                  </a:cubicBezTo>
                  <a:cubicBezTo>
                    <a:pt x="45" y="266"/>
                    <a:pt x="43" y="262"/>
                    <a:pt x="43" y="257"/>
                  </a:cubicBezTo>
                  <a:cubicBezTo>
                    <a:pt x="43" y="204"/>
                    <a:pt x="43" y="204"/>
                    <a:pt x="43" y="204"/>
                  </a:cubicBezTo>
                  <a:cubicBezTo>
                    <a:pt x="43" y="199"/>
                    <a:pt x="43" y="199"/>
                    <a:pt x="43" y="199"/>
                  </a:cubicBezTo>
                  <a:cubicBezTo>
                    <a:pt x="43" y="173"/>
                    <a:pt x="43" y="173"/>
                    <a:pt x="43" y="173"/>
                  </a:cubicBezTo>
                  <a:cubicBezTo>
                    <a:pt x="43" y="170"/>
                    <a:pt x="45" y="168"/>
                    <a:pt x="48" y="168"/>
                  </a:cubicBezTo>
                  <a:cubicBezTo>
                    <a:pt x="82" y="168"/>
                    <a:pt x="82" y="168"/>
                    <a:pt x="82" y="168"/>
                  </a:cubicBezTo>
                  <a:cubicBezTo>
                    <a:pt x="85" y="168"/>
                    <a:pt x="87" y="170"/>
                    <a:pt x="87" y="173"/>
                  </a:cubicBezTo>
                  <a:close/>
                  <a:moveTo>
                    <a:pt x="338" y="230"/>
                  </a:moveTo>
                  <a:cubicBezTo>
                    <a:pt x="338" y="261"/>
                    <a:pt x="338" y="261"/>
                    <a:pt x="338" y="261"/>
                  </a:cubicBezTo>
                  <a:cubicBezTo>
                    <a:pt x="338" y="264"/>
                    <a:pt x="336" y="266"/>
                    <a:pt x="333" y="266"/>
                  </a:cubicBezTo>
                  <a:cubicBezTo>
                    <a:pt x="303" y="266"/>
                    <a:pt x="303" y="266"/>
                    <a:pt x="303" y="266"/>
                  </a:cubicBezTo>
                  <a:cubicBezTo>
                    <a:pt x="299" y="266"/>
                    <a:pt x="299" y="266"/>
                    <a:pt x="299" y="266"/>
                  </a:cubicBezTo>
                  <a:cubicBezTo>
                    <a:pt x="240" y="266"/>
                    <a:pt x="240" y="266"/>
                    <a:pt x="240" y="266"/>
                  </a:cubicBezTo>
                  <a:cubicBezTo>
                    <a:pt x="235" y="266"/>
                    <a:pt x="231" y="264"/>
                    <a:pt x="231" y="261"/>
                  </a:cubicBezTo>
                  <a:cubicBezTo>
                    <a:pt x="231" y="230"/>
                    <a:pt x="231" y="230"/>
                    <a:pt x="231" y="230"/>
                  </a:cubicBezTo>
                  <a:cubicBezTo>
                    <a:pt x="231" y="227"/>
                    <a:pt x="235" y="225"/>
                    <a:pt x="240" y="225"/>
                  </a:cubicBezTo>
                  <a:cubicBezTo>
                    <a:pt x="299" y="225"/>
                    <a:pt x="299" y="225"/>
                    <a:pt x="299" y="225"/>
                  </a:cubicBezTo>
                  <a:cubicBezTo>
                    <a:pt x="303" y="225"/>
                    <a:pt x="303" y="225"/>
                    <a:pt x="303" y="225"/>
                  </a:cubicBezTo>
                  <a:cubicBezTo>
                    <a:pt x="333" y="225"/>
                    <a:pt x="333" y="225"/>
                    <a:pt x="333" y="225"/>
                  </a:cubicBezTo>
                  <a:cubicBezTo>
                    <a:pt x="336" y="225"/>
                    <a:pt x="338" y="227"/>
                    <a:pt x="338" y="230"/>
                  </a:cubicBezTo>
                  <a:close/>
                  <a:moveTo>
                    <a:pt x="213" y="344"/>
                  </a:moveTo>
                  <a:cubicBezTo>
                    <a:pt x="213" y="375"/>
                    <a:pt x="213" y="375"/>
                    <a:pt x="213" y="375"/>
                  </a:cubicBezTo>
                  <a:cubicBezTo>
                    <a:pt x="213" y="378"/>
                    <a:pt x="211" y="380"/>
                    <a:pt x="208" y="380"/>
                  </a:cubicBezTo>
                  <a:cubicBezTo>
                    <a:pt x="181" y="380"/>
                    <a:pt x="181" y="380"/>
                    <a:pt x="181" y="380"/>
                  </a:cubicBezTo>
                  <a:cubicBezTo>
                    <a:pt x="173" y="380"/>
                    <a:pt x="173" y="380"/>
                    <a:pt x="173" y="380"/>
                  </a:cubicBezTo>
                  <a:cubicBezTo>
                    <a:pt x="115" y="380"/>
                    <a:pt x="115" y="380"/>
                    <a:pt x="115" y="380"/>
                  </a:cubicBezTo>
                  <a:cubicBezTo>
                    <a:pt x="110" y="380"/>
                    <a:pt x="105" y="378"/>
                    <a:pt x="105" y="375"/>
                  </a:cubicBezTo>
                  <a:cubicBezTo>
                    <a:pt x="105" y="344"/>
                    <a:pt x="105" y="344"/>
                    <a:pt x="105" y="344"/>
                  </a:cubicBezTo>
                  <a:cubicBezTo>
                    <a:pt x="105" y="341"/>
                    <a:pt x="110" y="339"/>
                    <a:pt x="115" y="339"/>
                  </a:cubicBezTo>
                  <a:cubicBezTo>
                    <a:pt x="173" y="339"/>
                    <a:pt x="173" y="339"/>
                    <a:pt x="173" y="339"/>
                  </a:cubicBezTo>
                  <a:cubicBezTo>
                    <a:pt x="181" y="339"/>
                    <a:pt x="181" y="339"/>
                    <a:pt x="181" y="339"/>
                  </a:cubicBezTo>
                  <a:cubicBezTo>
                    <a:pt x="208" y="339"/>
                    <a:pt x="208" y="339"/>
                    <a:pt x="208" y="339"/>
                  </a:cubicBezTo>
                  <a:cubicBezTo>
                    <a:pt x="211" y="339"/>
                    <a:pt x="213" y="341"/>
                    <a:pt x="213" y="344"/>
                  </a:cubicBezTo>
                  <a:close/>
                  <a:moveTo>
                    <a:pt x="338" y="344"/>
                  </a:moveTo>
                  <a:cubicBezTo>
                    <a:pt x="338" y="375"/>
                    <a:pt x="338" y="375"/>
                    <a:pt x="338" y="375"/>
                  </a:cubicBezTo>
                  <a:cubicBezTo>
                    <a:pt x="338" y="378"/>
                    <a:pt x="336" y="380"/>
                    <a:pt x="333" y="380"/>
                  </a:cubicBezTo>
                  <a:cubicBezTo>
                    <a:pt x="307" y="380"/>
                    <a:pt x="307" y="380"/>
                    <a:pt x="307" y="380"/>
                  </a:cubicBezTo>
                  <a:cubicBezTo>
                    <a:pt x="299" y="380"/>
                    <a:pt x="299" y="380"/>
                    <a:pt x="299" y="380"/>
                  </a:cubicBezTo>
                  <a:cubicBezTo>
                    <a:pt x="240" y="380"/>
                    <a:pt x="240" y="380"/>
                    <a:pt x="240" y="380"/>
                  </a:cubicBezTo>
                  <a:cubicBezTo>
                    <a:pt x="235" y="380"/>
                    <a:pt x="231" y="378"/>
                    <a:pt x="231" y="375"/>
                  </a:cubicBezTo>
                  <a:cubicBezTo>
                    <a:pt x="231" y="344"/>
                    <a:pt x="231" y="344"/>
                    <a:pt x="231" y="344"/>
                  </a:cubicBezTo>
                  <a:cubicBezTo>
                    <a:pt x="231" y="341"/>
                    <a:pt x="235" y="339"/>
                    <a:pt x="240" y="339"/>
                  </a:cubicBezTo>
                  <a:cubicBezTo>
                    <a:pt x="299" y="339"/>
                    <a:pt x="299" y="339"/>
                    <a:pt x="299" y="339"/>
                  </a:cubicBezTo>
                  <a:cubicBezTo>
                    <a:pt x="307" y="339"/>
                    <a:pt x="307" y="339"/>
                    <a:pt x="307" y="339"/>
                  </a:cubicBezTo>
                  <a:cubicBezTo>
                    <a:pt x="333" y="339"/>
                    <a:pt x="333" y="339"/>
                    <a:pt x="333" y="339"/>
                  </a:cubicBezTo>
                  <a:cubicBezTo>
                    <a:pt x="336" y="339"/>
                    <a:pt x="338" y="341"/>
                    <a:pt x="338" y="344"/>
                  </a:cubicBezTo>
                  <a:close/>
                  <a:moveTo>
                    <a:pt x="87" y="287"/>
                  </a:moveTo>
                  <a:cubicBezTo>
                    <a:pt x="87" y="313"/>
                    <a:pt x="87" y="313"/>
                    <a:pt x="87" y="313"/>
                  </a:cubicBezTo>
                  <a:cubicBezTo>
                    <a:pt x="87" y="318"/>
                    <a:pt x="87" y="318"/>
                    <a:pt x="87" y="318"/>
                  </a:cubicBezTo>
                  <a:cubicBezTo>
                    <a:pt x="87" y="371"/>
                    <a:pt x="87" y="371"/>
                    <a:pt x="87" y="371"/>
                  </a:cubicBezTo>
                  <a:cubicBezTo>
                    <a:pt x="87" y="376"/>
                    <a:pt x="85" y="380"/>
                    <a:pt x="82" y="380"/>
                  </a:cubicBezTo>
                  <a:cubicBezTo>
                    <a:pt x="48" y="380"/>
                    <a:pt x="48" y="380"/>
                    <a:pt x="48" y="380"/>
                  </a:cubicBezTo>
                  <a:cubicBezTo>
                    <a:pt x="45" y="380"/>
                    <a:pt x="43" y="376"/>
                    <a:pt x="43" y="371"/>
                  </a:cubicBezTo>
                  <a:cubicBezTo>
                    <a:pt x="43" y="318"/>
                    <a:pt x="43" y="318"/>
                    <a:pt x="43" y="318"/>
                  </a:cubicBezTo>
                  <a:cubicBezTo>
                    <a:pt x="43" y="313"/>
                    <a:pt x="43" y="313"/>
                    <a:pt x="43" y="313"/>
                  </a:cubicBezTo>
                  <a:cubicBezTo>
                    <a:pt x="43" y="287"/>
                    <a:pt x="43" y="287"/>
                    <a:pt x="43" y="287"/>
                  </a:cubicBezTo>
                  <a:cubicBezTo>
                    <a:pt x="43" y="284"/>
                    <a:pt x="45" y="282"/>
                    <a:pt x="48" y="282"/>
                  </a:cubicBezTo>
                  <a:cubicBezTo>
                    <a:pt x="82" y="282"/>
                    <a:pt x="82" y="282"/>
                    <a:pt x="82" y="282"/>
                  </a:cubicBezTo>
                  <a:cubicBezTo>
                    <a:pt x="85" y="282"/>
                    <a:pt x="87" y="284"/>
                    <a:pt x="87" y="287"/>
                  </a:cubicBezTo>
                  <a:close/>
                  <a:moveTo>
                    <a:pt x="213" y="401"/>
                  </a:moveTo>
                  <a:cubicBezTo>
                    <a:pt x="213" y="432"/>
                    <a:pt x="213" y="432"/>
                    <a:pt x="213" y="432"/>
                  </a:cubicBezTo>
                  <a:cubicBezTo>
                    <a:pt x="213" y="435"/>
                    <a:pt x="211" y="437"/>
                    <a:pt x="208" y="437"/>
                  </a:cubicBezTo>
                  <a:cubicBezTo>
                    <a:pt x="178" y="437"/>
                    <a:pt x="178" y="437"/>
                    <a:pt x="178" y="437"/>
                  </a:cubicBezTo>
                  <a:cubicBezTo>
                    <a:pt x="173" y="437"/>
                    <a:pt x="173" y="437"/>
                    <a:pt x="173" y="437"/>
                  </a:cubicBezTo>
                  <a:cubicBezTo>
                    <a:pt x="114" y="437"/>
                    <a:pt x="114" y="437"/>
                    <a:pt x="114" y="437"/>
                  </a:cubicBezTo>
                  <a:cubicBezTo>
                    <a:pt x="109" y="437"/>
                    <a:pt x="105" y="435"/>
                    <a:pt x="105" y="432"/>
                  </a:cubicBezTo>
                  <a:cubicBezTo>
                    <a:pt x="105" y="401"/>
                    <a:pt x="105" y="401"/>
                    <a:pt x="105" y="401"/>
                  </a:cubicBezTo>
                  <a:cubicBezTo>
                    <a:pt x="105" y="398"/>
                    <a:pt x="109" y="396"/>
                    <a:pt x="114" y="396"/>
                  </a:cubicBezTo>
                  <a:cubicBezTo>
                    <a:pt x="173" y="396"/>
                    <a:pt x="173" y="396"/>
                    <a:pt x="173" y="396"/>
                  </a:cubicBezTo>
                  <a:cubicBezTo>
                    <a:pt x="178" y="396"/>
                    <a:pt x="178" y="396"/>
                    <a:pt x="178" y="396"/>
                  </a:cubicBezTo>
                  <a:cubicBezTo>
                    <a:pt x="208" y="396"/>
                    <a:pt x="208" y="396"/>
                    <a:pt x="208" y="396"/>
                  </a:cubicBezTo>
                  <a:cubicBezTo>
                    <a:pt x="211" y="396"/>
                    <a:pt x="213" y="398"/>
                    <a:pt x="213" y="401"/>
                  </a:cubicBezTo>
                  <a:close/>
                  <a:moveTo>
                    <a:pt x="338" y="401"/>
                  </a:moveTo>
                  <a:cubicBezTo>
                    <a:pt x="338" y="432"/>
                    <a:pt x="338" y="432"/>
                    <a:pt x="338" y="432"/>
                  </a:cubicBezTo>
                  <a:cubicBezTo>
                    <a:pt x="338" y="435"/>
                    <a:pt x="336" y="437"/>
                    <a:pt x="333" y="437"/>
                  </a:cubicBezTo>
                  <a:cubicBezTo>
                    <a:pt x="303" y="437"/>
                    <a:pt x="303" y="437"/>
                    <a:pt x="303" y="437"/>
                  </a:cubicBezTo>
                  <a:cubicBezTo>
                    <a:pt x="299" y="437"/>
                    <a:pt x="299" y="437"/>
                    <a:pt x="299" y="437"/>
                  </a:cubicBezTo>
                  <a:cubicBezTo>
                    <a:pt x="240" y="437"/>
                    <a:pt x="240" y="437"/>
                    <a:pt x="240" y="437"/>
                  </a:cubicBezTo>
                  <a:cubicBezTo>
                    <a:pt x="235" y="437"/>
                    <a:pt x="231" y="435"/>
                    <a:pt x="231" y="432"/>
                  </a:cubicBezTo>
                  <a:cubicBezTo>
                    <a:pt x="231" y="401"/>
                    <a:pt x="231" y="401"/>
                    <a:pt x="231" y="401"/>
                  </a:cubicBezTo>
                  <a:cubicBezTo>
                    <a:pt x="231" y="398"/>
                    <a:pt x="235" y="396"/>
                    <a:pt x="240" y="396"/>
                  </a:cubicBezTo>
                  <a:cubicBezTo>
                    <a:pt x="299" y="396"/>
                    <a:pt x="299" y="396"/>
                    <a:pt x="299" y="396"/>
                  </a:cubicBezTo>
                  <a:cubicBezTo>
                    <a:pt x="303" y="396"/>
                    <a:pt x="303" y="396"/>
                    <a:pt x="303" y="396"/>
                  </a:cubicBezTo>
                  <a:cubicBezTo>
                    <a:pt x="333" y="396"/>
                    <a:pt x="333" y="396"/>
                    <a:pt x="333" y="396"/>
                  </a:cubicBezTo>
                  <a:cubicBezTo>
                    <a:pt x="336" y="396"/>
                    <a:pt x="338" y="398"/>
                    <a:pt x="338" y="401"/>
                  </a:cubicBezTo>
                  <a:close/>
                  <a:moveTo>
                    <a:pt x="213" y="458"/>
                  </a:moveTo>
                  <a:cubicBezTo>
                    <a:pt x="213" y="489"/>
                    <a:pt x="213" y="489"/>
                    <a:pt x="213" y="489"/>
                  </a:cubicBezTo>
                  <a:cubicBezTo>
                    <a:pt x="213" y="492"/>
                    <a:pt x="211" y="494"/>
                    <a:pt x="208" y="494"/>
                  </a:cubicBezTo>
                  <a:cubicBezTo>
                    <a:pt x="180" y="494"/>
                    <a:pt x="180" y="494"/>
                    <a:pt x="180" y="494"/>
                  </a:cubicBezTo>
                  <a:cubicBezTo>
                    <a:pt x="173" y="494"/>
                    <a:pt x="173" y="494"/>
                    <a:pt x="173" y="494"/>
                  </a:cubicBezTo>
                  <a:cubicBezTo>
                    <a:pt x="115" y="494"/>
                    <a:pt x="115" y="494"/>
                    <a:pt x="115" y="494"/>
                  </a:cubicBezTo>
                  <a:cubicBezTo>
                    <a:pt x="109" y="494"/>
                    <a:pt x="105" y="492"/>
                    <a:pt x="105" y="489"/>
                  </a:cubicBezTo>
                  <a:cubicBezTo>
                    <a:pt x="105" y="458"/>
                    <a:pt x="105" y="458"/>
                    <a:pt x="105" y="458"/>
                  </a:cubicBezTo>
                  <a:cubicBezTo>
                    <a:pt x="105" y="455"/>
                    <a:pt x="109" y="453"/>
                    <a:pt x="115" y="453"/>
                  </a:cubicBezTo>
                  <a:cubicBezTo>
                    <a:pt x="173" y="453"/>
                    <a:pt x="173" y="453"/>
                    <a:pt x="173" y="453"/>
                  </a:cubicBezTo>
                  <a:cubicBezTo>
                    <a:pt x="180" y="453"/>
                    <a:pt x="180" y="453"/>
                    <a:pt x="180" y="453"/>
                  </a:cubicBezTo>
                  <a:cubicBezTo>
                    <a:pt x="208" y="453"/>
                    <a:pt x="208" y="453"/>
                    <a:pt x="208" y="453"/>
                  </a:cubicBezTo>
                  <a:cubicBezTo>
                    <a:pt x="211" y="453"/>
                    <a:pt x="213" y="455"/>
                    <a:pt x="213" y="458"/>
                  </a:cubicBezTo>
                  <a:close/>
                  <a:moveTo>
                    <a:pt x="213" y="287"/>
                  </a:moveTo>
                  <a:cubicBezTo>
                    <a:pt x="213" y="318"/>
                    <a:pt x="213" y="318"/>
                    <a:pt x="213" y="318"/>
                  </a:cubicBezTo>
                  <a:cubicBezTo>
                    <a:pt x="213" y="321"/>
                    <a:pt x="211" y="323"/>
                    <a:pt x="208" y="323"/>
                  </a:cubicBezTo>
                  <a:cubicBezTo>
                    <a:pt x="175" y="323"/>
                    <a:pt x="175" y="323"/>
                    <a:pt x="175" y="323"/>
                  </a:cubicBezTo>
                  <a:cubicBezTo>
                    <a:pt x="173" y="323"/>
                    <a:pt x="173" y="323"/>
                    <a:pt x="173" y="323"/>
                  </a:cubicBezTo>
                  <a:cubicBezTo>
                    <a:pt x="114" y="323"/>
                    <a:pt x="114" y="323"/>
                    <a:pt x="114" y="323"/>
                  </a:cubicBezTo>
                  <a:cubicBezTo>
                    <a:pt x="109" y="323"/>
                    <a:pt x="105" y="321"/>
                    <a:pt x="105" y="318"/>
                  </a:cubicBezTo>
                  <a:cubicBezTo>
                    <a:pt x="105" y="287"/>
                    <a:pt x="105" y="287"/>
                    <a:pt x="105" y="287"/>
                  </a:cubicBezTo>
                  <a:cubicBezTo>
                    <a:pt x="105" y="284"/>
                    <a:pt x="109" y="282"/>
                    <a:pt x="114" y="282"/>
                  </a:cubicBezTo>
                  <a:cubicBezTo>
                    <a:pt x="173" y="282"/>
                    <a:pt x="173" y="282"/>
                    <a:pt x="173" y="282"/>
                  </a:cubicBezTo>
                  <a:cubicBezTo>
                    <a:pt x="175" y="282"/>
                    <a:pt x="175" y="282"/>
                    <a:pt x="175" y="282"/>
                  </a:cubicBezTo>
                  <a:cubicBezTo>
                    <a:pt x="208" y="282"/>
                    <a:pt x="208" y="282"/>
                    <a:pt x="208" y="282"/>
                  </a:cubicBezTo>
                  <a:cubicBezTo>
                    <a:pt x="211" y="282"/>
                    <a:pt x="213" y="284"/>
                    <a:pt x="213" y="287"/>
                  </a:cubicBezTo>
                  <a:close/>
                  <a:moveTo>
                    <a:pt x="338" y="287"/>
                  </a:moveTo>
                  <a:cubicBezTo>
                    <a:pt x="338" y="318"/>
                    <a:pt x="338" y="318"/>
                    <a:pt x="338" y="318"/>
                  </a:cubicBezTo>
                  <a:cubicBezTo>
                    <a:pt x="338" y="321"/>
                    <a:pt x="336" y="323"/>
                    <a:pt x="333" y="323"/>
                  </a:cubicBezTo>
                  <a:cubicBezTo>
                    <a:pt x="300" y="323"/>
                    <a:pt x="300" y="323"/>
                    <a:pt x="300" y="323"/>
                  </a:cubicBezTo>
                  <a:cubicBezTo>
                    <a:pt x="299" y="323"/>
                    <a:pt x="299" y="323"/>
                    <a:pt x="299" y="323"/>
                  </a:cubicBezTo>
                  <a:cubicBezTo>
                    <a:pt x="239" y="323"/>
                    <a:pt x="239" y="323"/>
                    <a:pt x="239" y="323"/>
                  </a:cubicBezTo>
                  <a:cubicBezTo>
                    <a:pt x="235" y="323"/>
                    <a:pt x="231" y="321"/>
                    <a:pt x="231" y="318"/>
                  </a:cubicBezTo>
                  <a:cubicBezTo>
                    <a:pt x="231" y="287"/>
                    <a:pt x="231" y="287"/>
                    <a:pt x="231" y="287"/>
                  </a:cubicBezTo>
                  <a:cubicBezTo>
                    <a:pt x="231" y="284"/>
                    <a:pt x="235" y="282"/>
                    <a:pt x="239" y="282"/>
                  </a:cubicBezTo>
                  <a:cubicBezTo>
                    <a:pt x="299" y="282"/>
                    <a:pt x="299" y="282"/>
                    <a:pt x="299" y="282"/>
                  </a:cubicBezTo>
                  <a:cubicBezTo>
                    <a:pt x="300" y="282"/>
                    <a:pt x="300" y="282"/>
                    <a:pt x="300" y="282"/>
                  </a:cubicBezTo>
                  <a:cubicBezTo>
                    <a:pt x="333" y="282"/>
                    <a:pt x="333" y="282"/>
                    <a:pt x="333" y="282"/>
                  </a:cubicBezTo>
                  <a:cubicBezTo>
                    <a:pt x="336" y="282"/>
                    <a:pt x="338" y="284"/>
                    <a:pt x="338" y="287"/>
                  </a:cubicBezTo>
                  <a:close/>
                  <a:moveTo>
                    <a:pt x="87" y="401"/>
                  </a:moveTo>
                  <a:cubicBezTo>
                    <a:pt x="87" y="427"/>
                    <a:pt x="87" y="427"/>
                    <a:pt x="87" y="427"/>
                  </a:cubicBezTo>
                  <a:cubicBezTo>
                    <a:pt x="87" y="432"/>
                    <a:pt x="87" y="432"/>
                    <a:pt x="87" y="432"/>
                  </a:cubicBezTo>
                  <a:cubicBezTo>
                    <a:pt x="87" y="485"/>
                    <a:pt x="87" y="485"/>
                    <a:pt x="87" y="485"/>
                  </a:cubicBezTo>
                  <a:cubicBezTo>
                    <a:pt x="87" y="490"/>
                    <a:pt x="85" y="494"/>
                    <a:pt x="82" y="494"/>
                  </a:cubicBezTo>
                  <a:cubicBezTo>
                    <a:pt x="48" y="494"/>
                    <a:pt x="48" y="494"/>
                    <a:pt x="48" y="494"/>
                  </a:cubicBezTo>
                  <a:cubicBezTo>
                    <a:pt x="45" y="494"/>
                    <a:pt x="43" y="490"/>
                    <a:pt x="43" y="485"/>
                  </a:cubicBezTo>
                  <a:cubicBezTo>
                    <a:pt x="43" y="432"/>
                    <a:pt x="43" y="432"/>
                    <a:pt x="43" y="432"/>
                  </a:cubicBezTo>
                  <a:cubicBezTo>
                    <a:pt x="43" y="427"/>
                    <a:pt x="43" y="427"/>
                    <a:pt x="43" y="427"/>
                  </a:cubicBezTo>
                  <a:cubicBezTo>
                    <a:pt x="43" y="401"/>
                    <a:pt x="43" y="401"/>
                    <a:pt x="43" y="401"/>
                  </a:cubicBezTo>
                  <a:cubicBezTo>
                    <a:pt x="43" y="398"/>
                    <a:pt x="45" y="396"/>
                    <a:pt x="48" y="396"/>
                  </a:cubicBezTo>
                  <a:cubicBezTo>
                    <a:pt x="82" y="396"/>
                    <a:pt x="82" y="396"/>
                    <a:pt x="82" y="396"/>
                  </a:cubicBezTo>
                  <a:cubicBezTo>
                    <a:pt x="85" y="396"/>
                    <a:pt x="87" y="398"/>
                    <a:pt x="87" y="401"/>
                  </a:cubicBezTo>
                  <a:close/>
                  <a:moveTo>
                    <a:pt x="338" y="458"/>
                  </a:moveTo>
                  <a:cubicBezTo>
                    <a:pt x="338" y="489"/>
                    <a:pt x="338" y="489"/>
                    <a:pt x="338" y="489"/>
                  </a:cubicBezTo>
                  <a:cubicBezTo>
                    <a:pt x="338" y="492"/>
                    <a:pt x="336" y="494"/>
                    <a:pt x="333" y="494"/>
                  </a:cubicBezTo>
                  <a:cubicBezTo>
                    <a:pt x="303" y="494"/>
                    <a:pt x="303" y="494"/>
                    <a:pt x="303" y="494"/>
                  </a:cubicBezTo>
                  <a:cubicBezTo>
                    <a:pt x="299" y="494"/>
                    <a:pt x="299" y="494"/>
                    <a:pt x="299" y="494"/>
                  </a:cubicBezTo>
                  <a:cubicBezTo>
                    <a:pt x="240" y="494"/>
                    <a:pt x="240" y="494"/>
                    <a:pt x="240" y="494"/>
                  </a:cubicBezTo>
                  <a:cubicBezTo>
                    <a:pt x="235" y="494"/>
                    <a:pt x="231" y="492"/>
                    <a:pt x="231" y="489"/>
                  </a:cubicBezTo>
                  <a:cubicBezTo>
                    <a:pt x="231" y="458"/>
                    <a:pt x="231" y="458"/>
                    <a:pt x="231" y="458"/>
                  </a:cubicBezTo>
                  <a:cubicBezTo>
                    <a:pt x="231" y="455"/>
                    <a:pt x="235" y="453"/>
                    <a:pt x="240" y="453"/>
                  </a:cubicBezTo>
                  <a:cubicBezTo>
                    <a:pt x="299" y="453"/>
                    <a:pt x="299" y="453"/>
                    <a:pt x="299" y="453"/>
                  </a:cubicBezTo>
                  <a:cubicBezTo>
                    <a:pt x="303" y="453"/>
                    <a:pt x="303" y="453"/>
                    <a:pt x="303" y="453"/>
                  </a:cubicBezTo>
                  <a:cubicBezTo>
                    <a:pt x="333" y="453"/>
                    <a:pt x="333" y="453"/>
                    <a:pt x="333" y="453"/>
                  </a:cubicBezTo>
                  <a:cubicBezTo>
                    <a:pt x="336" y="453"/>
                    <a:pt x="338" y="455"/>
                    <a:pt x="338" y="458"/>
                  </a:cubicBez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grpSp>
        <p:nvGrpSpPr>
          <p:cNvPr id="126" name="Group 69">
            <a:extLst>
              <a:ext uri="{FF2B5EF4-FFF2-40B4-BE49-F238E27FC236}">
                <a16:creationId xmlns:a16="http://schemas.microsoft.com/office/drawing/2014/main" xmlns="" id="{CF315958-3282-4132-95D1-541890EC561A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444628" y="3479413"/>
            <a:ext cx="539759" cy="357565"/>
            <a:chOff x="2125" y="2577"/>
            <a:chExt cx="554" cy="367"/>
          </a:xfrm>
          <a:effectLst>
            <a:outerShdw blurRad="101600" dist="76200" dir="2700000" algn="ctr" rotWithShape="0">
              <a:srgbClr val="000000">
                <a:alpha val="29000"/>
              </a:srgbClr>
            </a:outerShdw>
          </a:effectLst>
        </p:grpSpPr>
        <p:sp>
          <p:nvSpPr>
            <p:cNvPr id="127" name="AutoShape 68">
              <a:extLst>
                <a:ext uri="{FF2B5EF4-FFF2-40B4-BE49-F238E27FC236}">
                  <a16:creationId xmlns:a16="http://schemas.microsoft.com/office/drawing/2014/main" xmlns="" id="{525CA4CD-B721-48D1-9250-1C918CDA2AC1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125" y="2577"/>
              <a:ext cx="554" cy="36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28" name="Freeform 70">
              <a:extLst>
                <a:ext uri="{FF2B5EF4-FFF2-40B4-BE49-F238E27FC236}">
                  <a16:creationId xmlns:a16="http://schemas.microsoft.com/office/drawing/2014/main" xmlns="" id="{CD489352-0DBF-4397-8D9F-BE3418DC8B00}"/>
                </a:ext>
              </a:extLst>
            </p:cNvPr>
            <p:cNvSpPr>
              <a:spLocks/>
            </p:cNvSpPr>
            <p:nvPr/>
          </p:nvSpPr>
          <p:spPr bwMode="auto">
            <a:xfrm>
              <a:off x="2122" y="2577"/>
              <a:ext cx="557" cy="368"/>
            </a:xfrm>
            <a:custGeom>
              <a:avLst/>
              <a:gdLst>
                <a:gd name="T0" fmla="*/ 514 w 528"/>
                <a:gd name="T1" fmla="*/ 173 h 349"/>
                <a:gd name="T2" fmla="*/ 467 w 528"/>
                <a:gd name="T3" fmla="*/ 188 h 349"/>
                <a:gd name="T4" fmla="*/ 430 w 528"/>
                <a:gd name="T5" fmla="*/ 229 h 349"/>
                <a:gd name="T6" fmla="*/ 421 w 528"/>
                <a:gd name="T7" fmla="*/ 271 h 349"/>
                <a:gd name="T8" fmla="*/ 379 w 528"/>
                <a:gd name="T9" fmla="*/ 298 h 349"/>
                <a:gd name="T10" fmla="*/ 336 w 528"/>
                <a:gd name="T11" fmla="*/ 324 h 349"/>
                <a:gd name="T12" fmla="*/ 285 w 528"/>
                <a:gd name="T13" fmla="*/ 333 h 349"/>
                <a:gd name="T14" fmla="*/ 256 w 528"/>
                <a:gd name="T15" fmla="*/ 349 h 349"/>
                <a:gd name="T16" fmla="*/ 231 w 528"/>
                <a:gd name="T17" fmla="*/ 337 h 349"/>
                <a:gd name="T18" fmla="*/ 208 w 528"/>
                <a:gd name="T19" fmla="*/ 325 h 349"/>
                <a:gd name="T20" fmla="*/ 185 w 528"/>
                <a:gd name="T21" fmla="*/ 312 h 349"/>
                <a:gd name="T22" fmla="*/ 175 w 528"/>
                <a:gd name="T23" fmla="*/ 295 h 349"/>
                <a:gd name="T24" fmla="*/ 152 w 528"/>
                <a:gd name="T25" fmla="*/ 281 h 349"/>
                <a:gd name="T26" fmla="*/ 133 w 528"/>
                <a:gd name="T27" fmla="*/ 270 h 349"/>
                <a:gd name="T28" fmla="*/ 110 w 528"/>
                <a:gd name="T29" fmla="*/ 256 h 349"/>
                <a:gd name="T30" fmla="*/ 104 w 528"/>
                <a:gd name="T31" fmla="*/ 227 h 349"/>
                <a:gd name="T32" fmla="*/ 66 w 528"/>
                <a:gd name="T33" fmla="*/ 186 h 349"/>
                <a:gd name="T34" fmla="*/ 45 w 528"/>
                <a:gd name="T35" fmla="*/ 189 h 349"/>
                <a:gd name="T36" fmla="*/ 5 w 528"/>
                <a:gd name="T37" fmla="*/ 146 h 349"/>
                <a:gd name="T38" fmla="*/ 67 w 528"/>
                <a:gd name="T39" fmla="*/ 3 h 349"/>
                <a:gd name="T40" fmla="*/ 112 w 528"/>
                <a:gd name="T41" fmla="*/ 12 h 349"/>
                <a:gd name="T42" fmla="*/ 139 w 528"/>
                <a:gd name="T43" fmla="*/ 21 h 349"/>
                <a:gd name="T44" fmla="*/ 159 w 528"/>
                <a:gd name="T45" fmla="*/ 34 h 349"/>
                <a:gd name="T46" fmla="*/ 187 w 528"/>
                <a:gd name="T47" fmla="*/ 24 h 349"/>
                <a:gd name="T48" fmla="*/ 230 w 528"/>
                <a:gd name="T49" fmla="*/ 9 h 349"/>
                <a:gd name="T50" fmla="*/ 265 w 528"/>
                <a:gd name="T51" fmla="*/ 23 h 349"/>
                <a:gd name="T52" fmla="*/ 344 w 528"/>
                <a:gd name="T53" fmla="*/ 29 h 349"/>
                <a:gd name="T54" fmla="*/ 357 w 528"/>
                <a:gd name="T55" fmla="*/ 37 h 349"/>
                <a:gd name="T56" fmla="*/ 384 w 528"/>
                <a:gd name="T57" fmla="*/ 41 h 349"/>
                <a:gd name="T58" fmla="*/ 401 w 528"/>
                <a:gd name="T59" fmla="*/ 20 h 349"/>
                <a:gd name="T60" fmla="*/ 445 w 528"/>
                <a:gd name="T61" fmla="*/ 4 h 349"/>
                <a:gd name="T62" fmla="*/ 524 w 528"/>
                <a:gd name="T63" fmla="*/ 139 h 3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528" h="349">
                  <a:moveTo>
                    <a:pt x="526" y="158"/>
                  </a:moveTo>
                  <a:cubicBezTo>
                    <a:pt x="525" y="164"/>
                    <a:pt x="520" y="170"/>
                    <a:pt x="514" y="173"/>
                  </a:cubicBezTo>
                  <a:cubicBezTo>
                    <a:pt x="488" y="187"/>
                    <a:pt x="488" y="187"/>
                    <a:pt x="488" y="187"/>
                  </a:cubicBezTo>
                  <a:cubicBezTo>
                    <a:pt x="481" y="191"/>
                    <a:pt x="474" y="191"/>
                    <a:pt x="467" y="188"/>
                  </a:cubicBezTo>
                  <a:cubicBezTo>
                    <a:pt x="467" y="188"/>
                    <a:pt x="466" y="188"/>
                    <a:pt x="466" y="188"/>
                  </a:cubicBezTo>
                  <a:cubicBezTo>
                    <a:pt x="456" y="204"/>
                    <a:pt x="441" y="220"/>
                    <a:pt x="430" y="229"/>
                  </a:cubicBezTo>
                  <a:cubicBezTo>
                    <a:pt x="432" y="235"/>
                    <a:pt x="433" y="240"/>
                    <a:pt x="432" y="246"/>
                  </a:cubicBezTo>
                  <a:cubicBezTo>
                    <a:pt x="431" y="251"/>
                    <a:pt x="430" y="261"/>
                    <a:pt x="421" y="271"/>
                  </a:cubicBezTo>
                  <a:cubicBezTo>
                    <a:pt x="412" y="281"/>
                    <a:pt x="400" y="286"/>
                    <a:pt x="387" y="286"/>
                  </a:cubicBezTo>
                  <a:cubicBezTo>
                    <a:pt x="385" y="290"/>
                    <a:pt x="382" y="294"/>
                    <a:pt x="379" y="298"/>
                  </a:cubicBezTo>
                  <a:cubicBezTo>
                    <a:pt x="370" y="308"/>
                    <a:pt x="357" y="313"/>
                    <a:pt x="344" y="312"/>
                  </a:cubicBezTo>
                  <a:cubicBezTo>
                    <a:pt x="342" y="317"/>
                    <a:pt x="339" y="320"/>
                    <a:pt x="336" y="324"/>
                  </a:cubicBezTo>
                  <a:cubicBezTo>
                    <a:pt x="328" y="333"/>
                    <a:pt x="317" y="338"/>
                    <a:pt x="305" y="338"/>
                  </a:cubicBezTo>
                  <a:cubicBezTo>
                    <a:pt x="299" y="338"/>
                    <a:pt x="292" y="336"/>
                    <a:pt x="285" y="333"/>
                  </a:cubicBezTo>
                  <a:cubicBezTo>
                    <a:pt x="279" y="339"/>
                    <a:pt x="279" y="339"/>
                    <a:pt x="279" y="339"/>
                  </a:cubicBezTo>
                  <a:cubicBezTo>
                    <a:pt x="273" y="345"/>
                    <a:pt x="265" y="349"/>
                    <a:pt x="256" y="349"/>
                  </a:cubicBezTo>
                  <a:cubicBezTo>
                    <a:pt x="256" y="349"/>
                    <a:pt x="255" y="349"/>
                    <a:pt x="255" y="349"/>
                  </a:cubicBezTo>
                  <a:cubicBezTo>
                    <a:pt x="246" y="348"/>
                    <a:pt x="237" y="344"/>
                    <a:pt x="231" y="337"/>
                  </a:cubicBezTo>
                  <a:cubicBezTo>
                    <a:pt x="228" y="333"/>
                    <a:pt x="226" y="328"/>
                    <a:pt x="224" y="323"/>
                  </a:cubicBezTo>
                  <a:cubicBezTo>
                    <a:pt x="219" y="325"/>
                    <a:pt x="214" y="326"/>
                    <a:pt x="208" y="325"/>
                  </a:cubicBezTo>
                  <a:cubicBezTo>
                    <a:pt x="199" y="324"/>
                    <a:pt x="191" y="320"/>
                    <a:pt x="185" y="312"/>
                  </a:cubicBezTo>
                  <a:cubicBezTo>
                    <a:pt x="185" y="312"/>
                    <a:pt x="185" y="312"/>
                    <a:pt x="185" y="312"/>
                  </a:cubicBezTo>
                  <a:cubicBezTo>
                    <a:pt x="182" y="307"/>
                    <a:pt x="179" y="301"/>
                    <a:pt x="179" y="295"/>
                  </a:cubicBezTo>
                  <a:cubicBezTo>
                    <a:pt x="177" y="295"/>
                    <a:pt x="176" y="295"/>
                    <a:pt x="175" y="295"/>
                  </a:cubicBezTo>
                  <a:cubicBezTo>
                    <a:pt x="166" y="294"/>
                    <a:pt x="157" y="289"/>
                    <a:pt x="152" y="281"/>
                  </a:cubicBezTo>
                  <a:cubicBezTo>
                    <a:pt x="152" y="281"/>
                    <a:pt x="152" y="281"/>
                    <a:pt x="152" y="281"/>
                  </a:cubicBezTo>
                  <a:cubicBezTo>
                    <a:pt x="149" y="278"/>
                    <a:pt x="147" y="274"/>
                    <a:pt x="146" y="269"/>
                  </a:cubicBezTo>
                  <a:cubicBezTo>
                    <a:pt x="142" y="271"/>
                    <a:pt x="137" y="271"/>
                    <a:pt x="133" y="270"/>
                  </a:cubicBezTo>
                  <a:cubicBezTo>
                    <a:pt x="124" y="269"/>
                    <a:pt x="116" y="264"/>
                    <a:pt x="110" y="256"/>
                  </a:cubicBezTo>
                  <a:cubicBezTo>
                    <a:pt x="110" y="256"/>
                    <a:pt x="110" y="256"/>
                    <a:pt x="110" y="256"/>
                  </a:cubicBezTo>
                  <a:cubicBezTo>
                    <a:pt x="105" y="248"/>
                    <a:pt x="104" y="238"/>
                    <a:pt x="105" y="229"/>
                  </a:cubicBezTo>
                  <a:cubicBezTo>
                    <a:pt x="104" y="227"/>
                    <a:pt x="104" y="227"/>
                    <a:pt x="104" y="227"/>
                  </a:cubicBezTo>
                  <a:cubicBezTo>
                    <a:pt x="82" y="205"/>
                    <a:pt x="68" y="189"/>
                    <a:pt x="67" y="187"/>
                  </a:cubicBezTo>
                  <a:cubicBezTo>
                    <a:pt x="67" y="187"/>
                    <a:pt x="67" y="186"/>
                    <a:pt x="66" y="186"/>
                  </a:cubicBezTo>
                  <a:cubicBezTo>
                    <a:pt x="65" y="187"/>
                    <a:pt x="64" y="187"/>
                    <a:pt x="63" y="188"/>
                  </a:cubicBezTo>
                  <a:cubicBezTo>
                    <a:pt x="57" y="191"/>
                    <a:pt x="51" y="191"/>
                    <a:pt x="45" y="189"/>
                  </a:cubicBezTo>
                  <a:cubicBezTo>
                    <a:pt x="18" y="179"/>
                    <a:pt x="18" y="179"/>
                    <a:pt x="18" y="179"/>
                  </a:cubicBezTo>
                  <a:cubicBezTo>
                    <a:pt x="6" y="175"/>
                    <a:pt x="0" y="160"/>
                    <a:pt x="5" y="146"/>
                  </a:cubicBezTo>
                  <a:cubicBezTo>
                    <a:pt x="53" y="18"/>
                    <a:pt x="53" y="18"/>
                    <a:pt x="53" y="18"/>
                  </a:cubicBezTo>
                  <a:cubicBezTo>
                    <a:pt x="56" y="12"/>
                    <a:pt x="61" y="6"/>
                    <a:pt x="67" y="3"/>
                  </a:cubicBezTo>
                  <a:cubicBezTo>
                    <a:pt x="73" y="1"/>
                    <a:pt x="79" y="0"/>
                    <a:pt x="85" y="2"/>
                  </a:cubicBezTo>
                  <a:cubicBezTo>
                    <a:pt x="112" y="12"/>
                    <a:pt x="112" y="12"/>
                    <a:pt x="112" y="12"/>
                  </a:cubicBezTo>
                  <a:cubicBezTo>
                    <a:pt x="117" y="14"/>
                    <a:pt x="121" y="17"/>
                    <a:pt x="124" y="22"/>
                  </a:cubicBezTo>
                  <a:cubicBezTo>
                    <a:pt x="128" y="20"/>
                    <a:pt x="134" y="20"/>
                    <a:pt x="139" y="21"/>
                  </a:cubicBezTo>
                  <a:cubicBezTo>
                    <a:pt x="146" y="22"/>
                    <a:pt x="152" y="26"/>
                    <a:pt x="156" y="32"/>
                  </a:cubicBezTo>
                  <a:cubicBezTo>
                    <a:pt x="157" y="33"/>
                    <a:pt x="158" y="34"/>
                    <a:pt x="159" y="34"/>
                  </a:cubicBezTo>
                  <a:cubicBezTo>
                    <a:pt x="160" y="34"/>
                    <a:pt x="161" y="34"/>
                    <a:pt x="163" y="34"/>
                  </a:cubicBezTo>
                  <a:cubicBezTo>
                    <a:pt x="169" y="34"/>
                    <a:pt x="178" y="28"/>
                    <a:pt x="187" y="24"/>
                  </a:cubicBezTo>
                  <a:cubicBezTo>
                    <a:pt x="190" y="22"/>
                    <a:pt x="190" y="22"/>
                    <a:pt x="190" y="22"/>
                  </a:cubicBezTo>
                  <a:cubicBezTo>
                    <a:pt x="200" y="16"/>
                    <a:pt x="214" y="9"/>
                    <a:pt x="230" y="9"/>
                  </a:cubicBezTo>
                  <a:cubicBezTo>
                    <a:pt x="242" y="9"/>
                    <a:pt x="253" y="13"/>
                    <a:pt x="261" y="20"/>
                  </a:cubicBezTo>
                  <a:cubicBezTo>
                    <a:pt x="263" y="21"/>
                    <a:pt x="264" y="22"/>
                    <a:pt x="265" y="23"/>
                  </a:cubicBezTo>
                  <a:cubicBezTo>
                    <a:pt x="278" y="17"/>
                    <a:pt x="292" y="12"/>
                    <a:pt x="309" y="15"/>
                  </a:cubicBezTo>
                  <a:cubicBezTo>
                    <a:pt x="323" y="17"/>
                    <a:pt x="334" y="23"/>
                    <a:pt x="344" y="29"/>
                  </a:cubicBezTo>
                  <a:cubicBezTo>
                    <a:pt x="346" y="30"/>
                    <a:pt x="346" y="30"/>
                    <a:pt x="346" y="30"/>
                  </a:cubicBezTo>
                  <a:cubicBezTo>
                    <a:pt x="350" y="32"/>
                    <a:pt x="353" y="35"/>
                    <a:pt x="357" y="37"/>
                  </a:cubicBezTo>
                  <a:cubicBezTo>
                    <a:pt x="362" y="41"/>
                    <a:pt x="367" y="44"/>
                    <a:pt x="371" y="45"/>
                  </a:cubicBezTo>
                  <a:cubicBezTo>
                    <a:pt x="374" y="46"/>
                    <a:pt x="376" y="45"/>
                    <a:pt x="384" y="41"/>
                  </a:cubicBezTo>
                  <a:cubicBezTo>
                    <a:pt x="388" y="39"/>
                    <a:pt x="388" y="39"/>
                    <a:pt x="388" y="39"/>
                  </a:cubicBezTo>
                  <a:cubicBezTo>
                    <a:pt x="389" y="31"/>
                    <a:pt x="393" y="23"/>
                    <a:pt x="401" y="20"/>
                  </a:cubicBezTo>
                  <a:cubicBezTo>
                    <a:pt x="427" y="6"/>
                    <a:pt x="427" y="6"/>
                    <a:pt x="427" y="6"/>
                  </a:cubicBezTo>
                  <a:cubicBezTo>
                    <a:pt x="433" y="3"/>
                    <a:pt x="439" y="2"/>
                    <a:pt x="445" y="4"/>
                  </a:cubicBezTo>
                  <a:cubicBezTo>
                    <a:pt x="452" y="6"/>
                    <a:pt x="458" y="11"/>
                    <a:pt x="461" y="17"/>
                  </a:cubicBezTo>
                  <a:cubicBezTo>
                    <a:pt x="524" y="139"/>
                    <a:pt x="524" y="139"/>
                    <a:pt x="524" y="139"/>
                  </a:cubicBezTo>
                  <a:cubicBezTo>
                    <a:pt x="527" y="145"/>
                    <a:pt x="528" y="151"/>
                    <a:pt x="526" y="15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29" name="Freeform 71">
              <a:extLst>
                <a:ext uri="{FF2B5EF4-FFF2-40B4-BE49-F238E27FC236}">
                  <a16:creationId xmlns:a16="http://schemas.microsoft.com/office/drawing/2014/main" xmlns="" id="{254658A0-6C32-4CC4-8061-3740605923F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41" y="2594"/>
              <a:ext cx="521" cy="336"/>
            </a:xfrm>
            <a:custGeom>
              <a:avLst/>
              <a:gdLst>
                <a:gd name="T0" fmla="*/ 241 w 494"/>
                <a:gd name="T1" fmla="*/ 29 h 319"/>
                <a:gd name="T2" fmla="*/ 320 w 494"/>
                <a:gd name="T3" fmla="*/ 28 h 319"/>
                <a:gd name="T4" fmla="*/ 375 w 494"/>
                <a:gd name="T5" fmla="*/ 38 h 319"/>
                <a:gd name="T6" fmla="*/ 388 w 494"/>
                <a:gd name="T7" fmla="*/ 212 h 319"/>
                <a:gd name="T8" fmla="*/ 254 w 494"/>
                <a:gd name="T9" fmla="*/ 77 h 319"/>
                <a:gd name="T10" fmla="*/ 158 w 494"/>
                <a:gd name="T11" fmla="*/ 87 h 319"/>
                <a:gd name="T12" fmla="*/ 180 w 494"/>
                <a:gd name="T13" fmla="*/ 287 h 319"/>
                <a:gd name="T14" fmla="*/ 241 w 494"/>
                <a:gd name="T15" fmla="*/ 256 h 319"/>
                <a:gd name="T16" fmla="*/ 243 w 494"/>
                <a:gd name="T17" fmla="*/ 228 h 319"/>
                <a:gd name="T18" fmla="*/ 183 w 494"/>
                <a:gd name="T19" fmla="*/ 259 h 319"/>
                <a:gd name="T20" fmla="*/ 147 w 494"/>
                <a:gd name="T21" fmla="*/ 256 h 319"/>
                <a:gd name="T22" fmla="*/ 200 w 494"/>
                <a:gd name="T23" fmla="*/ 232 h 319"/>
                <a:gd name="T24" fmla="*/ 202 w 494"/>
                <a:gd name="T25" fmla="*/ 205 h 319"/>
                <a:gd name="T26" fmla="*/ 149 w 494"/>
                <a:gd name="T27" fmla="*/ 229 h 319"/>
                <a:gd name="T28" fmla="*/ 106 w 494"/>
                <a:gd name="T29" fmla="*/ 231 h 319"/>
                <a:gd name="T30" fmla="*/ 136 w 494"/>
                <a:gd name="T31" fmla="*/ 230 h 319"/>
                <a:gd name="T32" fmla="*/ 140 w 494"/>
                <a:gd name="T33" fmla="*/ 203 h 319"/>
                <a:gd name="T34" fmla="*/ 110 w 494"/>
                <a:gd name="T35" fmla="*/ 204 h 319"/>
                <a:gd name="T36" fmla="*/ 267 w 494"/>
                <a:gd name="T37" fmla="*/ 268 h 319"/>
                <a:gd name="T38" fmla="*/ 227 w 494"/>
                <a:gd name="T39" fmla="*/ 283 h 319"/>
                <a:gd name="T40" fmla="*/ 250 w 494"/>
                <a:gd name="T41" fmla="*/ 312 h 319"/>
                <a:gd name="T42" fmla="*/ 267 w 494"/>
                <a:gd name="T43" fmla="*/ 268 h 319"/>
                <a:gd name="T44" fmla="*/ 416 w 494"/>
                <a:gd name="T45" fmla="*/ 4 h 319"/>
                <a:gd name="T46" fmla="*/ 387 w 494"/>
                <a:gd name="T47" fmla="*/ 31 h 319"/>
                <a:gd name="T48" fmla="*/ 462 w 494"/>
                <a:gd name="T49" fmla="*/ 157 h 319"/>
                <a:gd name="T50" fmla="*/ 492 w 494"/>
                <a:gd name="T51" fmla="*/ 130 h 319"/>
                <a:gd name="T52" fmla="*/ 92 w 494"/>
                <a:gd name="T53" fmla="*/ 23 h 319"/>
                <a:gd name="T54" fmla="*/ 61 w 494"/>
                <a:gd name="T55" fmla="*/ 2 h 319"/>
                <a:gd name="T56" fmla="*/ 2 w 494"/>
                <a:gd name="T57" fmla="*/ 136 h 319"/>
                <a:gd name="T58" fmla="*/ 33 w 494"/>
                <a:gd name="T59" fmla="*/ 158 h 319"/>
                <a:gd name="T60" fmla="*/ 92 w 494"/>
                <a:gd name="T61" fmla="*/ 23 h 319"/>
                <a:gd name="T62" fmla="*/ 387 w 494"/>
                <a:gd name="T63" fmla="*/ 228 h 319"/>
                <a:gd name="T64" fmla="*/ 370 w 494"/>
                <a:gd name="T65" fmla="*/ 242 h 319"/>
                <a:gd name="T66" fmla="*/ 311 w 494"/>
                <a:gd name="T67" fmla="*/ 184 h 319"/>
                <a:gd name="T68" fmla="*/ 303 w 494"/>
                <a:gd name="T69" fmla="*/ 194 h 319"/>
                <a:gd name="T70" fmla="*/ 341 w 494"/>
                <a:gd name="T71" fmla="*/ 263 h 319"/>
                <a:gd name="T72" fmla="*/ 316 w 494"/>
                <a:gd name="T73" fmla="*/ 262 h 319"/>
                <a:gd name="T74" fmla="*/ 270 w 494"/>
                <a:gd name="T75" fmla="*/ 212 h 319"/>
                <a:gd name="T76" fmla="*/ 299 w 494"/>
                <a:gd name="T77" fmla="*/ 261 h 319"/>
                <a:gd name="T78" fmla="*/ 287 w 494"/>
                <a:gd name="T79" fmla="*/ 294 h 319"/>
                <a:gd name="T80" fmla="*/ 275 w 494"/>
                <a:gd name="T81" fmla="*/ 303 h 319"/>
                <a:gd name="T82" fmla="*/ 306 w 494"/>
                <a:gd name="T83" fmla="*/ 297 h 319"/>
                <a:gd name="T84" fmla="*/ 329 w 494"/>
                <a:gd name="T85" fmla="*/ 281 h 319"/>
                <a:gd name="T86" fmla="*/ 357 w 494"/>
                <a:gd name="T87" fmla="*/ 250 h 319"/>
                <a:gd name="T88" fmla="*/ 391 w 494"/>
                <a:gd name="T89" fmla="*/ 244 h 319"/>
                <a:gd name="T90" fmla="*/ 397 w 494"/>
                <a:gd name="T91" fmla="*/ 220 h 319"/>
                <a:gd name="T92" fmla="*/ 387 w 494"/>
                <a:gd name="T93" fmla="*/ 228 h 319"/>
                <a:gd name="T94" fmla="*/ 103 w 494"/>
                <a:gd name="T95" fmla="*/ 194 h 319"/>
                <a:gd name="T96" fmla="*/ 106 w 494"/>
                <a:gd name="T97" fmla="*/ 192 h 319"/>
                <a:gd name="T98" fmla="*/ 115 w 494"/>
                <a:gd name="T99" fmla="*/ 32 h 319"/>
                <a:gd name="T100" fmla="*/ 144 w 494"/>
                <a:gd name="T101" fmla="*/ 46 h 319"/>
                <a:gd name="T102" fmla="*/ 185 w 494"/>
                <a:gd name="T103" fmla="*/ 30 h 319"/>
                <a:gd name="T104" fmla="*/ 225 w 494"/>
                <a:gd name="T105" fmla="*/ 25 h 319"/>
                <a:gd name="T106" fmla="*/ 234 w 494"/>
                <a:gd name="T107" fmla="*/ 17 h 319"/>
                <a:gd name="T108" fmla="*/ 180 w 494"/>
                <a:gd name="T109" fmla="*/ 20 h 319"/>
                <a:gd name="T110" fmla="*/ 147 w 494"/>
                <a:gd name="T111" fmla="*/ 34 h 319"/>
                <a:gd name="T112" fmla="*/ 134 w 494"/>
                <a:gd name="T113" fmla="*/ 33 h 319"/>
                <a:gd name="T114" fmla="*/ 118 w 494"/>
                <a:gd name="T115" fmla="*/ 20 h 319"/>
                <a:gd name="T116" fmla="*/ 105 w 494"/>
                <a:gd name="T117" fmla="*/ 28 h 319"/>
                <a:gd name="T118" fmla="*/ 61 w 494"/>
                <a:gd name="T119" fmla="*/ 161 h 319"/>
                <a:gd name="T120" fmla="*/ 103 w 494"/>
                <a:gd name="T121" fmla="*/ 195 h 3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94" h="319">
                  <a:moveTo>
                    <a:pt x="191" y="62"/>
                  </a:moveTo>
                  <a:cubicBezTo>
                    <a:pt x="207" y="50"/>
                    <a:pt x="224" y="39"/>
                    <a:pt x="241" y="29"/>
                  </a:cubicBezTo>
                  <a:cubicBezTo>
                    <a:pt x="257" y="20"/>
                    <a:pt x="271" y="12"/>
                    <a:pt x="288" y="14"/>
                  </a:cubicBezTo>
                  <a:cubicBezTo>
                    <a:pt x="300" y="16"/>
                    <a:pt x="310" y="22"/>
                    <a:pt x="320" y="28"/>
                  </a:cubicBezTo>
                  <a:cubicBezTo>
                    <a:pt x="330" y="34"/>
                    <a:pt x="338" y="42"/>
                    <a:pt x="349" y="45"/>
                  </a:cubicBezTo>
                  <a:cubicBezTo>
                    <a:pt x="359" y="48"/>
                    <a:pt x="366" y="43"/>
                    <a:pt x="375" y="38"/>
                  </a:cubicBezTo>
                  <a:cubicBezTo>
                    <a:pt x="406" y="97"/>
                    <a:pt x="437" y="157"/>
                    <a:pt x="437" y="157"/>
                  </a:cubicBezTo>
                  <a:cubicBezTo>
                    <a:pt x="424" y="185"/>
                    <a:pt x="388" y="212"/>
                    <a:pt x="388" y="212"/>
                  </a:cubicBezTo>
                  <a:cubicBezTo>
                    <a:pt x="388" y="212"/>
                    <a:pt x="273" y="84"/>
                    <a:pt x="268" y="80"/>
                  </a:cubicBezTo>
                  <a:cubicBezTo>
                    <a:pt x="264" y="75"/>
                    <a:pt x="260" y="74"/>
                    <a:pt x="254" y="77"/>
                  </a:cubicBezTo>
                  <a:cubicBezTo>
                    <a:pt x="229" y="92"/>
                    <a:pt x="186" y="113"/>
                    <a:pt x="186" y="113"/>
                  </a:cubicBezTo>
                  <a:cubicBezTo>
                    <a:pt x="150" y="135"/>
                    <a:pt x="143" y="99"/>
                    <a:pt x="158" y="87"/>
                  </a:cubicBezTo>
                  <a:cubicBezTo>
                    <a:pt x="169" y="78"/>
                    <a:pt x="179" y="70"/>
                    <a:pt x="191" y="62"/>
                  </a:cubicBezTo>
                  <a:close/>
                  <a:moveTo>
                    <a:pt x="180" y="287"/>
                  </a:moveTo>
                  <a:cubicBezTo>
                    <a:pt x="186" y="295"/>
                    <a:pt x="197" y="296"/>
                    <a:pt x="204" y="289"/>
                  </a:cubicBezTo>
                  <a:cubicBezTo>
                    <a:pt x="241" y="256"/>
                    <a:pt x="241" y="256"/>
                    <a:pt x="241" y="256"/>
                  </a:cubicBezTo>
                  <a:cubicBezTo>
                    <a:pt x="248" y="249"/>
                    <a:pt x="249" y="236"/>
                    <a:pt x="243" y="228"/>
                  </a:cubicBezTo>
                  <a:cubicBezTo>
                    <a:pt x="243" y="228"/>
                    <a:pt x="243" y="228"/>
                    <a:pt x="243" y="228"/>
                  </a:cubicBezTo>
                  <a:cubicBezTo>
                    <a:pt x="237" y="220"/>
                    <a:pt x="227" y="219"/>
                    <a:pt x="219" y="226"/>
                  </a:cubicBezTo>
                  <a:cubicBezTo>
                    <a:pt x="183" y="259"/>
                    <a:pt x="183" y="259"/>
                    <a:pt x="183" y="259"/>
                  </a:cubicBezTo>
                  <a:cubicBezTo>
                    <a:pt x="175" y="266"/>
                    <a:pt x="174" y="278"/>
                    <a:pt x="180" y="287"/>
                  </a:cubicBezTo>
                  <a:close/>
                  <a:moveTo>
                    <a:pt x="147" y="256"/>
                  </a:moveTo>
                  <a:cubicBezTo>
                    <a:pt x="153" y="264"/>
                    <a:pt x="163" y="265"/>
                    <a:pt x="171" y="258"/>
                  </a:cubicBezTo>
                  <a:cubicBezTo>
                    <a:pt x="200" y="232"/>
                    <a:pt x="200" y="232"/>
                    <a:pt x="200" y="232"/>
                  </a:cubicBezTo>
                  <a:cubicBezTo>
                    <a:pt x="207" y="225"/>
                    <a:pt x="208" y="213"/>
                    <a:pt x="202" y="205"/>
                  </a:cubicBezTo>
                  <a:cubicBezTo>
                    <a:pt x="202" y="205"/>
                    <a:pt x="202" y="205"/>
                    <a:pt x="202" y="205"/>
                  </a:cubicBezTo>
                  <a:cubicBezTo>
                    <a:pt x="196" y="196"/>
                    <a:pt x="185" y="195"/>
                    <a:pt x="178" y="202"/>
                  </a:cubicBezTo>
                  <a:cubicBezTo>
                    <a:pt x="149" y="229"/>
                    <a:pt x="149" y="229"/>
                    <a:pt x="149" y="229"/>
                  </a:cubicBezTo>
                  <a:cubicBezTo>
                    <a:pt x="142" y="235"/>
                    <a:pt x="141" y="248"/>
                    <a:pt x="147" y="256"/>
                  </a:cubicBezTo>
                  <a:close/>
                  <a:moveTo>
                    <a:pt x="106" y="231"/>
                  </a:moveTo>
                  <a:cubicBezTo>
                    <a:pt x="111" y="240"/>
                    <a:pt x="122" y="241"/>
                    <a:pt x="130" y="235"/>
                  </a:cubicBezTo>
                  <a:cubicBezTo>
                    <a:pt x="136" y="230"/>
                    <a:pt x="136" y="230"/>
                    <a:pt x="136" y="230"/>
                  </a:cubicBezTo>
                  <a:cubicBezTo>
                    <a:pt x="144" y="223"/>
                    <a:pt x="146" y="212"/>
                    <a:pt x="141" y="203"/>
                  </a:cubicBezTo>
                  <a:cubicBezTo>
                    <a:pt x="140" y="203"/>
                    <a:pt x="140" y="203"/>
                    <a:pt x="140" y="203"/>
                  </a:cubicBezTo>
                  <a:cubicBezTo>
                    <a:pt x="135" y="194"/>
                    <a:pt x="124" y="192"/>
                    <a:pt x="116" y="199"/>
                  </a:cubicBezTo>
                  <a:cubicBezTo>
                    <a:pt x="110" y="204"/>
                    <a:pt x="110" y="204"/>
                    <a:pt x="110" y="204"/>
                  </a:cubicBezTo>
                  <a:cubicBezTo>
                    <a:pt x="102" y="210"/>
                    <a:pt x="100" y="222"/>
                    <a:pt x="106" y="231"/>
                  </a:cubicBezTo>
                  <a:close/>
                  <a:moveTo>
                    <a:pt x="267" y="268"/>
                  </a:moveTo>
                  <a:cubicBezTo>
                    <a:pt x="261" y="260"/>
                    <a:pt x="250" y="260"/>
                    <a:pt x="243" y="267"/>
                  </a:cubicBezTo>
                  <a:cubicBezTo>
                    <a:pt x="227" y="283"/>
                    <a:pt x="227" y="283"/>
                    <a:pt x="227" y="283"/>
                  </a:cubicBezTo>
                  <a:cubicBezTo>
                    <a:pt x="220" y="291"/>
                    <a:pt x="219" y="303"/>
                    <a:pt x="226" y="311"/>
                  </a:cubicBezTo>
                  <a:cubicBezTo>
                    <a:pt x="232" y="319"/>
                    <a:pt x="243" y="319"/>
                    <a:pt x="250" y="312"/>
                  </a:cubicBezTo>
                  <a:cubicBezTo>
                    <a:pt x="266" y="295"/>
                    <a:pt x="266" y="295"/>
                    <a:pt x="266" y="295"/>
                  </a:cubicBezTo>
                  <a:cubicBezTo>
                    <a:pt x="273" y="288"/>
                    <a:pt x="273" y="276"/>
                    <a:pt x="267" y="268"/>
                  </a:cubicBezTo>
                  <a:close/>
                  <a:moveTo>
                    <a:pt x="429" y="9"/>
                  </a:moveTo>
                  <a:cubicBezTo>
                    <a:pt x="426" y="4"/>
                    <a:pt x="421" y="2"/>
                    <a:pt x="416" y="4"/>
                  </a:cubicBezTo>
                  <a:cubicBezTo>
                    <a:pt x="390" y="18"/>
                    <a:pt x="390" y="18"/>
                    <a:pt x="390" y="18"/>
                  </a:cubicBezTo>
                  <a:cubicBezTo>
                    <a:pt x="386" y="20"/>
                    <a:pt x="384" y="26"/>
                    <a:pt x="387" y="31"/>
                  </a:cubicBezTo>
                  <a:cubicBezTo>
                    <a:pt x="450" y="152"/>
                    <a:pt x="450" y="152"/>
                    <a:pt x="450" y="152"/>
                  </a:cubicBezTo>
                  <a:cubicBezTo>
                    <a:pt x="452" y="157"/>
                    <a:pt x="458" y="159"/>
                    <a:pt x="462" y="157"/>
                  </a:cubicBezTo>
                  <a:cubicBezTo>
                    <a:pt x="489" y="143"/>
                    <a:pt x="489" y="143"/>
                    <a:pt x="489" y="143"/>
                  </a:cubicBezTo>
                  <a:cubicBezTo>
                    <a:pt x="493" y="141"/>
                    <a:pt x="494" y="135"/>
                    <a:pt x="492" y="130"/>
                  </a:cubicBezTo>
                  <a:lnTo>
                    <a:pt x="429" y="9"/>
                  </a:lnTo>
                  <a:close/>
                  <a:moveTo>
                    <a:pt x="92" y="23"/>
                  </a:moveTo>
                  <a:cubicBezTo>
                    <a:pt x="94" y="18"/>
                    <a:pt x="92" y="12"/>
                    <a:pt x="88" y="11"/>
                  </a:cubicBezTo>
                  <a:cubicBezTo>
                    <a:pt x="61" y="2"/>
                    <a:pt x="61" y="2"/>
                    <a:pt x="61" y="2"/>
                  </a:cubicBezTo>
                  <a:cubicBezTo>
                    <a:pt x="57" y="0"/>
                    <a:pt x="52" y="3"/>
                    <a:pt x="50" y="8"/>
                  </a:cubicBezTo>
                  <a:cubicBezTo>
                    <a:pt x="2" y="136"/>
                    <a:pt x="2" y="136"/>
                    <a:pt x="2" y="136"/>
                  </a:cubicBezTo>
                  <a:cubicBezTo>
                    <a:pt x="0" y="141"/>
                    <a:pt x="2" y="147"/>
                    <a:pt x="6" y="148"/>
                  </a:cubicBezTo>
                  <a:cubicBezTo>
                    <a:pt x="33" y="158"/>
                    <a:pt x="33" y="158"/>
                    <a:pt x="33" y="158"/>
                  </a:cubicBezTo>
                  <a:cubicBezTo>
                    <a:pt x="37" y="159"/>
                    <a:pt x="42" y="156"/>
                    <a:pt x="44" y="151"/>
                  </a:cubicBezTo>
                  <a:lnTo>
                    <a:pt x="92" y="23"/>
                  </a:lnTo>
                  <a:close/>
                  <a:moveTo>
                    <a:pt x="387" y="228"/>
                  </a:moveTo>
                  <a:cubicBezTo>
                    <a:pt x="387" y="228"/>
                    <a:pt x="387" y="228"/>
                    <a:pt x="387" y="228"/>
                  </a:cubicBezTo>
                  <a:cubicBezTo>
                    <a:pt x="386" y="231"/>
                    <a:pt x="385" y="233"/>
                    <a:pt x="383" y="236"/>
                  </a:cubicBezTo>
                  <a:cubicBezTo>
                    <a:pt x="380" y="240"/>
                    <a:pt x="375" y="242"/>
                    <a:pt x="370" y="242"/>
                  </a:cubicBezTo>
                  <a:cubicBezTo>
                    <a:pt x="365" y="242"/>
                    <a:pt x="360" y="240"/>
                    <a:pt x="357" y="235"/>
                  </a:cubicBezTo>
                  <a:cubicBezTo>
                    <a:pt x="311" y="184"/>
                    <a:pt x="311" y="184"/>
                    <a:pt x="311" y="184"/>
                  </a:cubicBezTo>
                  <a:cubicBezTo>
                    <a:pt x="310" y="183"/>
                    <a:pt x="309" y="182"/>
                    <a:pt x="308" y="182"/>
                  </a:cubicBezTo>
                  <a:cubicBezTo>
                    <a:pt x="304" y="182"/>
                    <a:pt x="299" y="190"/>
                    <a:pt x="303" y="194"/>
                  </a:cubicBezTo>
                  <a:cubicBezTo>
                    <a:pt x="340" y="235"/>
                    <a:pt x="340" y="235"/>
                    <a:pt x="340" y="235"/>
                  </a:cubicBezTo>
                  <a:cubicBezTo>
                    <a:pt x="347" y="243"/>
                    <a:pt x="348" y="255"/>
                    <a:pt x="341" y="263"/>
                  </a:cubicBezTo>
                  <a:cubicBezTo>
                    <a:pt x="337" y="267"/>
                    <a:pt x="333" y="269"/>
                    <a:pt x="329" y="269"/>
                  </a:cubicBezTo>
                  <a:cubicBezTo>
                    <a:pt x="325" y="269"/>
                    <a:pt x="320" y="266"/>
                    <a:pt x="316" y="262"/>
                  </a:cubicBezTo>
                  <a:cubicBezTo>
                    <a:pt x="273" y="214"/>
                    <a:pt x="273" y="214"/>
                    <a:pt x="273" y="214"/>
                  </a:cubicBezTo>
                  <a:cubicBezTo>
                    <a:pt x="272" y="213"/>
                    <a:pt x="271" y="212"/>
                    <a:pt x="270" y="212"/>
                  </a:cubicBezTo>
                  <a:cubicBezTo>
                    <a:pt x="266" y="212"/>
                    <a:pt x="262" y="219"/>
                    <a:pt x="266" y="224"/>
                  </a:cubicBezTo>
                  <a:cubicBezTo>
                    <a:pt x="299" y="261"/>
                    <a:pt x="299" y="261"/>
                    <a:pt x="299" y="261"/>
                  </a:cubicBezTo>
                  <a:cubicBezTo>
                    <a:pt x="305" y="269"/>
                    <a:pt x="305" y="282"/>
                    <a:pt x="298" y="289"/>
                  </a:cubicBezTo>
                  <a:cubicBezTo>
                    <a:pt x="295" y="293"/>
                    <a:pt x="291" y="294"/>
                    <a:pt x="287" y="294"/>
                  </a:cubicBezTo>
                  <a:cubicBezTo>
                    <a:pt x="285" y="294"/>
                    <a:pt x="283" y="294"/>
                    <a:pt x="281" y="293"/>
                  </a:cubicBezTo>
                  <a:cubicBezTo>
                    <a:pt x="279" y="296"/>
                    <a:pt x="277" y="300"/>
                    <a:pt x="275" y="303"/>
                  </a:cubicBezTo>
                  <a:cubicBezTo>
                    <a:pt x="279" y="305"/>
                    <a:pt x="283" y="306"/>
                    <a:pt x="287" y="306"/>
                  </a:cubicBezTo>
                  <a:cubicBezTo>
                    <a:pt x="295" y="306"/>
                    <a:pt x="301" y="303"/>
                    <a:pt x="306" y="297"/>
                  </a:cubicBezTo>
                  <a:cubicBezTo>
                    <a:pt x="312" y="291"/>
                    <a:pt x="314" y="284"/>
                    <a:pt x="315" y="276"/>
                  </a:cubicBezTo>
                  <a:cubicBezTo>
                    <a:pt x="319" y="279"/>
                    <a:pt x="324" y="281"/>
                    <a:pt x="329" y="281"/>
                  </a:cubicBezTo>
                  <a:cubicBezTo>
                    <a:pt x="337" y="281"/>
                    <a:pt x="344" y="277"/>
                    <a:pt x="349" y="271"/>
                  </a:cubicBezTo>
                  <a:cubicBezTo>
                    <a:pt x="354" y="266"/>
                    <a:pt x="357" y="258"/>
                    <a:pt x="357" y="250"/>
                  </a:cubicBezTo>
                  <a:cubicBezTo>
                    <a:pt x="361" y="252"/>
                    <a:pt x="366" y="254"/>
                    <a:pt x="370" y="254"/>
                  </a:cubicBezTo>
                  <a:cubicBezTo>
                    <a:pt x="378" y="254"/>
                    <a:pt x="386" y="250"/>
                    <a:pt x="391" y="244"/>
                  </a:cubicBezTo>
                  <a:cubicBezTo>
                    <a:pt x="397" y="238"/>
                    <a:pt x="398" y="232"/>
                    <a:pt x="398" y="227"/>
                  </a:cubicBezTo>
                  <a:cubicBezTo>
                    <a:pt x="399" y="225"/>
                    <a:pt x="398" y="222"/>
                    <a:pt x="397" y="220"/>
                  </a:cubicBezTo>
                  <a:cubicBezTo>
                    <a:pt x="396" y="221"/>
                    <a:pt x="395" y="222"/>
                    <a:pt x="395" y="222"/>
                  </a:cubicBezTo>
                  <a:lnTo>
                    <a:pt x="387" y="228"/>
                  </a:lnTo>
                  <a:close/>
                  <a:moveTo>
                    <a:pt x="103" y="195"/>
                  </a:moveTo>
                  <a:cubicBezTo>
                    <a:pt x="103" y="194"/>
                    <a:pt x="103" y="194"/>
                    <a:pt x="103" y="194"/>
                  </a:cubicBezTo>
                  <a:cubicBezTo>
                    <a:pt x="103" y="194"/>
                    <a:pt x="103" y="194"/>
                    <a:pt x="103" y="194"/>
                  </a:cubicBezTo>
                  <a:cubicBezTo>
                    <a:pt x="106" y="192"/>
                    <a:pt x="106" y="192"/>
                    <a:pt x="106" y="192"/>
                  </a:cubicBezTo>
                  <a:cubicBezTo>
                    <a:pt x="83" y="170"/>
                    <a:pt x="70" y="153"/>
                    <a:pt x="70" y="153"/>
                  </a:cubicBezTo>
                  <a:cubicBezTo>
                    <a:pt x="91" y="98"/>
                    <a:pt x="115" y="32"/>
                    <a:pt x="115" y="32"/>
                  </a:cubicBezTo>
                  <a:cubicBezTo>
                    <a:pt x="115" y="36"/>
                    <a:pt x="128" y="43"/>
                    <a:pt x="130" y="44"/>
                  </a:cubicBezTo>
                  <a:cubicBezTo>
                    <a:pt x="135" y="45"/>
                    <a:pt x="139" y="46"/>
                    <a:pt x="144" y="46"/>
                  </a:cubicBezTo>
                  <a:cubicBezTo>
                    <a:pt x="145" y="46"/>
                    <a:pt x="146" y="46"/>
                    <a:pt x="148" y="46"/>
                  </a:cubicBezTo>
                  <a:cubicBezTo>
                    <a:pt x="161" y="45"/>
                    <a:pt x="173" y="37"/>
                    <a:pt x="185" y="30"/>
                  </a:cubicBezTo>
                  <a:cubicBezTo>
                    <a:pt x="193" y="26"/>
                    <a:pt x="203" y="21"/>
                    <a:pt x="212" y="21"/>
                  </a:cubicBezTo>
                  <a:cubicBezTo>
                    <a:pt x="217" y="21"/>
                    <a:pt x="221" y="22"/>
                    <a:pt x="225" y="25"/>
                  </a:cubicBezTo>
                  <a:cubicBezTo>
                    <a:pt x="229" y="23"/>
                    <a:pt x="232" y="21"/>
                    <a:pt x="236" y="19"/>
                  </a:cubicBezTo>
                  <a:cubicBezTo>
                    <a:pt x="235" y="18"/>
                    <a:pt x="234" y="17"/>
                    <a:pt x="234" y="17"/>
                  </a:cubicBezTo>
                  <a:cubicBezTo>
                    <a:pt x="227" y="12"/>
                    <a:pt x="220" y="9"/>
                    <a:pt x="212" y="9"/>
                  </a:cubicBezTo>
                  <a:cubicBezTo>
                    <a:pt x="200" y="9"/>
                    <a:pt x="188" y="15"/>
                    <a:pt x="180" y="20"/>
                  </a:cubicBezTo>
                  <a:cubicBezTo>
                    <a:pt x="177" y="21"/>
                    <a:pt x="177" y="21"/>
                    <a:pt x="177" y="21"/>
                  </a:cubicBezTo>
                  <a:cubicBezTo>
                    <a:pt x="167" y="27"/>
                    <a:pt x="156" y="33"/>
                    <a:pt x="147" y="34"/>
                  </a:cubicBezTo>
                  <a:cubicBezTo>
                    <a:pt x="146" y="34"/>
                    <a:pt x="145" y="34"/>
                    <a:pt x="144" y="34"/>
                  </a:cubicBezTo>
                  <a:cubicBezTo>
                    <a:pt x="140" y="34"/>
                    <a:pt x="137" y="34"/>
                    <a:pt x="134" y="33"/>
                  </a:cubicBezTo>
                  <a:cubicBezTo>
                    <a:pt x="132" y="32"/>
                    <a:pt x="128" y="29"/>
                    <a:pt x="126" y="27"/>
                  </a:cubicBezTo>
                  <a:cubicBezTo>
                    <a:pt x="124" y="24"/>
                    <a:pt x="121" y="21"/>
                    <a:pt x="118" y="20"/>
                  </a:cubicBezTo>
                  <a:cubicBezTo>
                    <a:pt x="117" y="20"/>
                    <a:pt x="116" y="20"/>
                    <a:pt x="115" y="20"/>
                  </a:cubicBezTo>
                  <a:cubicBezTo>
                    <a:pt x="111" y="20"/>
                    <a:pt x="107" y="23"/>
                    <a:pt x="105" y="28"/>
                  </a:cubicBezTo>
                  <a:cubicBezTo>
                    <a:pt x="105" y="28"/>
                    <a:pt x="80" y="95"/>
                    <a:pt x="59" y="148"/>
                  </a:cubicBezTo>
                  <a:cubicBezTo>
                    <a:pt x="58" y="153"/>
                    <a:pt x="58" y="157"/>
                    <a:pt x="61" y="161"/>
                  </a:cubicBezTo>
                  <a:cubicBezTo>
                    <a:pt x="62" y="161"/>
                    <a:pt x="75" y="178"/>
                    <a:pt x="97" y="200"/>
                  </a:cubicBezTo>
                  <a:cubicBezTo>
                    <a:pt x="99" y="198"/>
                    <a:pt x="101" y="196"/>
                    <a:pt x="103" y="195"/>
                  </a:cubicBez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grpSp>
        <p:nvGrpSpPr>
          <p:cNvPr id="130" name="Group 18">
            <a:extLst>
              <a:ext uri="{FF2B5EF4-FFF2-40B4-BE49-F238E27FC236}">
                <a16:creationId xmlns:a16="http://schemas.microsoft.com/office/drawing/2014/main" xmlns="" id="{4BEDBF77-AB40-4B7C-BCB7-CE3B85388035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8498473" y="3326710"/>
            <a:ext cx="322416" cy="511612"/>
            <a:chOff x="470" y="3187"/>
            <a:chExt cx="288" cy="457"/>
          </a:xfrm>
          <a:effectLst>
            <a:outerShdw blurRad="101600" dist="76200" dir="2700000" algn="ctr" rotWithShape="0">
              <a:srgbClr val="000000">
                <a:alpha val="29000"/>
              </a:srgbClr>
            </a:outerShdw>
          </a:effectLst>
        </p:grpSpPr>
        <p:sp>
          <p:nvSpPr>
            <p:cNvPr id="131" name="AutoShape 17">
              <a:extLst>
                <a:ext uri="{FF2B5EF4-FFF2-40B4-BE49-F238E27FC236}">
                  <a16:creationId xmlns:a16="http://schemas.microsoft.com/office/drawing/2014/main" xmlns="" id="{7E4FBB38-6109-431D-A919-4E6364708E41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470" y="3187"/>
              <a:ext cx="288" cy="45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32" name="Freeform 19">
              <a:extLst>
                <a:ext uri="{FF2B5EF4-FFF2-40B4-BE49-F238E27FC236}">
                  <a16:creationId xmlns:a16="http://schemas.microsoft.com/office/drawing/2014/main" xmlns="" id="{2DB591BB-FA66-4E84-95C5-00BBFC6F7767}"/>
                </a:ext>
              </a:extLst>
            </p:cNvPr>
            <p:cNvSpPr>
              <a:spLocks/>
            </p:cNvSpPr>
            <p:nvPr/>
          </p:nvSpPr>
          <p:spPr bwMode="auto">
            <a:xfrm>
              <a:off x="470" y="3188"/>
              <a:ext cx="288" cy="457"/>
            </a:xfrm>
            <a:custGeom>
              <a:avLst/>
              <a:gdLst>
                <a:gd name="T0" fmla="*/ 312 w 312"/>
                <a:gd name="T1" fmla="*/ 155 h 495"/>
                <a:gd name="T2" fmla="*/ 278 w 312"/>
                <a:gd name="T3" fmla="*/ 252 h 495"/>
                <a:gd name="T4" fmla="*/ 275 w 312"/>
                <a:gd name="T5" fmla="*/ 255 h 495"/>
                <a:gd name="T6" fmla="*/ 248 w 312"/>
                <a:gd name="T7" fmla="*/ 316 h 495"/>
                <a:gd name="T8" fmla="*/ 248 w 312"/>
                <a:gd name="T9" fmla="*/ 323 h 495"/>
                <a:gd name="T10" fmla="*/ 247 w 312"/>
                <a:gd name="T11" fmla="*/ 325 h 495"/>
                <a:gd name="T12" fmla="*/ 241 w 312"/>
                <a:gd name="T13" fmla="*/ 340 h 495"/>
                <a:gd name="T14" fmla="*/ 245 w 312"/>
                <a:gd name="T15" fmla="*/ 359 h 495"/>
                <a:gd name="T16" fmla="*/ 245 w 312"/>
                <a:gd name="T17" fmla="*/ 362 h 495"/>
                <a:gd name="T18" fmla="*/ 239 w 312"/>
                <a:gd name="T19" fmla="*/ 383 h 495"/>
                <a:gd name="T20" fmla="*/ 245 w 312"/>
                <a:gd name="T21" fmla="*/ 404 h 495"/>
                <a:gd name="T22" fmla="*/ 245 w 312"/>
                <a:gd name="T23" fmla="*/ 407 h 495"/>
                <a:gd name="T24" fmla="*/ 219 w 312"/>
                <a:gd name="T25" fmla="*/ 446 h 495"/>
                <a:gd name="T26" fmla="*/ 217 w 312"/>
                <a:gd name="T27" fmla="*/ 455 h 495"/>
                <a:gd name="T28" fmla="*/ 156 w 312"/>
                <a:gd name="T29" fmla="*/ 495 h 495"/>
                <a:gd name="T30" fmla="*/ 95 w 312"/>
                <a:gd name="T31" fmla="*/ 455 h 495"/>
                <a:gd name="T32" fmla="*/ 93 w 312"/>
                <a:gd name="T33" fmla="*/ 446 h 495"/>
                <a:gd name="T34" fmla="*/ 67 w 312"/>
                <a:gd name="T35" fmla="*/ 407 h 495"/>
                <a:gd name="T36" fmla="*/ 67 w 312"/>
                <a:gd name="T37" fmla="*/ 404 h 495"/>
                <a:gd name="T38" fmla="*/ 73 w 312"/>
                <a:gd name="T39" fmla="*/ 383 h 495"/>
                <a:gd name="T40" fmla="*/ 67 w 312"/>
                <a:gd name="T41" fmla="*/ 362 h 495"/>
                <a:gd name="T42" fmla="*/ 67 w 312"/>
                <a:gd name="T43" fmla="*/ 359 h 495"/>
                <a:gd name="T44" fmla="*/ 71 w 312"/>
                <a:gd name="T45" fmla="*/ 340 h 495"/>
                <a:gd name="T46" fmla="*/ 64 w 312"/>
                <a:gd name="T47" fmla="*/ 316 h 495"/>
                <a:gd name="T48" fmla="*/ 37 w 312"/>
                <a:gd name="T49" fmla="*/ 255 h 495"/>
                <a:gd name="T50" fmla="*/ 34 w 312"/>
                <a:gd name="T51" fmla="*/ 252 h 495"/>
                <a:gd name="T52" fmla="*/ 0 w 312"/>
                <a:gd name="T53" fmla="*/ 155 h 495"/>
                <a:gd name="T54" fmla="*/ 156 w 312"/>
                <a:gd name="T55" fmla="*/ 0 h 495"/>
                <a:gd name="T56" fmla="*/ 312 w 312"/>
                <a:gd name="T57" fmla="*/ 155 h 4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12" h="495">
                  <a:moveTo>
                    <a:pt x="312" y="155"/>
                  </a:moveTo>
                  <a:cubicBezTo>
                    <a:pt x="312" y="190"/>
                    <a:pt x="300" y="225"/>
                    <a:pt x="278" y="252"/>
                  </a:cubicBezTo>
                  <a:cubicBezTo>
                    <a:pt x="275" y="255"/>
                    <a:pt x="275" y="255"/>
                    <a:pt x="275" y="255"/>
                  </a:cubicBezTo>
                  <a:cubicBezTo>
                    <a:pt x="254" y="282"/>
                    <a:pt x="248" y="290"/>
                    <a:pt x="248" y="316"/>
                  </a:cubicBezTo>
                  <a:cubicBezTo>
                    <a:pt x="248" y="323"/>
                    <a:pt x="248" y="323"/>
                    <a:pt x="248" y="323"/>
                  </a:cubicBezTo>
                  <a:cubicBezTo>
                    <a:pt x="247" y="325"/>
                    <a:pt x="247" y="325"/>
                    <a:pt x="247" y="325"/>
                  </a:cubicBezTo>
                  <a:cubicBezTo>
                    <a:pt x="246" y="330"/>
                    <a:pt x="244" y="335"/>
                    <a:pt x="241" y="340"/>
                  </a:cubicBezTo>
                  <a:cubicBezTo>
                    <a:pt x="244" y="346"/>
                    <a:pt x="245" y="352"/>
                    <a:pt x="245" y="359"/>
                  </a:cubicBezTo>
                  <a:cubicBezTo>
                    <a:pt x="245" y="362"/>
                    <a:pt x="245" y="362"/>
                    <a:pt x="245" y="362"/>
                  </a:cubicBezTo>
                  <a:cubicBezTo>
                    <a:pt x="245" y="369"/>
                    <a:pt x="243" y="377"/>
                    <a:pt x="239" y="383"/>
                  </a:cubicBezTo>
                  <a:cubicBezTo>
                    <a:pt x="243" y="389"/>
                    <a:pt x="245" y="397"/>
                    <a:pt x="245" y="404"/>
                  </a:cubicBezTo>
                  <a:cubicBezTo>
                    <a:pt x="245" y="407"/>
                    <a:pt x="245" y="407"/>
                    <a:pt x="245" y="407"/>
                  </a:cubicBezTo>
                  <a:cubicBezTo>
                    <a:pt x="245" y="424"/>
                    <a:pt x="235" y="439"/>
                    <a:pt x="219" y="446"/>
                  </a:cubicBezTo>
                  <a:cubicBezTo>
                    <a:pt x="219" y="449"/>
                    <a:pt x="218" y="452"/>
                    <a:pt x="217" y="455"/>
                  </a:cubicBezTo>
                  <a:cubicBezTo>
                    <a:pt x="208" y="479"/>
                    <a:pt x="183" y="495"/>
                    <a:pt x="156" y="495"/>
                  </a:cubicBezTo>
                  <a:cubicBezTo>
                    <a:pt x="128" y="495"/>
                    <a:pt x="104" y="479"/>
                    <a:pt x="95" y="455"/>
                  </a:cubicBezTo>
                  <a:cubicBezTo>
                    <a:pt x="94" y="452"/>
                    <a:pt x="93" y="449"/>
                    <a:pt x="93" y="446"/>
                  </a:cubicBezTo>
                  <a:cubicBezTo>
                    <a:pt x="77" y="439"/>
                    <a:pt x="67" y="424"/>
                    <a:pt x="67" y="407"/>
                  </a:cubicBezTo>
                  <a:cubicBezTo>
                    <a:pt x="67" y="404"/>
                    <a:pt x="67" y="404"/>
                    <a:pt x="67" y="404"/>
                  </a:cubicBezTo>
                  <a:cubicBezTo>
                    <a:pt x="67" y="397"/>
                    <a:pt x="69" y="389"/>
                    <a:pt x="73" y="383"/>
                  </a:cubicBezTo>
                  <a:cubicBezTo>
                    <a:pt x="69" y="377"/>
                    <a:pt x="67" y="369"/>
                    <a:pt x="67" y="362"/>
                  </a:cubicBezTo>
                  <a:cubicBezTo>
                    <a:pt x="67" y="359"/>
                    <a:pt x="67" y="359"/>
                    <a:pt x="67" y="359"/>
                  </a:cubicBezTo>
                  <a:cubicBezTo>
                    <a:pt x="67" y="352"/>
                    <a:pt x="68" y="346"/>
                    <a:pt x="71" y="340"/>
                  </a:cubicBezTo>
                  <a:cubicBezTo>
                    <a:pt x="67" y="333"/>
                    <a:pt x="64" y="325"/>
                    <a:pt x="64" y="316"/>
                  </a:cubicBezTo>
                  <a:cubicBezTo>
                    <a:pt x="64" y="290"/>
                    <a:pt x="58" y="282"/>
                    <a:pt x="37" y="255"/>
                  </a:cubicBezTo>
                  <a:cubicBezTo>
                    <a:pt x="34" y="252"/>
                    <a:pt x="34" y="252"/>
                    <a:pt x="34" y="252"/>
                  </a:cubicBezTo>
                  <a:cubicBezTo>
                    <a:pt x="12" y="225"/>
                    <a:pt x="0" y="190"/>
                    <a:pt x="0" y="155"/>
                  </a:cubicBezTo>
                  <a:cubicBezTo>
                    <a:pt x="0" y="70"/>
                    <a:pt x="70" y="0"/>
                    <a:pt x="156" y="0"/>
                  </a:cubicBezTo>
                  <a:cubicBezTo>
                    <a:pt x="242" y="0"/>
                    <a:pt x="312" y="70"/>
                    <a:pt x="312" y="15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33" name="Freeform 20">
              <a:extLst>
                <a:ext uri="{FF2B5EF4-FFF2-40B4-BE49-F238E27FC236}">
                  <a16:creationId xmlns:a16="http://schemas.microsoft.com/office/drawing/2014/main" xmlns="" id="{A86CAF3D-36AF-4542-A5FE-05F687B9BD6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9" y="3217"/>
              <a:ext cx="230" cy="399"/>
            </a:xfrm>
            <a:custGeom>
              <a:avLst/>
              <a:gdLst>
                <a:gd name="T0" fmla="*/ 125 w 250"/>
                <a:gd name="T1" fmla="*/ 0 h 433"/>
                <a:gd name="T2" fmla="*/ 0 w 250"/>
                <a:gd name="T3" fmla="*/ 124 h 433"/>
                <a:gd name="T4" fmla="*/ 27 w 250"/>
                <a:gd name="T5" fmla="*/ 202 h 433"/>
                <a:gd name="T6" fmla="*/ 64 w 250"/>
                <a:gd name="T7" fmla="*/ 285 h 433"/>
                <a:gd name="T8" fmla="*/ 64 w 250"/>
                <a:gd name="T9" fmla="*/ 285 h 433"/>
                <a:gd name="T10" fmla="*/ 68 w 250"/>
                <a:gd name="T11" fmla="*/ 294 h 433"/>
                <a:gd name="T12" fmla="*/ 77 w 250"/>
                <a:gd name="T13" fmla="*/ 298 h 433"/>
                <a:gd name="T14" fmla="*/ 173 w 250"/>
                <a:gd name="T15" fmla="*/ 298 h 433"/>
                <a:gd name="T16" fmla="*/ 186 w 250"/>
                <a:gd name="T17" fmla="*/ 285 h 433"/>
                <a:gd name="T18" fmla="*/ 186 w 250"/>
                <a:gd name="T19" fmla="*/ 285 h 433"/>
                <a:gd name="T20" fmla="*/ 223 w 250"/>
                <a:gd name="T21" fmla="*/ 202 h 433"/>
                <a:gd name="T22" fmla="*/ 250 w 250"/>
                <a:gd name="T23" fmla="*/ 124 h 433"/>
                <a:gd name="T24" fmla="*/ 125 w 250"/>
                <a:gd name="T25" fmla="*/ 0 h 433"/>
                <a:gd name="T26" fmla="*/ 166 w 250"/>
                <a:gd name="T27" fmla="*/ 195 h 433"/>
                <a:gd name="T28" fmla="*/ 152 w 250"/>
                <a:gd name="T29" fmla="*/ 246 h 433"/>
                <a:gd name="T30" fmla="*/ 140 w 250"/>
                <a:gd name="T31" fmla="*/ 246 h 433"/>
                <a:gd name="T32" fmla="*/ 155 w 250"/>
                <a:gd name="T33" fmla="*/ 192 h 433"/>
                <a:gd name="T34" fmla="*/ 95 w 250"/>
                <a:gd name="T35" fmla="*/ 192 h 433"/>
                <a:gd name="T36" fmla="*/ 111 w 250"/>
                <a:gd name="T37" fmla="*/ 246 h 433"/>
                <a:gd name="T38" fmla="*/ 98 w 250"/>
                <a:gd name="T39" fmla="*/ 246 h 433"/>
                <a:gd name="T40" fmla="*/ 84 w 250"/>
                <a:gd name="T41" fmla="*/ 195 h 433"/>
                <a:gd name="T42" fmla="*/ 86 w 250"/>
                <a:gd name="T43" fmla="*/ 184 h 433"/>
                <a:gd name="T44" fmla="*/ 95 w 250"/>
                <a:gd name="T45" fmla="*/ 179 h 433"/>
                <a:gd name="T46" fmla="*/ 155 w 250"/>
                <a:gd name="T47" fmla="*/ 179 h 433"/>
                <a:gd name="T48" fmla="*/ 164 w 250"/>
                <a:gd name="T49" fmla="*/ 184 h 433"/>
                <a:gd name="T50" fmla="*/ 166 w 250"/>
                <a:gd name="T51" fmla="*/ 195 h 433"/>
                <a:gd name="T52" fmla="*/ 81 w 250"/>
                <a:gd name="T53" fmla="*/ 315 h 433"/>
                <a:gd name="T54" fmla="*/ 169 w 250"/>
                <a:gd name="T55" fmla="*/ 315 h 433"/>
                <a:gd name="T56" fmla="*/ 183 w 250"/>
                <a:gd name="T57" fmla="*/ 328 h 433"/>
                <a:gd name="T58" fmla="*/ 183 w 250"/>
                <a:gd name="T59" fmla="*/ 331 h 433"/>
                <a:gd name="T60" fmla="*/ 169 w 250"/>
                <a:gd name="T61" fmla="*/ 343 h 433"/>
                <a:gd name="T62" fmla="*/ 81 w 250"/>
                <a:gd name="T63" fmla="*/ 343 h 433"/>
                <a:gd name="T64" fmla="*/ 67 w 250"/>
                <a:gd name="T65" fmla="*/ 331 h 433"/>
                <a:gd name="T66" fmla="*/ 67 w 250"/>
                <a:gd name="T67" fmla="*/ 328 h 433"/>
                <a:gd name="T68" fmla="*/ 81 w 250"/>
                <a:gd name="T69" fmla="*/ 315 h 433"/>
                <a:gd name="T70" fmla="*/ 81 w 250"/>
                <a:gd name="T71" fmla="*/ 361 h 433"/>
                <a:gd name="T72" fmla="*/ 169 w 250"/>
                <a:gd name="T73" fmla="*/ 361 h 433"/>
                <a:gd name="T74" fmla="*/ 183 w 250"/>
                <a:gd name="T75" fmla="*/ 373 h 433"/>
                <a:gd name="T76" fmla="*/ 183 w 250"/>
                <a:gd name="T77" fmla="*/ 376 h 433"/>
                <a:gd name="T78" fmla="*/ 169 w 250"/>
                <a:gd name="T79" fmla="*/ 388 h 433"/>
                <a:gd name="T80" fmla="*/ 81 w 250"/>
                <a:gd name="T81" fmla="*/ 388 h 433"/>
                <a:gd name="T82" fmla="*/ 67 w 250"/>
                <a:gd name="T83" fmla="*/ 376 h 433"/>
                <a:gd name="T84" fmla="*/ 67 w 250"/>
                <a:gd name="T85" fmla="*/ 373 h 433"/>
                <a:gd name="T86" fmla="*/ 81 w 250"/>
                <a:gd name="T87" fmla="*/ 361 h 433"/>
                <a:gd name="T88" fmla="*/ 100 w 250"/>
                <a:gd name="T89" fmla="*/ 404 h 433"/>
                <a:gd name="T90" fmla="*/ 150 w 250"/>
                <a:gd name="T91" fmla="*/ 404 h 433"/>
                <a:gd name="T92" fmla="*/ 156 w 250"/>
                <a:gd name="T93" fmla="*/ 407 h 433"/>
                <a:gd name="T94" fmla="*/ 157 w 250"/>
                <a:gd name="T95" fmla="*/ 413 h 433"/>
                <a:gd name="T96" fmla="*/ 125 w 250"/>
                <a:gd name="T97" fmla="*/ 433 h 433"/>
                <a:gd name="T98" fmla="*/ 93 w 250"/>
                <a:gd name="T99" fmla="*/ 413 h 433"/>
                <a:gd name="T100" fmla="*/ 94 w 250"/>
                <a:gd name="T101" fmla="*/ 407 h 433"/>
                <a:gd name="T102" fmla="*/ 100 w 250"/>
                <a:gd name="T103" fmla="*/ 404 h 4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50" h="433">
                  <a:moveTo>
                    <a:pt x="125" y="0"/>
                  </a:moveTo>
                  <a:cubicBezTo>
                    <a:pt x="56" y="0"/>
                    <a:pt x="0" y="56"/>
                    <a:pt x="0" y="124"/>
                  </a:cubicBezTo>
                  <a:cubicBezTo>
                    <a:pt x="0" y="154"/>
                    <a:pt x="11" y="180"/>
                    <a:pt x="27" y="202"/>
                  </a:cubicBezTo>
                  <a:cubicBezTo>
                    <a:pt x="51" y="232"/>
                    <a:pt x="64" y="247"/>
                    <a:pt x="64" y="285"/>
                  </a:cubicBezTo>
                  <a:cubicBezTo>
                    <a:pt x="64" y="285"/>
                    <a:pt x="64" y="285"/>
                    <a:pt x="64" y="285"/>
                  </a:cubicBezTo>
                  <a:cubicBezTo>
                    <a:pt x="64" y="288"/>
                    <a:pt x="66" y="292"/>
                    <a:pt x="68" y="294"/>
                  </a:cubicBezTo>
                  <a:cubicBezTo>
                    <a:pt x="71" y="297"/>
                    <a:pt x="74" y="298"/>
                    <a:pt x="77" y="298"/>
                  </a:cubicBezTo>
                  <a:cubicBezTo>
                    <a:pt x="173" y="298"/>
                    <a:pt x="173" y="298"/>
                    <a:pt x="173" y="298"/>
                  </a:cubicBezTo>
                  <a:cubicBezTo>
                    <a:pt x="180" y="298"/>
                    <a:pt x="186" y="292"/>
                    <a:pt x="186" y="285"/>
                  </a:cubicBezTo>
                  <a:cubicBezTo>
                    <a:pt x="186" y="285"/>
                    <a:pt x="186" y="285"/>
                    <a:pt x="186" y="285"/>
                  </a:cubicBezTo>
                  <a:cubicBezTo>
                    <a:pt x="186" y="247"/>
                    <a:pt x="199" y="232"/>
                    <a:pt x="223" y="202"/>
                  </a:cubicBezTo>
                  <a:cubicBezTo>
                    <a:pt x="239" y="180"/>
                    <a:pt x="250" y="154"/>
                    <a:pt x="250" y="124"/>
                  </a:cubicBezTo>
                  <a:cubicBezTo>
                    <a:pt x="250" y="56"/>
                    <a:pt x="194" y="0"/>
                    <a:pt x="125" y="0"/>
                  </a:cubicBezTo>
                  <a:moveTo>
                    <a:pt x="166" y="195"/>
                  </a:moveTo>
                  <a:cubicBezTo>
                    <a:pt x="152" y="246"/>
                    <a:pt x="152" y="246"/>
                    <a:pt x="152" y="246"/>
                  </a:cubicBezTo>
                  <a:cubicBezTo>
                    <a:pt x="140" y="246"/>
                    <a:pt x="140" y="246"/>
                    <a:pt x="140" y="246"/>
                  </a:cubicBezTo>
                  <a:cubicBezTo>
                    <a:pt x="155" y="192"/>
                    <a:pt x="155" y="192"/>
                    <a:pt x="155" y="192"/>
                  </a:cubicBezTo>
                  <a:cubicBezTo>
                    <a:pt x="95" y="192"/>
                    <a:pt x="95" y="192"/>
                    <a:pt x="95" y="192"/>
                  </a:cubicBezTo>
                  <a:cubicBezTo>
                    <a:pt x="111" y="246"/>
                    <a:pt x="111" y="246"/>
                    <a:pt x="111" y="246"/>
                  </a:cubicBezTo>
                  <a:cubicBezTo>
                    <a:pt x="98" y="246"/>
                    <a:pt x="98" y="246"/>
                    <a:pt x="98" y="246"/>
                  </a:cubicBezTo>
                  <a:cubicBezTo>
                    <a:pt x="84" y="195"/>
                    <a:pt x="84" y="195"/>
                    <a:pt x="84" y="195"/>
                  </a:cubicBezTo>
                  <a:cubicBezTo>
                    <a:pt x="83" y="191"/>
                    <a:pt x="84" y="187"/>
                    <a:pt x="86" y="184"/>
                  </a:cubicBezTo>
                  <a:cubicBezTo>
                    <a:pt x="88" y="181"/>
                    <a:pt x="91" y="179"/>
                    <a:pt x="95" y="179"/>
                  </a:cubicBezTo>
                  <a:cubicBezTo>
                    <a:pt x="155" y="179"/>
                    <a:pt x="155" y="179"/>
                    <a:pt x="155" y="179"/>
                  </a:cubicBezTo>
                  <a:cubicBezTo>
                    <a:pt x="159" y="179"/>
                    <a:pt x="162" y="181"/>
                    <a:pt x="164" y="184"/>
                  </a:cubicBezTo>
                  <a:cubicBezTo>
                    <a:pt x="166" y="187"/>
                    <a:pt x="167" y="191"/>
                    <a:pt x="166" y="195"/>
                  </a:cubicBezTo>
                  <a:moveTo>
                    <a:pt x="81" y="315"/>
                  </a:moveTo>
                  <a:cubicBezTo>
                    <a:pt x="169" y="315"/>
                    <a:pt x="169" y="315"/>
                    <a:pt x="169" y="315"/>
                  </a:cubicBezTo>
                  <a:cubicBezTo>
                    <a:pt x="177" y="315"/>
                    <a:pt x="183" y="321"/>
                    <a:pt x="183" y="328"/>
                  </a:cubicBezTo>
                  <a:cubicBezTo>
                    <a:pt x="183" y="331"/>
                    <a:pt x="183" y="331"/>
                    <a:pt x="183" y="331"/>
                  </a:cubicBezTo>
                  <a:cubicBezTo>
                    <a:pt x="183" y="338"/>
                    <a:pt x="177" y="343"/>
                    <a:pt x="169" y="343"/>
                  </a:cubicBezTo>
                  <a:cubicBezTo>
                    <a:pt x="81" y="343"/>
                    <a:pt x="81" y="343"/>
                    <a:pt x="81" y="343"/>
                  </a:cubicBezTo>
                  <a:cubicBezTo>
                    <a:pt x="73" y="343"/>
                    <a:pt x="67" y="338"/>
                    <a:pt x="67" y="331"/>
                  </a:cubicBezTo>
                  <a:cubicBezTo>
                    <a:pt x="67" y="328"/>
                    <a:pt x="67" y="328"/>
                    <a:pt x="67" y="328"/>
                  </a:cubicBezTo>
                  <a:cubicBezTo>
                    <a:pt x="67" y="321"/>
                    <a:pt x="73" y="315"/>
                    <a:pt x="81" y="315"/>
                  </a:cubicBezTo>
                  <a:moveTo>
                    <a:pt x="81" y="361"/>
                  </a:moveTo>
                  <a:cubicBezTo>
                    <a:pt x="169" y="361"/>
                    <a:pt x="169" y="361"/>
                    <a:pt x="169" y="361"/>
                  </a:cubicBezTo>
                  <a:cubicBezTo>
                    <a:pt x="177" y="361"/>
                    <a:pt x="183" y="366"/>
                    <a:pt x="183" y="373"/>
                  </a:cubicBezTo>
                  <a:cubicBezTo>
                    <a:pt x="183" y="376"/>
                    <a:pt x="183" y="376"/>
                    <a:pt x="183" y="376"/>
                  </a:cubicBezTo>
                  <a:cubicBezTo>
                    <a:pt x="183" y="383"/>
                    <a:pt x="177" y="388"/>
                    <a:pt x="169" y="388"/>
                  </a:cubicBezTo>
                  <a:cubicBezTo>
                    <a:pt x="81" y="388"/>
                    <a:pt x="81" y="388"/>
                    <a:pt x="81" y="388"/>
                  </a:cubicBezTo>
                  <a:cubicBezTo>
                    <a:pt x="73" y="388"/>
                    <a:pt x="67" y="383"/>
                    <a:pt x="67" y="376"/>
                  </a:cubicBezTo>
                  <a:cubicBezTo>
                    <a:pt x="67" y="373"/>
                    <a:pt x="67" y="373"/>
                    <a:pt x="67" y="373"/>
                  </a:cubicBezTo>
                  <a:cubicBezTo>
                    <a:pt x="67" y="366"/>
                    <a:pt x="73" y="361"/>
                    <a:pt x="81" y="361"/>
                  </a:cubicBezTo>
                  <a:moveTo>
                    <a:pt x="100" y="404"/>
                  </a:moveTo>
                  <a:cubicBezTo>
                    <a:pt x="150" y="404"/>
                    <a:pt x="150" y="404"/>
                    <a:pt x="150" y="404"/>
                  </a:cubicBezTo>
                  <a:cubicBezTo>
                    <a:pt x="152" y="404"/>
                    <a:pt x="155" y="405"/>
                    <a:pt x="156" y="407"/>
                  </a:cubicBezTo>
                  <a:cubicBezTo>
                    <a:pt x="158" y="409"/>
                    <a:pt x="158" y="411"/>
                    <a:pt x="157" y="413"/>
                  </a:cubicBezTo>
                  <a:cubicBezTo>
                    <a:pt x="153" y="425"/>
                    <a:pt x="140" y="433"/>
                    <a:pt x="125" y="433"/>
                  </a:cubicBezTo>
                  <a:cubicBezTo>
                    <a:pt x="110" y="433"/>
                    <a:pt x="97" y="425"/>
                    <a:pt x="93" y="413"/>
                  </a:cubicBezTo>
                  <a:cubicBezTo>
                    <a:pt x="92" y="411"/>
                    <a:pt x="92" y="409"/>
                    <a:pt x="94" y="407"/>
                  </a:cubicBezTo>
                  <a:cubicBezTo>
                    <a:pt x="95" y="405"/>
                    <a:pt x="98" y="404"/>
                    <a:pt x="100" y="404"/>
                  </a:cubicBezTo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grpSp>
        <p:nvGrpSpPr>
          <p:cNvPr id="134" name="Group 100">
            <a:extLst>
              <a:ext uri="{FF2B5EF4-FFF2-40B4-BE49-F238E27FC236}">
                <a16:creationId xmlns:a16="http://schemas.microsoft.com/office/drawing/2014/main" xmlns="" id="{90BDBCF3-9EF7-4D83-94F9-5FE3542A80F7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884762" y="3730582"/>
            <a:ext cx="388611" cy="384060"/>
            <a:chOff x="1912" y="3402"/>
            <a:chExt cx="427" cy="422"/>
          </a:xfrm>
          <a:effectLst>
            <a:outerShdw blurRad="101600" dist="76200" dir="2700000" algn="ctr" rotWithShape="0">
              <a:srgbClr val="000000">
                <a:alpha val="29000"/>
              </a:srgbClr>
            </a:outerShdw>
          </a:effectLst>
        </p:grpSpPr>
        <p:sp>
          <p:nvSpPr>
            <p:cNvPr id="135" name="AutoShape 99">
              <a:extLst>
                <a:ext uri="{FF2B5EF4-FFF2-40B4-BE49-F238E27FC236}">
                  <a16:creationId xmlns:a16="http://schemas.microsoft.com/office/drawing/2014/main" xmlns="" id="{8634FF8C-B518-4485-994C-81595572D930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912" y="3402"/>
              <a:ext cx="427" cy="4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36" name="Oval 101">
              <a:extLst>
                <a:ext uri="{FF2B5EF4-FFF2-40B4-BE49-F238E27FC236}">
                  <a16:creationId xmlns:a16="http://schemas.microsoft.com/office/drawing/2014/main" xmlns="" id="{60F7B71B-9B4F-43A6-96B3-EA7862CF51C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12" y="3400"/>
              <a:ext cx="426" cy="426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37" name="Freeform 102">
              <a:extLst>
                <a:ext uri="{FF2B5EF4-FFF2-40B4-BE49-F238E27FC236}">
                  <a16:creationId xmlns:a16="http://schemas.microsoft.com/office/drawing/2014/main" xmlns="" id="{64E963BD-0EE8-4EB8-9D6C-24DCF9F03BE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37" y="3425"/>
              <a:ext cx="375" cy="376"/>
            </a:xfrm>
            <a:custGeom>
              <a:avLst/>
              <a:gdLst>
                <a:gd name="T0" fmla="*/ 120 w 240"/>
                <a:gd name="T1" fmla="*/ 0 h 240"/>
                <a:gd name="T2" fmla="*/ 0 w 240"/>
                <a:gd name="T3" fmla="*/ 120 h 240"/>
                <a:gd name="T4" fmla="*/ 120 w 240"/>
                <a:gd name="T5" fmla="*/ 240 h 240"/>
                <a:gd name="T6" fmla="*/ 240 w 240"/>
                <a:gd name="T7" fmla="*/ 120 h 240"/>
                <a:gd name="T8" fmla="*/ 120 w 240"/>
                <a:gd name="T9" fmla="*/ 0 h 240"/>
                <a:gd name="T10" fmla="*/ 137 w 240"/>
                <a:gd name="T11" fmla="*/ 206 h 240"/>
                <a:gd name="T12" fmla="*/ 102 w 240"/>
                <a:gd name="T13" fmla="*/ 206 h 240"/>
                <a:gd name="T14" fmla="*/ 102 w 240"/>
                <a:gd name="T15" fmla="*/ 170 h 240"/>
                <a:gd name="T16" fmla="*/ 137 w 240"/>
                <a:gd name="T17" fmla="*/ 170 h 240"/>
                <a:gd name="T18" fmla="*/ 137 w 240"/>
                <a:gd name="T19" fmla="*/ 206 h 240"/>
                <a:gd name="T20" fmla="*/ 174 w 240"/>
                <a:gd name="T21" fmla="*/ 101 h 240"/>
                <a:gd name="T22" fmla="*/ 167 w 240"/>
                <a:gd name="T23" fmla="*/ 113 h 240"/>
                <a:gd name="T24" fmla="*/ 158 w 240"/>
                <a:gd name="T25" fmla="*/ 122 h 240"/>
                <a:gd name="T26" fmla="*/ 148 w 240"/>
                <a:gd name="T27" fmla="*/ 129 h 240"/>
                <a:gd name="T28" fmla="*/ 140 w 240"/>
                <a:gd name="T29" fmla="*/ 137 h 240"/>
                <a:gd name="T30" fmla="*/ 136 w 240"/>
                <a:gd name="T31" fmla="*/ 148 h 240"/>
                <a:gd name="T32" fmla="*/ 136 w 240"/>
                <a:gd name="T33" fmla="*/ 157 h 240"/>
                <a:gd name="T34" fmla="*/ 105 w 240"/>
                <a:gd name="T35" fmla="*/ 157 h 240"/>
                <a:gd name="T36" fmla="*/ 105 w 240"/>
                <a:gd name="T37" fmla="*/ 147 h 240"/>
                <a:gd name="T38" fmla="*/ 109 w 240"/>
                <a:gd name="T39" fmla="*/ 130 h 240"/>
                <a:gd name="T40" fmla="*/ 116 w 240"/>
                <a:gd name="T41" fmla="*/ 119 h 240"/>
                <a:gd name="T42" fmla="*/ 124 w 240"/>
                <a:gd name="T43" fmla="*/ 111 h 240"/>
                <a:gd name="T44" fmla="*/ 133 w 240"/>
                <a:gd name="T45" fmla="*/ 104 h 240"/>
                <a:gd name="T46" fmla="*/ 139 w 240"/>
                <a:gd name="T47" fmla="*/ 96 h 240"/>
                <a:gd name="T48" fmla="*/ 141 w 240"/>
                <a:gd name="T49" fmla="*/ 86 h 240"/>
                <a:gd name="T50" fmla="*/ 136 w 240"/>
                <a:gd name="T51" fmla="*/ 71 h 240"/>
                <a:gd name="T52" fmla="*/ 122 w 240"/>
                <a:gd name="T53" fmla="*/ 66 h 240"/>
                <a:gd name="T54" fmla="*/ 111 w 240"/>
                <a:gd name="T55" fmla="*/ 68 h 240"/>
                <a:gd name="T56" fmla="*/ 104 w 240"/>
                <a:gd name="T57" fmla="*/ 74 h 240"/>
                <a:gd name="T58" fmla="*/ 100 w 240"/>
                <a:gd name="T59" fmla="*/ 84 h 240"/>
                <a:gd name="T60" fmla="*/ 98 w 240"/>
                <a:gd name="T61" fmla="*/ 95 h 240"/>
                <a:gd name="T62" fmla="*/ 65 w 240"/>
                <a:gd name="T63" fmla="*/ 95 h 240"/>
                <a:gd name="T64" fmla="*/ 69 w 240"/>
                <a:gd name="T65" fmla="*/ 73 h 240"/>
                <a:gd name="T66" fmla="*/ 80 w 240"/>
                <a:gd name="T67" fmla="*/ 55 h 240"/>
                <a:gd name="T68" fmla="*/ 98 w 240"/>
                <a:gd name="T69" fmla="*/ 43 h 240"/>
                <a:gd name="T70" fmla="*/ 120 w 240"/>
                <a:gd name="T71" fmla="*/ 39 h 240"/>
                <a:gd name="T72" fmla="*/ 147 w 240"/>
                <a:gd name="T73" fmla="*/ 43 h 240"/>
                <a:gd name="T74" fmla="*/ 165 w 240"/>
                <a:gd name="T75" fmla="*/ 54 h 240"/>
                <a:gd name="T76" fmla="*/ 174 w 240"/>
                <a:gd name="T77" fmla="*/ 69 h 240"/>
                <a:gd name="T78" fmla="*/ 177 w 240"/>
                <a:gd name="T79" fmla="*/ 83 h 240"/>
                <a:gd name="T80" fmla="*/ 174 w 240"/>
                <a:gd name="T81" fmla="*/ 101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240" h="240">
                  <a:moveTo>
                    <a:pt x="120" y="0"/>
                  </a:moveTo>
                  <a:cubicBezTo>
                    <a:pt x="54" y="0"/>
                    <a:pt x="0" y="54"/>
                    <a:pt x="0" y="120"/>
                  </a:cubicBezTo>
                  <a:cubicBezTo>
                    <a:pt x="0" y="186"/>
                    <a:pt x="54" y="240"/>
                    <a:pt x="120" y="240"/>
                  </a:cubicBezTo>
                  <a:cubicBezTo>
                    <a:pt x="186" y="240"/>
                    <a:pt x="240" y="186"/>
                    <a:pt x="240" y="120"/>
                  </a:cubicBezTo>
                  <a:cubicBezTo>
                    <a:pt x="240" y="54"/>
                    <a:pt x="186" y="0"/>
                    <a:pt x="120" y="0"/>
                  </a:cubicBezTo>
                  <a:close/>
                  <a:moveTo>
                    <a:pt x="137" y="206"/>
                  </a:moveTo>
                  <a:cubicBezTo>
                    <a:pt x="102" y="206"/>
                    <a:pt x="102" y="206"/>
                    <a:pt x="102" y="206"/>
                  </a:cubicBezTo>
                  <a:cubicBezTo>
                    <a:pt x="102" y="170"/>
                    <a:pt x="102" y="170"/>
                    <a:pt x="102" y="170"/>
                  </a:cubicBezTo>
                  <a:cubicBezTo>
                    <a:pt x="137" y="170"/>
                    <a:pt x="137" y="170"/>
                    <a:pt x="137" y="170"/>
                  </a:cubicBezTo>
                  <a:lnTo>
                    <a:pt x="137" y="206"/>
                  </a:lnTo>
                  <a:close/>
                  <a:moveTo>
                    <a:pt x="174" y="101"/>
                  </a:moveTo>
                  <a:cubicBezTo>
                    <a:pt x="172" y="106"/>
                    <a:pt x="170" y="110"/>
                    <a:pt x="167" y="113"/>
                  </a:cubicBezTo>
                  <a:cubicBezTo>
                    <a:pt x="164" y="116"/>
                    <a:pt x="161" y="119"/>
                    <a:pt x="158" y="122"/>
                  </a:cubicBezTo>
                  <a:cubicBezTo>
                    <a:pt x="154" y="124"/>
                    <a:pt x="151" y="126"/>
                    <a:pt x="148" y="129"/>
                  </a:cubicBezTo>
                  <a:cubicBezTo>
                    <a:pt x="145" y="131"/>
                    <a:pt x="142" y="134"/>
                    <a:pt x="140" y="137"/>
                  </a:cubicBezTo>
                  <a:cubicBezTo>
                    <a:pt x="138" y="140"/>
                    <a:pt x="136" y="144"/>
                    <a:pt x="136" y="148"/>
                  </a:cubicBezTo>
                  <a:cubicBezTo>
                    <a:pt x="136" y="157"/>
                    <a:pt x="136" y="157"/>
                    <a:pt x="136" y="157"/>
                  </a:cubicBezTo>
                  <a:cubicBezTo>
                    <a:pt x="105" y="157"/>
                    <a:pt x="105" y="157"/>
                    <a:pt x="105" y="157"/>
                  </a:cubicBezTo>
                  <a:cubicBezTo>
                    <a:pt x="105" y="147"/>
                    <a:pt x="105" y="147"/>
                    <a:pt x="105" y="147"/>
                  </a:cubicBezTo>
                  <a:cubicBezTo>
                    <a:pt x="105" y="140"/>
                    <a:pt x="106" y="135"/>
                    <a:pt x="109" y="130"/>
                  </a:cubicBezTo>
                  <a:cubicBezTo>
                    <a:pt x="111" y="126"/>
                    <a:pt x="113" y="122"/>
                    <a:pt x="116" y="119"/>
                  </a:cubicBezTo>
                  <a:cubicBezTo>
                    <a:pt x="118" y="116"/>
                    <a:pt x="121" y="113"/>
                    <a:pt x="124" y="111"/>
                  </a:cubicBezTo>
                  <a:cubicBezTo>
                    <a:pt x="127" y="108"/>
                    <a:pt x="130" y="106"/>
                    <a:pt x="133" y="104"/>
                  </a:cubicBezTo>
                  <a:cubicBezTo>
                    <a:pt x="135" y="102"/>
                    <a:pt x="137" y="99"/>
                    <a:pt x="139" y="96"/>
                  </a:cubicBezTo>
                  <a:cubicBezTo>
                    <a:pt x="141" y="94"/>
                    <a:pt x="141" y="90"/>
                    <a:pt x="141" y="86"/>
                  </a:cubicBezTo>
                  <a:cubicBezTo>
                    <a:pt x="141" y="79"/>
                    <a:pt x="140" y="74"/>
                    <a:pt x="136" y="71"/>
                  </a:cubicBezTo>
                  <a:cubicBezTo>
                    <a:pt x="133" y="67"/>
                    <a:pt x="128" y="66"/>
                    <a:pt x="122" y="66"/>
                  </a:cubicBezTo>
                  <a:cubicBezTo>
                    <a:pt x="118" y="66"/>
                    <a:pt x="114" y="66"/>
                    <a:pt x="111" y="68"/>
                  </a:cubicBezTo>
                  <a:cubicBezTo>
                    <a:pt x="108" y="70"/>
                    <a:pt x="106" y="72"/>
                    <a:pt x="104" y="74"/>
                  </a:cubicBezTo>
                  <a:cubicBezTo>
                    <a:pt x="102" y="77"/>
                    <a:pt x="101" y="80"/>
                    <a:pt x="100" y="84"/>
                  </a:cubicBezTo>
                  <a:cubicBezTo>
                    <a:pt x="99" y="87"/>
                    <a:pt x="98" y="91"/>
                    <a:pt x="98" y="95"/>
                  </a:cubicBezTo>
                  <a:cubicBezTo>
                    <a:pt x="65" y="95"/>
                    <a:pt x="65" y="95"/>
                    <a:pt x="65" y="95"/>
                  </a:cubicBezTo>
                  <a:cubicBezTo>
                    <a:pt x="65" y="87"/>
                    <a:pt x="66" y="80"/>
                    <a:pt x="69" y="73"/>
                  </a:cubicBezTo>
                  <a:cubicBezTo>
                    <a:pt x="72" y="66"/>
                    <a:pt x="75" y="60"/>
                    <a:pt x="80" y="55"/>
                  </a:cubicBezTo>
                  <a:cubicBezTo>
                    <a:pt x="85" y="50"/>
                    <a:pt x="91" y="46"/>
                    <a:pt x="98" y="43"/>
                  </a:cubicBezTo>
                  <a:cubicBezTo>
                    <a:pt x="104" y="40"/>
                    <a:pt x="112" y="39"/>
                    <a:pt x="120" y="39"/>
                  </a:cubicBezTo>
                  <a:cubicBezTo>
                    <a:pt x="131" y="39"/>
                    <a:pt x="140" y="40"/>
                    <a:pt x="147" y="43"/>
                  </a:cubicBezTo>
                  <a:cubicBezTo>
                    <a:pt x="154" y="46"/>
                    <a:pt x="160" y="50"/>
                    <a:pt x="165" y="54"/>
                  </a:cubicBezTo>
                  <a:cubicBezTo>
                    <a:pt x="169" y="59"/>
                    <a:pt x="172" y="64"/>
                    <a:pt x="174" y="69"/>
                  </a:cubicBezTo>
                  <a:cubicBezTo>
                    <a:pt x="176" y="74"/>
                    <a:pt x="177" y="79"/>
                    <a:pt x="177" y="83"/>
                  </a:cubicBezTo>
                  <a:cubicBezTo>
                    <a:pt x="177" y="90"/>
                    <a:pt x="176" y="96"/>
                    <a:pt x="174" y="101"/>
                  </a:cubicBez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grpSp>
        <p:nvGrpSpPr>
          <p:cNvPr id="138" name="Group 105">
            <a:extLst>
              <a:ext uri="{FF2B5EF4-FFF2-40B4-BE49-F238E27FC236}">
                <a16:creationId xmlns:a16="http://schemas.microsoft.com/office/drawing/2014/main" xmlns="" id="{CE8F0EA0-6AC7-4789-BD73-11E44F5E8C95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21304" y="3728418"/>
            <a:ext cx="384060" cy="384060"/>
            <a:chOff x="1268" y="3402"/>
            <a:chExt cx="422" cy="422"/>
          </a:xfrm>
          <a:effectLst>
            <a:outerShdw blurRad="101600" dist="76200" dir="2700000" algn="ctr" rotWithShape="0">
              <a:srgbClr val="000000">
                <a:alpha val="29000"/>
              </a:srgbClr>
            </a:outerShdw>
          </a:effectLst>
        </p:grpSpPr>
        <p:sp>
          <p:nvSpPr>
            <p:cNvPr id="139" name="AutoShape 104">
              <a:extLst>
                <a:ext uri="{FF2B5EF4-FFF2-40B4-BE49-F238E27FC236}">
                  <a16:creationId xmlns:a16="http://schemas.microsoft.com/office/drawing/2014/main" xmlns="" id="{72DB025A-36DC-44F0-A5DC-2FAA9AC8CD35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268" y="3402"/>
              <a:ext cx="422" cy="4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40" name="Oval 106">
              <a:extLst>
                <a:ext uri="{FF2B5EF4-FFF2-40B4-BE49-F238E27FC236}">
                  <a16:creationId xmlns:a16="http://schemas.microsoft.com/office/drawing/2014/main" xmlns="" id="{8AD41CE1-0FD7-4C6F-9F07-F5544D96B71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66" y="3400"/>
              <a:ext cx="426" cy="426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41" name="Freeform 107">
              <a:extLst>
                <a:ext uri="{FF2B5EF4-FFF2-40B4-BE49-F238E27FC236}">
                  <a16:creationId xmlns:a16="http://schemas.microsoft.com/office/drawing/2014/main" xmlns="" id="{28EE9D36-6FCD-4295-92D1-0EBA556AE7A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91" y="3425"/>
              <a:ext cx="376" cy="376"/>
            </a:xfrm>
            <a:custGeom>
              <a:avLst/>
              <a:gdLst>
                <a:gd name="T0" fmla="*/ 120 w 240"/>
                <a:gd name="T1" fmla="*/ 240 h 240"/>
                <a:gd name="T2" fmla="*/ 0 w 240"/>
                <a:gd name="T3" fmla="*/ 120 h 240"/>
                <a:gd name="T4" fmla="*/ 120 w 240"/>
                <a:gd name="T5" fmla="*/ 0 h 240"/>
                <a:gd name="T6" fmla="*/ 240 w 240"/>
                <a:gd name="T7" fmla="*/ 120 h 240"/>
                <a:gd name="T8" fmla="*/ 120 w 240"/>
                <a:gd name="T9" fmla="*/ 240 h 240"/>
                <a:gd name="T10" fmla="*/ 120 w 240"/>
                <a:gd name="T11" fmla="*/ 21 h 240"/>
                <a:gd name="T12" fmla="*/ 21 w 240"/>
                <a:gd name="T13" fmla="*/ 120 h 240"/>
                <a:gd name="T14" fmla="*/ 120 w 240"/>
                <a:gd name="T15" fmla="*/ 219 h 240"/>
                <a:gd name="T16" fmla="*/ 219 w 240"/>
                <a:gd name="T17" fmla="*/ 120 h 240"/>
                <a:gd name="T18" fmla="*/ 120 w 240"/>
                <a:gd name="T19" fmla="*/ 21 h 240"/>
                <a:gd name="T20" fmla="*/ 74 w 240"/>
                <a:gd name="T21" fmla="*/ 77 h 240"/>
                <a:gd name="T22" fmla="*/ 84 w 240"/>
                <a:gd name="T23" fmla="*/ 61 h 240"/>
                <a:gd name="T24" fmla="*/ 100 w 240"/>
                <a:gd name="T25" fmla="*/ 50 h 240"/>
                <a:gd name="T26" fmla="*/ 120 w 240"/>
                <a:gd name="T27" fmla="*/ 46 h 240"/>
                <a:gd name="T28" fmla="*/ 145 w 240"/>
                <a:gd name="T29" fmla="*/ 50 h 240"/>
                <a:gd name="T30" fmla="*/ 161 w 240"/>
                <a:gd name="T31" fmla="*/ 60 h 240"/>
                <a:gd name="T32" fmla="*/ 169 w 240"/>
                <a:gd name="T33" fmla="*/ 73 h 240"/>
                <a:gd name="T34" fmla="*/ 172 w 240"/>
                <a:gd name="T35" fmla="*/ 86 h 240"/>
                <a:gd name="T36" fmla="*/ 169 w 240"/>
                <a:gd name="T37" fmla="*/ 103 h 240"/>
                <a:gd name="T38" fmla="*/ 163 w 240"/>
                <a:gd name="T39" fmla="*/ 114 h 240"/>
                <a:gd name="T40" fmla="*/ 154 w 240"/>
                <a:gd name="T41" fmla="*/ 121 h 240"/>
                <a:gd name="T42" fmla="*/ 146 w 240"/>
                <a:gd name="T43" fmla="*/ 128 h 240"/>
                <a:gd name="T44" fmla="*/ 138 w 240"/>
                <a:gd name="T45" fmla="*/ 135 h 240"/>
                <a:gd name="T46" fmla="*/ 134 w 240"/>
                <a:gd name="T47" fmla="*/ 146 h 240"/>
                <a:gd name="T48" fmla="*/ 134 w 240"/>
                <a:gd name="T49" fmla="*/ 154 h 240"/>
                <a:gd name="T50" fmla="*/ 106 w 240"/>
                <a:gd name="T51" fmla="*/ 154 h 240"/>
                <a:gd name="T52" fmla="*/ 106 w 240"/>
                <a:gd name="T53" fmla="*/ 144 h 240"/>
                <a:gd name="T54" fmla="*/ 110 w 240"/>
                <a:gd name="T55" fmla="*/ 129 h 240"/>
                <a:gd name="T56" fmla="*/ 116 w 240"/>
                <a:gd name="T57" fmla="*/ 119 h 240"/>
                <a:gd name="T58" fmla="*/ 124 w 240"/>
                <a:gd name="T59" fmla="*/ 112 h 240"/>
                <a:gd name="T60" fmla="*/ 132 w 240"/>
                <a:gd name="T61" fmla="*/ 105 h 240"/>
                <a:gd name="T62" fmla="*/ 137 w 240"/>
                <a:gd name="T63" fmla="*/ 98 h 240"/>
                <a:gd name="T64" fmla="*/ 139 w 240"/>
                <a:gd name="T65" fmla="*/ 89 h 240"/>
                <a:gd name="T66" fmla="*/ 135 w 240"/>
                <a:gd name="T67" fmla="*/ 75 h 240"/>
                <a:gd name="T68" fmla="*/ 122 w 240"/>
                <a:gd name="T69" fmla="*/ 70 h 240"/>
                <a:gd name="T70" fmla="*/ 112 w 240"/>
                <a:gd name="T71" fmla="*/ 73 h 240"/>
                <a:gd name="T72" fmla="*/ 105 w 240"/>
                <a:gd name="T73" fmla="*/ 78 h 240"/>
                <a:gd name="T74" fmla="*/ 102 w 240"/>
                <a:gd name="T75" fmla="*/ 87 h 240"/>
                <a:gd name="T76" fmla="*/ 100 w 240"/>
                <a:gd name="T77" fmla="*/ 97 h 240"/>
                <a:gd name="T78" fmla="*/ 70 w 240"/>
                <a:gd name="T79" fmla="*/ 97 h 240"/>
                <a:gd name="T80" fmla="*/ 74 w 240"/>
                <a:gd name="T81" fmla="*/ 77 h 240"/>
                <a:gd name="T82" fmla="*/ 136 w 240"/>
                <a:gd name="T83" fmla="*/ 166 h 240"/>
                <a:gd name="T84" fmla="*/ 136 w 240"/>
                <a:gd name="T85" fmla="*/ 198 h 240"/>
                <a:gd name="T86" fmla="*/ 103 w 240"/>
                <a:gd name="T87" fmla="*/ 198 h 240"/>
                <a:gd name="T88" fmla="*/ 103 w 240"/>
                <a:gd name="T89" fmla="*/ 166 h 240"/>
                <a:gd name="T90" fmla="*/ 136 w 240"/>
                <a:gd name="T91" fmla="*/ 166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40" h="240">
                  <a:moveTo>
                    <a:pt x="120" y="240"/>
                  </a:moveTo>
                  <a:cubicBezTo>
                    <a:pt x="54" y="240"/>
                    <a:pt x="0" y="186"/>
                    <a:pt x="0" y="120"/>
                  </a:cubicBezTo>
                  <a:cubicBezTo>
                    <a:pt x="0" y="54"/>
                    <a:pt x="54" y="0"/>
                    <a:pt x="120" y="0"/>
                  </a:cubicBezTo>
                  <a:cubicBezTo>
                    <a:pt x="186" y="0"/>
                    <a:pt x="240" y="54"/>
                    <a:pt x="240" y="120"/>
                  </a:cubicBezTo>
                  <a:cubicBezTo>
                    <a:pt x="240" y="186"/>
                    <a:pt x="186" y="240"/>
                    <a:pt x="120" y="240"/>
                  </a:cubicBezTo>
                  <a:close/>
                  <a:moveTo>
                    <a:pt x="120" y="21"/>
                  </a:moveTo>
                  <a:cubicBezTo>
                    <a:pt x="65" y="21"/>
                    <a:pt x="21" y="65"/>
                    <a:pt x="21" y="120"/>
                  </a:cubicBezTo>
                  <a:cubicBezTo>
                    <a:pt x="21" y="175"/>
                    <a:pt x="65" y="219"/>
                    <a:pt x="120" y="219"/>
                  </a:cubicBezTo>
                  <a:cubicBezTo>
                    <a:pt x="175" y="219"/>
                    <a:pt x="219" y="175"/>
                    <a:pt x="219" y="120"/>
                  </a:cubicBezTo>
                  <a:cubicBezTo>
                    <a:pt x="219" y="65"/>
                    <a:pt x="175" y="21"/>
                    <a:pt x="120" y="21"/>
                  </a:cubicBezTo>
                  <a:close/>
                  <a:moveTo>
                    <a:pt x="74" y="77"/>
                  </a:moveTo>
                  <a:cubicBezTo>
                    <a:pt x="76" y="71"/>
                    <a:pt x="79" y="65"/>
                    <a:pt x="84" y="61"/>
                  </a:cubicBezTo>
                  <a:cubicBezTo>
                    <a:pt x="88" y="56"/>
                    <a:pt x="93" y="52"/>
                    <a:pt x="100" y="50"/>
                  </a:cubicBezTo>
                  <a:cubicBezTo>
                    <a:pt x="106" y="47"/>
                    <a:pt x="113" y="46"/>
                    <a:pt x="120" y="46"/>
                  </a:cubicBezTo>
                  <a:cubicBezTo>
                    <a:pt x="130" y="46"/>
                    <a:pt x="138" y="47"/>
                    <a:pt x="145" y="50"/>
                  </a:cubicBezTo>
                  <a:cubicBezTo>
                    <a:pt x="151" y="53"/>
                    <a:pt x="157" y="56"/>
                    <a:pt x="161" y="60"/>
                  </a:cubicBezTo>
                  <a:cubicBezTo>
                    <a:pt x="165" y="64"/>
                    <a:pt x="168" y="69"/>
                    <a:pt x="169" y="73"/>
                  </a:cubicBezTo>
                  <a:cubicBezTo>
                    <a:pt x="171" y="78"/>
                    <a:pt x="172" y="82"/>
                    <a:pt x="172" y="86"/>
                  </a:cubicBezTo>
                  <a:cubicBezTo>
                    <a:pt x="172" y="93"/>
                    <a:pt x="171" y="98"/>
                    <a:pt x="169" y="103"/>
                  </a:cubicBezTo>
                  <a:cubicBezTo>
                    <a:pt x="168" y="107"/>
                    <a:pt x="166" y="111"/>
                    <a:pt x="163" y="114"/>
                  </a:cubicBezTo>
                  <a:cubicBezTo>
                    <a:pt x="160" y="117"/>
                    <a:pt x="158" y="119"/>
                    <a:pt x="154" y="121"/>
                  </a:cubicBezTo>
                  <a:cubicBezTo>
                    <a:pt x="151" y="124"/>
                    <a:pt x="148" y="126"/>
                    <a:pt x="146" y="128"/>
                  </a:cubicBezTo>
                  <a:cubicBezTo>
                    <a:pt x="143" y="130"/>
                    <a:pt x="140" y="133"/>
                    <a:pt x="138" y="135"/>
                  </a:cubicBezTo>
                  <a:cubicBezTo>
                    <a:pt x="136" y="138"/>
                    <a:pt x="135" y="142"/>
                    <a:pt x="134" y="146"/>
                  </a:cubicBezTo>
                  <a:cubicBezTo>
                    <a:pt x="134" y="154"/>
                    <a:pt x="134" y="154"/>
                    <a:pt x="134" y="154"/>
                  </a:cubicBezTo>
                  <a:cubicBezTo>
                    <a:pt x="106" y="154"/>
                    <a:pt x="106" y="154"/>
                    <a:pt x="106" y="154"/>
                  </a:cubicBezTo>
                  <a:cubicBezTo>
                    <a:pt x="106" y="144"/>
                    <a:pt x="106" y="144"/>
                    <a:pt x="106" y="144"/>
                  </a:cubicBezTo>
                  <a:cubicBezTo>
                    <a:pt x="107" y="138"/>
                    <a:pt x="108" y="133"/>
                    <a:pt x="110" y="129"/>
                  </a:cubicBezTo>
                  <a:cubicBezTo>
                    <a:pt x="111" y="125"/>
                    <a:pt x="114" y="122"/>
                    <a:pt x="116" y="119"/>
                  </a:cubicBezTo>
                  <a:cubicBezTo>
                    <a:pt x="119" y="116"/>
                    <a:pt x="121" y="114"/>
                    <a:pt x="124" y="112"/>
                  </a:cubicBezTo>
                  <a:cubicBezTo>
                    <a:pt x="127" y="109"/>
                    <a:pt x="129" y="107"/>
                    <a:pt x="132" y="105"/>
                  </a:cubicBezTo>
                  <a:cubicBezTo>
                    <a:pt x="134" y="103"/>
                    <a:pt x="136" y="101"/>
                    <a:pt x="137" y="98"/>
                  </a:cubicBezTo>
                  <a:cubicBezTo>
                    <a:pt x="139" y="96"/>
                    <a:pt x="140" y="93"/>
                    <a:pt x="139" y="89"/>
                  </a:cubicBezTo>
                  <a:cubicBezTo>
                    <a:pt x="139" y="83"/>
                    <a:pt x="138" y="78"/>
                    <a:pt x="135" y="75"/>
                  </a:cubicBezTo>
                  <a:cubicBezTo>
                    <a:pt x="132" y="72"/>
                    <a:pt x="127" y="70"/>
                    <a:pt x="122" y="70"/>
                  </a:cubicBezTo>
                  <a:cubicBezTo>
                    <a:pt x="118" y="70"/>
                    <a:pt x="115" y="71"/>
                    <a:pt x="112" y="73"/>
                  </a:cubicBezTo>
                  <a:cubicBezTo>
                    <a:pt x="109" y="74"/>
                    <a:pt x="107" y="76"/>
                    <a:pt x="105" y="78"/>
                  </a:cubicBezTo>
                  <a:cubicBezTo>
                    <a:pt x="104" y="81"/>
                    <a:pt x="102" y="84"/>
                    <a:pt x="102" y="87"/>
                  </a:cubicBezTo>
                  <a:cubicBezTo>
                    <a:pt x="101" y="90"/>
                    <a:pt x="100" y="94"/>
                    <a:pt x="100" y="97"/>
                  </a:cubicBezTo>
                  <a:cubicBezTo>
                    <a:pt x="70" y="97"/>
                    <a:pt x="70" y="97"/>
                    <a:pt x="70" y="97"/>
                  </a:cubicBezTo>
                  <a:cubicBezTo>
                    <a:pt x="70" y="90"/>
                    <a:pt x="71" y="83"/>
                    <a:pt x="74" y="77"/>
                  </a:cubicBezTo>
                  <a:close/>
                  <a:moveTo>
                    <a:pt x="136" y="166"/>
                  </a:moveTo>
                  <a:cubicBezTo>
                    <a:pt x="136" y="198"/>
                    <a:pt x="136" y="198"/>
                    <a:pt x="136" y="198"/>
                  </a:cubicBezTo>
                  <a:cubicBezTo>
                    <a:pt x="103" y="198"/>
                    <a:pt x="103" y="198"/>
                    <a:pt x="103" y="198"/>
                  </a:cubicBezTo>
                  <a:cubicBezTo>
                    <a:pt x="103" y="166"/>
                    <a:pt x="103" y="166"/>
                    <a:pt x="103" y="166"/>
                  </a:cubicBezTo>
                  <a:lnTo>
                    <a:pt x="136" y="166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grpSp>
        <p:nvGrpSpPr>
          <p:cNvPr id="142" name="Group 140">
            <a:extLst>
              <a:ext uri="{FF2B5EF4-FFF2-40B4-BE49-F238E27FC236}">
                <a16:creationId xmlns:a16="http://schemas.microsoft.com/office/drawing/2014/main" xmlns="" id="{AD8A4E06-6AFC-49EF-86EE-5CC59B47ADA3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479502" y="3769090"/>
            <a:ext cx="238072" cy="278684"/>
            <a:chOff x="3863" y="1035"/>
            <a:chExt cx="170" cy="199"/>
          </a:xfrm>
          <a:effectLst>
            <a:outerShdw blurRad="101600" dist="76200" dir="2700000" algn="ctr" rotWithShape="0">
              <a:srgbClr val="000000">
                <a:alpha val="29000"/>
              </a:srgbClr>
            </a:outerShdw>
          </a:effectLst>
        </p:grpSpPr>
        <p:sp>
          <p:nvSpPr>
            <p:cNvPr id="143" name="AutoShape 139">
              <a:extLst>
                <a:ext uri="{FF2B5EF4-FFF2-40B4-BE49-F238E27FC236}">
                  <a16:creationId xmlns:a16="http://schemas.microsoft.com/office/drawing/2014/main" xmlns="" id="{EECDC0F1-5784-4B4F-993C-6CAF07E4CFED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863" y="1035"/>
              <a:ext cx="170" cy="1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44" name="Freeform 141">
              <a:extLst>
                <a:ext uri="{FF2B5EF4-FFF2-40B4-BE49-F238E27FC236}">
                  <a16:creationId xmlns:a16="http://schemas.microsoft.com/office/drawing/2014/main" xmlns="" id="{82C7A790-339A-4ADC-9FDA-79ABF540DA95}"/>
                </a:ext>
              </a:extLst>
            </p:cNvPr>
            <p:cNvSpPr>
              <a:spLocks/>
            </p:cNvSpPr>
            <p:nvPr/>
          </p:nvSpPr>
          <p:spPr bwMode="auto">
            <a:xfrm>
              <a:off x="3865" y="1033"/>
              <a:ext cx="168" cy="201"/>
            </a:xfrm>
            <a:custGeom>
              <a:avLst/>
              <a:gdLst>
                <a:gd name="T0" fmla="*/ 0 w 168"/>
                <a:gd name="T1" fmla="*/ 137 h 201"/>
                <a:gd name="T2" fmla="*/ 0 w 168"/>
                <a:gd name="T3" fmla="*/ 39 h 201"/>
                <a:gd name="T4" fmla="*/ 65 w 168"/>
                <a:gd name="T5" fmla="*/ 103 h 201"/>
                <a:gd name="T6" fmla="*/ 168 w 168"/>
                <a:gd name="T7" fmla="*/ 0 h 201"/>
                <a:gd name="T8" fmla="*/ 168 w 168"/>
                <a:gd name="T9" fmla="*/ 98 h 201"/>
                <a:gd name="T10" fmla="*/ 65 w 168"/>
                <a:gd name="T11" fmla="*/ 201 h 201"/>
                <a:gd name="T12" fmla="*/ 0 w 168"/>
                <a:gd name="T13" fmla="*/ 137 h 201"/>
                <a:gd name="T14" fmla="*/ 0 w 168"/>
                <a:gd name="T15" fmla="*/ 137 h 2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68" h="201">
                  <a:moveTo>
                    <a:pt x="0" y="137"/>
                  </a:moveTo>
                  <a:lnTo>
                    <a:pt x="0" y="39"/>
                  </a:lnTo>
                  <a:lnTo>
                    <a:pt x="65" y="103"/>
                  </a:lnTo>
                  <a:lnTo>
                    <a:pt x="168" y="0"/>
                  </a:lnTo>
                  <a:lnTo>
                    <a:pt x="168" y="98"/>
                  </a:lnTo>
                  <a:lnTo>
                    <a:pt x="65" y="201"/>
                  </a:lnTo>
                  <a:lnTo>
                    <a:pt x="0" y="137"/>
                  </a:lnTo>
                  <a:lnTo>
                    <a:pt x="0" y="13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45" name="Freeform 142">
              <a:extLst>
                <a:ext uri="{FF2B5EF4-FFF2-40B4-BE49-F238E27FC236}">
                  <a16:creationId xmlns:a16="http://schemas.microsoft.com/office/drawing/2014/main" xmlns="" id="{8F933985-C290-4701-AE63-59489F0C4A36}"/>
                </a:ext>
              </a:extLst>
            </p:cNvPr>
            <p:cNvSpPr>
              <a:spLocks/>
            </p:cNvSpPr>
            <p:nvPr/>
          </p:nvSpPr>
          <p:spPr bwMode="auto">
            <a:xfrm>
              <a:off x="3878" y="1065"/>
              <a:ext cx="143" cy="150"/>
            </a:xfrm>
            <a:custGeom>
              <a:avLst/>
              <a:gdLst>
                <a:gd name="T0" fmla="*/ 143 w 143"/>
                <a:gd name="T1" fmla="*/ 61 h 150"/>
                <a:gd name="T2" fmla="*/ 52 w 143"/>
                <a:gd name="T3" fmla="*/ 150 h 150"/>
                <a:gd name="T4" fmla="*/ 0 w 143"/>
                <a:gd name="T5" fmla="*/ 100 h 150"/>
                <a:gd name="T6" fmla="*/ 0 w 143"/>
                <a:gd name="T7" fmla="*/ 39 h 150"/>
                <a:gd name="T8" fmla="*/ 52 w 143"/>
                <a:gd name="T9" fmla="*/ 91 h 150"/>
                <a:gd name="T10" fmla="*/ 143 w 143"/>
                <a:gd name="T11" fmla="*/ 0 h 150"/>
                <a:gd name="T12" fmla="*/ 143 w 143"/>
                <a:gd name="T13" fmla="*/ 61 h 150"/>
                <a:gd name="T14" fmla="*/ 143 w 143"/>
                <a:gd name="T15" fmla="*/ 61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3" h="150">
                  <a:moveTo>
                    <a:pt x="143" y="61"/>
                  </a:moveTo>
                  <a:lnTo>
                    <a:pt x="52" y="150"/>
                  </a:lnTo>
                  <a:lnTo>
                    <a:pt x="0" y="100"/>
                  </a:lnTo>
                  <a:lnTo>
                    <a:pt x="0" y="39"/>
                  </a:lnTo>
                  <a:lnTo>
                    <a:pt x="52" y="91"/>
                  </a:lnTo>
                  <a:lnTo>
                    <a:pt x="143" y="0"/>
                  </a:lnTo>
                  <a:lnTo>
                    <a:pt x="143" y="61"/>
                  </a:lnTo>
                  <a:lnTo>
                    <a:pt x="143" y="61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grpSp>
        <p:nvGrpSpPr>
          <p:cNvPr id="146" name="Group 85">
            <a:extLst>
              <a:ext uri="{FF2B5EF4-FFF2-40B4-BE49-F238E27FC236}">
                <a16:creationId xmlns:a16="http://schemas.microsoft.com/office/drawing/2014/main" xmlns="" id="{E50CF734-CC7C-4B7C-934E-75D4AAC46B67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837239" y="3718066"/>
            <a:ext cx="357667" cy="353116"/>
            <a:chOff x="4458" y="3379"/>
            <a:chExt cx="393" cy="388"/>
          </a:xfrm>
          <a:effectLst>
            <a:outerShdw blurRad="101600" dist="76200" dir="2700000" algn="ctr" rotWithShape="0">
              <a:srgbClr val="000000">
                <a:alpha val="29000"/>
              </a:srgbClr>
            </a:outerShdw>
          </a:effectLst>
        </p:grpSpPr>
        <p:sp>
          <p:nvSpPr>
            <p:cNvPr id="147" name="AutoShape 84">
              <a:extLst>
                <a:ext uri="{FF2B5EF4-FFF2-40B4-BE49-F238E27FC236}">
                  <a16:creationId xmlns:a16="http://schemas.microsoft.com/office/drawing/2014/main" xmlns="" id="{FEFA5577-7D3E-4716-84E2-C64ACF57E12A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4458" y="3379"/>
              <a:ext cx="393" cy="3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48" name="Oval 86">
              <a:extLst>
                <a:ext uri="{FF2B5EF4-FFF2-40B4-BE49-F238E27FC236}">
                  <a16:creationId xmlns:a16="http://schemas.microsoft.com/office/drawing/2014/main" xmlns="" id="{91F18C69-6F2F-46BE-A680-48408259F68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59" y="3378"/>
              <a:ext cx="392" cy="390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49" name="Freeform 87">
              <a:extLst>
                <a:ext uri="{FF2B5EF4-FFF2-40B4-BE49-F238E27FC236}">
                  <a16:creationId xmlns:a16="http://schemas.microsoft.com/office/drawing/2014/main" xmlns="" id="{682770BB-5057-49DF-A50B-40716BC64A3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82" y="3401"/>
              <a:ext cx="346" cy="344"/>
            </a:xfrm>
            <a:custGeom>
              <a:avLst/>
              <a:gdLst>
                <a:gd name="T0" fmla="*/ 120 w 240"/>
                <a:gd name="T1" fmla="*/ 0 h 240"/>
                <a:gd name="T2" fmla="*/ 0 w 240"/>
                <a:gd name="T3" fmla="*/ 120 h 240"/>
                <a:gd name="T4" fmla="*/ 120 w 240"/>
                <a:gd name="T5" fmla="*/ 240 h 240"/>
                <a:gd name="T6" fmla="*/ 240 w 240"/>
                <a:gd name="T7" fmla="*/ 120 h 240"/>
                <a:gd name="T8" fmla="*/ 120 w 240"/>
                <a:gd name="T9" fmla="*/ 0 h 240"/>
                <a:gd name="T10" fmla="*/ 200 w 240"/>
                <a:gd name="T11" fmla="*/ 110 h 240"/>
                <a:gd name="T12" fmla="*/ 106 w 240"/>
                <a:gd name="T13" fmla="*/ 205 h 240"/>
                <a:gd name="T14" fmla="*/ 54 w 240"/>
                <a:gd name="T15" fmla="*/ 152 h 240"/>
                <a:gd name="T16" fmla="*/ 54 w 240"/>
                <a:gd name="T17" fmla="*/ 89 h 240"/>
                <a:gd name="T18" fmla="*/ 106 w 240"/>
                <a:gd name="T19" fmla="*/ 142 h 240"/>
                <a:gd name="T20" fmla="*/ 200 w 240"/>
                <a:gd name="T21" fmla="*/ 47 h 240"/>
                <a:gd name="T22" fmla="*/ 200 w 240"/>
                <a:gd name="T23" fmla="*/ 110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40" h="240">
                  <a:moveTo>
                    <a:pt x="120" y="0"/>
                  </a:moveTo>
                  <a:cubicBezTo>
                    <a:pt x="54" y="0"/>
                    <a:pt x="0" y="54"/>
                    <a:pt x="0" y="120"/>
                  </a:cubicBezTo>
                  <a:cubicBezTo>
                    <a:pt x="0" y="186"/>
                    <a:pt x="54" y="240"/>
                    <a:pt x="120" y="240"/>
                  </a:cubicBezTo>
                  <a:cubicBezTo>
                    <a:pt x="186" y="240"/>
                    <a:pt x="240" y="186"/>
                    <a:pt x="240" y="120"/>
                  </a:cubicBezTo>
                  <a:cubicBezTo>
                    <a:pt x="240" y="54"/>
                    <a:pt x="186" y="0"/>
                    <a:pt x="120" y="0"/>
                  </a:cubicBezTo>
                  <a:close/>
                  <a:moveTo>
                    <a:pt x="200" y="110"/>
                  </a:moveTo>
                  <a:cubicBezTo>
                    <a:pt x="106" y="205"/>
                    <a:pt x="106" y="205"/>
                    <a:pt x="106" y="205"/>
                  </a:cubicBezTo>
                  <a:cubicBezTo>
                    <a:pt x="54" y="152"/>
                    <a:pt x="54" y="152"/>
                    <a:pt x="54" y="152"/>
                  </a:cubicBezTo>
                  <a:cubicBezTo>
                    <a:pt x="54" y="89"/>
                    <a:pt x="54" y="89"/>
                    <a:pt x="54" y="89"/>
                  </a:cubicBezTo>
                  <a:cubicBezTo>
                    <a:pt x="106" y="142"/>
                    <a:pt x="106" y="142"/>
                    <a:pt x="106" y="142"/>
                  </a:cubicBezTo>
                  <a:cubicBezTo>
                    <a:pt x="200" y="47"/>
                    <a:pt x="200" y="47"/>
                    <a:pt x="200" y="47"/>
                  </a:cubicBezTo>
                  <a:lnTo>
                    <a:pt x="200" y="110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grpSp>
        <p:nvGrpSpPr>
          <p:cNvPr id="150" name="Group 90">
            <a:extLst>
              <a:ext uri="{FF2B5EF4-FFF2-40B4-BE49-F238E27FC236}">
                <a16:creationId xmlns:a16="http://schemas.microsoft.com/office/drawing/2014/main" xmlns="" id="{EBBCE50E-9235-460F-B798-3D13966CFF32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827457" y="4152195"/>
            <a:ext cx="378600" cy="377689"/>
            <a:chOff x="3307" y="3377"/>
            <a:chExt cx="416" cy="415"/>
          </a:xfrm>
          <a:effectLst>
            <a:outerShdw blurRad="101600" dist="76200" dir="2700000" algn="ctr" rotWithShape="0">
              <a:srgbClr val="000000">
                <a:alpha val="29000"/>
              </a:srgbClr>
            </a:outerShdw>
          </a:effectLst>
        </p:grpSpPr>
        <p:sp>
          <p:nvSpPr>
            <p:cNvPr id="151" name="AutoShape 89">
              <a:extLst>
                <a:ext uri="{FF2B5EF4-FFF2-40B4-BE49-F238E27FC236}">
                  <a16:creationId xmlns:a16="http://schemas.microsoft.com/office/drawing/2014/main" xmlns="" id="{42F311AE-ADBB-40DC-8A79-79A3219BFC04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307" y="3379"/>
              <a:ext cx="416" cy="41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52" name="Oval 91">
              <a:extLst>
                <a:ext uri="{FF2B5EF4-FFF2-40B4-BE49-F238E27FC236}">
                  <a16:creationId xmlns:a16="http://schemas.microsoft.com/office/drawing/2014/main" xmlns="" id="{71B61857-046D-466E-96F0-4A4BD6113B5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07" y="3377"/>
              <a:ext cx="415" cy="41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53" name="Freeform 92">
              <a:extLst>
                <a:ext uri="{FF2B5EF4-FFF2-40B4-BE49-F238E27FC236}">
                  <a16:creationId xmlns:a16="http://schemas.microsoft.com/office/drawing/2014/main" xmlns="" id="{86CEFC4D-722F-4C0A-804A-2F00F14F8CA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31" y="3402"/>
              <a:ext cx="366" cy="365"/>
            </a:xfrm>
            <a:custGeom>
              <a:avLst/>
              <a:gdLst>
                <a:gd name="T0" fmla="*/ 120 w 240"/>
                <a:gd name="T1" fmla="*/ 0 h 240"/>
                <a:gd name="T2" fmla="*/ 0 w 240"/>
                <a:gd name="T3" fmla="*/ 120 h 240"/>
                <a:gd name="T4" fmla="*/ 120 w 240"/>
                <a:gd name="T5" fmla="*/ 240 h 240"/>
                <a:gd name="T6" fmla="*/ 240 w 240"/>
                <a:gd name="T7" fmla="*/ 120 h 240"/>
                <a:gd name="T8" fmla="*/ 120 w 240"/>
                <a:gd name="T9" fmla="*/ 0 h 240"/>
                <a:gd name="T10" fmla="*/ 199 w 240"/>
                <a:gd name="T11" fmla="*/ 166 h 240"/>
                <a:gd name="T12" fmla="*/ 166 w 240"/>
                <a:gd name="T13" fmla="*/ 199 h 240"/>
                <a:gd name="T14" fmla="*/ 120 w 240"/>
                <a:gd name="T15" fmla="*/ 152 h 240"/>
                <a:gd name="T16" fmla="*/ 74 w 240"/>
                <a:gd name="T17" fmla="*/ 199 h 240"/>
                <a:gd name="T18" fmla="*/ 41 w 240"/>
                <a:gd name="T19" fmla="*/ 166 h 240"/>
                <a:gd name="T20" fmla="*/ 88 w 240"/>
                <a:gd name="T21" fmla="*/ 120 h 240"/>
                <a:gd name="T22" fmla="*/ 41 w 240"/>
                <a:gd name="T23" fmla="*/ 74 h 240"/>
                <a:gd name="T24" fmla="*/ 74 w 240"/>
                <a:gd name="T25" fmla="*/ 41 h 240"/>
                <a:gd name="T26" fmla="*/ 120 w 240"/>
                <a:gd name="T27" fmla="*/ 88 h 240"/>
                <a:gd name="T28" fmla="*/ 166 w 240"/>
                <a:gd name="T29" fmla="*/ 41 h 240"/>
                <a:gd name="T30" fmla="*/ 199 w 240"/>
                <a:gd name="T31" fmla="*/ 74 h 240"/>
                <a:gd name="T32" fmla="*/ 152 w 240"/>
                <a:gd name="T33" fmla="*/ 120 h 240"/>
                <a:gd name="T34" fmla="*/ 199 w 240"/>
                <a:gd name="T35" fmla="*/ 166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0" h="240">
                  <a:moveTo>
                    <a:pt x="120" y="0"/>
                  </a:moveTo>
                  <a:cubicBezTo>
                    <a:pt x="54" y="0"/>
                    <a:pt x="0" y="54"/>
                    <a:pt x="0" y="120"/>
                  </a:cubicBezTo>
                  <a:cubicBezTo>
                    <a:pt x="0" y="186"/>
                    <a:pt x="54" y="240"/>
                    <a:pt x="120" y="240"/>
                  </a:cubicBezTo>
                  <a:cubicBezTo>
                    <a:pt x="186" y="240"/>
                    <a:pt x="240" y="186"/>
                    <a:pt x="240" y="120"/>
                  </a:cubicBezTo>
                  <a:cubicBezTo>
                    <a:pt x="240" y="54"/>
                    <a:pt x="186" y="0"/>
                    <a:pt x="120" y="0"/>
                  </a:cubicBezTo>
                  <a:close/>
                  <a:moveTo>
                    <a:pt x="199" y="166"/>
                  </a:moveTo>
                  <a:cubicBezTo>
                    <a:pt x="166" y="199"/>
                    <a:pt x="166" y="199"/>
                    <a:pt x="166" y="199"/>
                  </a:cubicBezTo>
                  <a:cubicBezTo>
                    <a:pt x="120" y="152"/>
                    <a:pt x="120" y="152"/>
                    <a:pt x="120" y="152"/>
                  </a:cubicBezTo>
                  <a:cubicBezTo>
                    <a:pt x="74" y="199"/>
                    <a:pt x="74" y="199"/>
                    <a:pt x="74" y="199"/>
                  </a:cubicBezTo>
                  <a:cubicBezTo>
                    <a:pt x="41" y="166"/>
                    <a:pt x="41" y="166"/>
                    <a:pt x="41" y="166"/>
                  </a:cubicBezTo>
                  <a:cubicBezTo>
                    <a:pt x="88" y="120"/>
                    <a:pt x="88" y="120"/>
                    <a:pt x="88" y="120"/>
                  </a:cubicBezTo>
                  <a:cubicBezTo>
                    <a:pt x="41" y="74"/>
                    <a:pt x="41" y="74"/>
                    <a:pt x="41" y="74"/>
                  </a:cubicBezTo>
                  <a:cubicBezTo>
                    <a:pt x="74" y="41"/>
                    <a:pt x="74" y="41"/>
                    <a:pt x="74" y="41"/>
                  </a:cubicBezTo>
                  <a:cubicBezTo>
                    <a:pt x="120" y="88"/>
                    <a:pt x="120" y="88"/>
                    <a:pt x="120" y="88"/>
                  </a:cubicBezTo>
                  <a:cubicBezTo>
                    <a:pt x="166" y="41"/>
                    <a:pt x="166" y="41"/>
                    <a:pt x="166" y="41"/>
                  </a:cubicBezTo>
                  <a:cubicBezTo>
                    <a:pt x="199" y="74"/>
                    <a:pt x="199" y="74"/>
                    <a:pt x="199" y="74"/>
                  </a:cubicBezTo>
                  <a:cubicBezTo>
                    <a:pt x="152" y="120"/>
                    <a:pt x="152" y="120"/>
                    <a:pt x="152" y="120"/>
                  </a:cubicBezTo>
                  <a:lnTo>
                    <a:pt x="199" y="166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grpSp>
        <p:nvGrpSpPr>
          <p:cNvPr id="154" name="Group 95">
            <a:extLst>
              <a:ext uri="{FF2B5EF4-FFF2-40B4-BE49-F238E27FC236}">
                <a16:creationId xmlns:a16="http://schemas.microsoft.com/office/drawing/2014/main" xmlns="" id="{3AFF7464-26EB-403B-8AB8-672E0756C372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391735" y="4181056"/>
            <a:ext cx="333095" cy="332185"/>
            <a:chOff x="2774" y="3402"/>
            <a:chExt cx="366" cy="365"/>
          </a:xfrm>
          <a:effectLst>
            <a:outerShdw blurRad="101600" dist="76200" dir="2700000" algn="ctr" rotWithShape="0">
              <a:srgbClr val="000000">
                <a:alpha val="29000"/>
              </a:srgbClr>
            </a:outerShdw>
          </a:effectLst>
        </p:grpSpPr>
        <p:sp>
          <p:nvSpPr>
            <p:cNvPr id="155" name="AutoShape 94">
              <a:extLst>
                <a:ext uri="{FF2B5EF4-FFF2-40B4-BE49-F238E27FC236}">
                  <a16:creationId xmlns:a16="http://schemas.microsoft.com/office/drawing/2014/main" xmlns="" id="{62E5E2C3-3F4C-494E-82BA-2207333EB6DA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774" y="3402"/>
              <a:ext cx="366" cy="3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56" name="Freeform 96">
              <a:extLst>
                <a:ext uri="{FF2B5EF4-FFF2-40B4-BE49-F238E27FC236}">
                  <a16:creationId xmlns:a16="http://schemas.microsoft.com/office/drawing/2014/main" xmlns="" id="{B75AC356-CBB6-4120-A4E8-671410DA7B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774" y="3402"/>
              <a:ext cx="366" cy="365"/>
            </a:xfrm>
            <a:custGeom>
              <a:avLst/>
              <a:gdLst>
                <a:gd name="T0" fmla="*/ 276 w 366"/>
                <a:gd name="T1" fmla="*/ 183 h 365"/>
                <a:gd name="T2" fmla="*/ 349 w 366"/>
                <a:gd name="T3" fmla="*/ 110 h 365"/>
                <a:gd name="T4" fmla="*/ 366 w 366"/>
                <a:gd name="T5" fmla="*/ 95 h 365"/>
                <a:gd name="T6" fmla="*/ 349 w 366"/>
                <a:gd name="T7" fmla="*/ 78 h 365"/>
                <a:gd name="T8" fmla="*/ 288 w 366"/>
                <a:gd name="T9" fmla="*/ 17 h 365"/>
                <a:gd name="T10" fmla="*/ 271 w 366"/>
                <a:gd name="T11" fmla="*/ 0 h 365"/>
                <a:gd name="T12" fmla="*/ 255 w 366"/>
                <a:gd name="T13" fmla="*/ 17 h 365"/>
                <a:gd name="T14" fmla="*/ 183 w 366"/>
                <a:gd name="T15" fmla="*/ 89 h 365"/>
                <a:gd name="T16" fmla="*/ 111 w 366"/>
                <a:gd name="T17" fmla="*/ 17 h 365"/>
                <a:gd name="T18" fmla="*/ 95 w 366"/>
                <a:gd name="T19" fmla="*/ 0 h 365"/>
                <a:gd name="T20" fmla="*/ 78 w 366"/>
                <a:gd name="T21" fmla="*/ 17 h 365"/>
                <a:gd name="T22" fmla="*/ 17 w 366"/>
                <a:gd name="T23" fmla="*/ 78 h 365"/>
                <a:gd name="T24" fmla="*/ 0 w 366"/>
                <a:gd name="T25" fmla="*/ 95 h 365"/>
                <a:gd name="T26" fmla="*/ 17 w 366"/>
                <a:gd name="T27" fmla="*/ 110 h 365"/>
                <a:gd name="T28" fmla="*/ 90 w 366"/>
                <a:gd name="T29" fmla="*/ 183 h 365"/>
                <a:gd name="T30" fmla="*/ 17 w 366"/>
                <a:gd name="T31" fmla="*/ 255 h 365"/>
                <a:gd name="T32" fmla="*/ 0 w 366"/>
                <a:gd name="T33" fmla="*/ 270 h 365"/>
                <a:gd name="T34" fmla="*/ 17 w 366"/>
                <a:gd name="T35" fmla="*/ 287 h 365"/>
                <a:gd name="T36" fmla="*/ 78 w 366"/>
                <a:gd name="T37" fmla="*/ 348 h 365"/>
                <a:gd name="T38" fmla="*/ 95 w 366"/>
                <a:gd name="T39" fmla="*/ 365 h 365"/>
                <a:gd name="T40" fmla="*/ 111 w 366"/>
                <a:gd name="T41" fmla="*/ 348 h 365"/>
                <a:gd name="T42" fmla="*/ 183 w 366"/>
                <a:gd name="T43" fmla="*/ 276 h 365"/>
                <a:gd name="T44" fmla="*/ 255 w 366"/>
                <a:gd name="T45" fmla="*/ 348 h 365"/>
                <a:gd name="T46" fmla="*/ 271 w 366"/>
                <a:gd name="T47" fmla="*/ 365 h 365"/>
                <a:gd name="T48" fmla="*/ 288 w 366"/>
                <a:gd name="T49" fmla="*/ 348 h 365"/>
                <a:gd name="T50" fmla="*/ 349 w 366"/>
                <a:gd name="T51" fmla="*/ 287 h 365"/>
                <a:gd name="T52" fmla="*/ 366 w 366"/>
                <a:gd name="T53" fmla="*/ 270 h 365"/>
                <a:gd name="T54" fmla="*/ 349 w 366"/>
                <a:gd name="T55" fmla="*/ 255 h 365"/>
                <a:gd name="T56" fmla="*/ 276 w 366"/>
                <a:gd name="T57" fmla="*/ 183 h 3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66" h="365">
                  <a:moveTo>
                    <a:pt x="276" y="183"/>
                  </a:moveTo>
                  <a:lnTo>
                    <a:pt x="349" y="110"/>
                  </a:lnTo>
                  <a:lnTo>
                    <a:pt x="366" y="95"/>
                  </a:lnTo>
                  <a:lnTo>
                    <a:pt x="349" y="78"/>
                  </a:lnTo>
                  <a:lnTo>
                    <a:pt x="288" y="17"/>
                  </a:lnTo>
                  <a:lnTo>
                    <a:pt x="271" y="0"/>
                  </a:lnTo>
                  <a:lnTo>
                    <a:pt x="255" y="17"/>
                  </a:lnTo>
                  <a:lnTo>
                    <a:pt x="183" y="89"/>
                  </a:lnTo>
                  <a:lnTo>
                    <a:pt x="111" y="17"/>
                  </a:lnTo>
                  <a:lnTo>
                    <a:pt x="95" y="0"/>
                  </a:lnTo>
                  <a:lnTo>
                    <a:pt x="78" y="17"/>
                  </a:lnTo>
                  <a:lnTo>
                    <a:pt x="17" y="78"/>
                  </a:lnTo>
                  <a:lnTo>
                    <a:pt x="0" y="95"/>
                  </a:lnTo>
                  <a:lnTo>
                    <a:pt x="17" y="110"/>
                  </a:lnTo>
                  <a:lnTo>
                    <a:pt x="90" y="183"/>
                  </a:lnTo>
                  <a:lnTo>
                    <a:pt x="17" y="255"/>
                  </a:lnTo>
                  <a:lnTo>
                    <a:pt x="0" y="270"/>
                  </a:lnTo>
                  <a:lnTo>
                    <a:pt x="17" y="287"/>
                  </a:lnTo>
                  <a:lnTo>
                    <a:pt x="78" y="348"/>
                  </a:lnTo>
                  <a:lnTo>
                    <a:pt x="95" y="365"/>
                  </a:lnTo>
                  <a:lnTo>
                    <a:pt x="111" y="348"/>
                  </a:lnTo>
                  <a:lnTo>
                    <a:pt x="183" y="276"/>
                  </a:lnTo>
                  <a:lnTo>
                    <a:pt x="255" y="348"/>
                  </a:lnTo>
                  <a:lnTo>
                    <a:pt x="271" y="365"/>
                  </a:lnTo>
                  <a:lnTo>
                    <a:pt x="288" y="348"/>
                  </a:lnTo>
                  <a:lnTo>
                    <a:pt x="349" y="287"/>
                  </a:lnTo>
                  <a:lnTo>
                    <a:pt x="366" y="270"/>
                  </a:lnTo>
                  <a:lnTo>
                    <a:pt x="349" y="255"/>
                  </a:lnTo>
                  <a:lnTo>
                    <a:pt x="276" y="1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57" name="Freeform 97">
              <a:extLst>
                <a:ext uri="{FF2B5EF4-FFF2-40B4-BE49-F238E27FC236}">
                  <a16:creationId xmlns:a16="http://schemas.microsoft.com/office/drawing/2014/main" xmlns="" id="{F2EA2038-70CC-4035-98E4-166E29BB3CD1}"/>
                </a:ext>
              </a:extLst>
            </p:cNvPr>
            <p:cNvSpPr>
              <a:spLocks/>
            </p:cNvSpPr>
            <p:nvPr/>
          </p:nvSpPr>
          <p:spPr bwMode="auto">
            <a:xfrm>
              <a:off x="2806" y="3434"/>
              <a:ext cx="302" cy="301"/>
            </a:xfrm>
            <a:custGeom>
              <a:avLst/>
              <a:gdLst>
                <a:gd name="T0" fmla="*/ 302 w 302"/>
                <a:gd name="T1" fmla="*/ 63 h 301"/>
                <a:gd name="T2" fmla="*/ 239 w 302"/>
                <a:gd name="T3" fmla="*/ 0 h 301"/>
                <a:gd name="T4" fmla="*/ 151 w 302"/>
                <a:gd name="T5" fmla="*/ 90 h 301"/>
                <a:gd name="T6" fmla="*/ 63 w 302"/>
                <a:gd name="T7" fmla="*/ 0 h 301"/>
                <a:gd name="T8" fmla="*/ 0 w 302"/>
                <a:gd name="T9" fmla="*/ 63 h 301"/>
                <a:gd name="T10" fmla="*/ 90 w 302"/>
                <a:gd name="T11" fmla="*/ 151 h 301"/>
                <a:gd name="T12" fmla="*/ 0 w 302"/>
                <a:gd name="T13" fmla="*/ 238 h 301"/>
                <a:gd name="T14" fmla="*/ 63 w 302"/>
                <a:gd name="T15" fmla="*/ 301 h 301"/>
                <a:gd name="T16" fmla="*/ 151 w 302"/>
                <a:gd name="T17" fmla="*/ 211 h 301"/>
                <a:gd name="T18" fmla="*/ 239 w 302"/>
                <a:gd name="T19" fmla="*/ 301 h 301"/>
                <a:gd name="T20" fmla="*/ 302 w 302"/>
                <a:gd name="T21" fmla="*/ 238 h 301"/>
                <a:gd name="T22" fmla="*/ 212 w 302"/>
                <a:gd name="T23" fmla="*/ 151 h 301"/>
                <a:gd name="T24" fmla="*/ 302 w 302"/>
                <a:gd name="T25" fmla="*/ 63 h 3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02" h="301">
                  <a:moveTo>
                    <a:pt x="302" y="63"/>
                  </a:moveTo>
                  <a:lnTo>
                    <a:pt x="239" y="0"/>
                  </a:lnTo>
                  <a:lnTo>
                    <a:pt x="151" y="90"/>
                  </a:lnTo>
                  <a:lnTo>
                    <a:pt x="63" y="0"/>
                  </a:lnTo>
                  <a:lnTo>
                    <a:pt x="0" y="63"/>
                  </a:lnTo>
                  <a:lnTo>
                    <a:pt x="90" y="151"/>
                  </a:lnTo>
                  <a:lnTo>
                    <a:pt x="0" y="238"/>
                  </a:lnTo>
                  <a:lnTo>
                    <a:pt x="63" y="301"/>
                  </a:lnTo>
                  <a:lnTo>
                    <a:pt x="151" y="211"/>
                  </a:lnTo>
                  <a:lnTo>
                    <a:pt x="239" y="301"/>
                  </a:lnTo>
                  <a:lnTo>
                    <a:pt x="302" y="238"/>
                  </a:lnTo>
                  <a:lnTo>
                    <a:pt x="212" y="151"/>
                  </a:lnTo>
                  <a:lnTo>
                    <a:pt x="302" y="63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grpSp>
        <p:nvGrpSpPr>
          <p:cNvPr id="158" name="Group 117">
            <a:extLst>
              <a:ext uri="{FF2B5EF4-FFF2-40B4-BE49-F238E27FC236}">
                <a16:creationId xmlns:a16="http://schemas.microsoft.com/office/drawing/2014/main" xmlns="" id="{6B9CF331-DFBB-49E0-B36A-A3F4FA8CF65B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16822" y="4188437"/>
            <a:ext cx="367610" cy="367610"/>
            <a:chOff x="221" y="2301"/>
            <a:chExt cx="373" cy="373"/>
          </a:xfrm>
          <a:effectLst>
            <a:outerShdw blurRad="101600" dist="76200" dir="2700000" algn="ctr" rotWithShape="0">
              <a:srgbClr val="000000">
                <a:alpha val="29000"/>
              </a:srgbClr>
            </a:outerShdw>
          </a:effectLst>
        </p:grpSpPr>
        <p:sp>
          <p:nvSpPr>
            <p:cNvPr id="159" name="AutoShape 116">
              <a:extLst>
                <a:ext uri="{FF2B5EF4-FFF2-40B4-BE49-F238E27FC236}">
                  <a16:creationId xmlns:a16="http://schemas.microsoft.com/office/drawing/2014/main" xmlns="" id="{E151053F-86D0-41ED-B62A-33E132187EF8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21" y="2301"/>
              <a:ext cx="373" cy="3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60" name="Oval 118">
              <a:extLst>
                <a:ext uri="{FF2B5EF4-FFF2-40B4-BE49-F238E27FC236}">
                  <a16:creationId xmlns:a16="http://schemas.microsoft.com/office/drawing/2014/main" xmlns="" id="{A05FE556-A1D1-4E05-8A60-99A58F42B55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2" y="2301"/>
              <a:ext cx="372" cy="372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61" name="Freeform 119">
              <a:extLst>
                <a:ext uri="{FF2B5EF4-FFF2-40B4-BE49-F238E27FC236}">
                  <a16:creationId xmlns:a16="http://schemas.microsoft.com/office/drawing/2014/main" xmlns="" id="{64C8DD99-E2CC-4AD6-A42F-37364C6E1CA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4" y="2323"/>
              <a:ext cx="328" cy="328"/>
            </a:xfrm>
            <a:custGeom>
              <a:avLst/>
              <a:gdLst>
                <a:gd name="T0" fmla="*/ 120 w 240"/>
                <a:gd name="T1" fmla="*/ 0 h 240"/>
                <a:gd name="T2" fmla="*/ 0 w 240"/>
                <a:gd name="T3" fmla="*/ 120 h 240"/>
                <a:gd name="T4" fmla="*/ 120 w 240"/>
                <a:gd name="T5" fmla="*/ 240 h 240"/>
                <a:gd name="T6" fmla="*/ 240 w 240"/>
                <a:gd name="T7" fmla="*/ 120 h 240"/>
                <a:gd name="T8" fmla="*/ 120 w 240"/>
                <a:gd name="T9" fmla="*/ 0 h 240"/>
                <a:gd name="T10" fmla="*/ 115 w 240"/>
                <a:gd name="T11" fmla="*/ 207 h 240"/>
                <a:gd name="T12" fmla="*/ 115 w 240"/>
                <a:gd name="T13" fmla="*/ 169 h 240"/>
                <a:gd name="T14" fmla="*/ 40 w 240"/>
                <a:gd name="T15" fmla="*/ 170 h 240"/>
                <a:gd name="T16" fmla="*/ 40 w 240"/>
                <a:gd name="T17" fmla="*/ 72 h 240"/>
                <a:gd name="T18" fmla="*/ 115 w 240"/>
                <a:gd name="T19" fmla="*/ 73 h 240"/>
                <a:gd name="T20" fmla="*/ 115 w 240"/>
                <a:gd name="T21" fmla="*/ 34 h 240"/>
                <a:gd name="T22" fmla="*/ 216 w 240"/>
                <a:gd name="T23" fmla="*/ 120 h 240"/>
                <a:gd name="T24" fmla="*/ 115 w 240"/>
                <a:gd name="T25" fmla="*/ 207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40" h="240">
                  <a:moveTo>
                    <a:pt x="120" y="0"/>
                  </a:moveTo>
                  <a:cubicBezTo>
                    <a:pt x="54" y="0"/>
                    <a:pt x="0" y="54"/>
                    <a:pt x="0" y="120"/>
                  </a:cubicBezTo>
                  <a:cubicBezTo>
                    <a:pt x="0" y="186"/>
                    <a:pt x="54" y="240"/>
                    <a:pt x="120" y="240"/>
                  </a:cubicBezTo>
                  <a:cubicBezTo>
                    <a:pt x="186" y="240"/>
                    <a:pt x="240" y="186"/>
                    <a:pt x="240" y="120"/>
                  </a:cubicBezTo>
                  <a:cubicBezTo>
                    <a:pt x="240" y="54"/>
                    <a:pt x="186" y="0"/>
                    <a:pt x="120" y="0"/>
                  </a:cubicBezTo>
                  <a:close/>
                  <a:moveTo>
                    <a:pt x="115" y="207"/>
                  </a:moveTo>
                  <a:cubicBezTo>
                    <a:pt x="115" y="169"/>
                    <a:pt x="115" y="169"/>
                    <a:pt x="115" y="169"/>
                  </a:cubicBezTo>
                  <a:cubicBezTo>
                    <a:pt x="40" y="170"/>
                    <a:pt x="40" y="170"/>
                    <a:pt x="40" y="170"/>
                  </a:cubicBezTo>
                  <a:cubicBezTo>
                    <a:pt x="40" y="72"/>
                    <a:pt x="40" y="72"/>
                    <a:pt x="40" y="72"/>
                  </a:cubicBezTo>
                  <a:cubicBezTo>
                    <a:pt x="115" y="73"/>
                    <a:pt x="115" y="73"/>
                    <a:pt x="115" y="73"/>
                  </a:cubicBezTo>
                  <a:cubicBezTo>
                    <a:pt x="115" y="34"/>
                    <a:pt x="115" y="34"/>
                    <a:pt x="115" y="34"/>
                  </a:cubicBezTo>
                  <a:cubicBezTo>
                    <a:pt x="216" y="120"/>
                    <a:pt x="216" y="120"/>
                    <a:pt x="216" y="120"/>
                  </a:cubicBezTo>
                  <a:lnTo>
                    <a:pt x="115" y="207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grpSp>
        <p:nvGrpSpPr>
          <p:cNvPr id="162" name="Group 122">
            <a:extLst>
              <a:ext uri="{FF2B5EF4-FFF2-40B4-BE49-F238E27FC236}">
                <a16:creationId xmlns:a16="http://schemas.microsoft.com/office/drawing/2014/main" xmlns="" id="{75109D23-A495-4361-9F51-CBB515586A65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939416" y="4246078"/>
            <a:ext cx="298622" cy="294680"/>
            <a:chOff x="694" y="2316"/>
            <a:chExt cx="303" cy="299"/>
          </a:xfrm>
          <a:effectLst>
            <a:outerShdw blurRad="101600" dist="76200" dir="2700000" algn="ctr" rotWithShape="0">
              <a:srgbClr val="000000">
                <a:alpha val="29000"/>
              </a:srgbClr>
            </a:outerShdw>
          </a:effectLst>
        </p:grpSpPr>
        <p:sp>
          <p:nvSpPr>
            <p:cNvPr id="163" name="AutoShape 121">
              <a:extLst>
                <a:ext uri="{FF2B5EF4-FFF2-40B4-BE49-F238E27FC236}">
                  <a16:creationId xmlns:a16="http://schemas.microsoft.com/office/drawing/2014/main" xmlns="" id="{7D12E005-3679-41B8-A9FC-D997B2257396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694" y="2316"/>
              <a:ext cx="303" cy="2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64" name="Freeform 123">
              <a:extLst>
                <a:ext uri="{FF2B5EF4-FFF2-40B4-BE49-F238E27FC236}">
                  <a16:creationId xmlns:a16="http://schemas.microsoft.com/office/drawing/2014/main" xmlns="" id="{569FEAC4-1BD3-4638-A764-5E041BFCC54F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" y="2316"/>
              <a:ext cx="301" cy="298"/>
            </a:xfrm>
            <a:custGeom>
              <a:avLst/>
              <a:gdLst>
                <a:gd name="T0" fmla="*/ 203 w 208"/>
                <a:gd name="T1" fmla="*/ 91 h 206"/>
                <a:gd name="T2" fmla="*/ 101 w 208"/>
                <a:gd name="T3" fmla="*/ 5 h 206"/>
                <a:gd name="T4" fmla="*/ 84 w 208"/>
                <a:gd name="T5" fmla="*/ 2 h 206"/>
                <a:gd name="T6" fmla="*/ 75 w 208"/>
                <a:gd name="T7" fmla="*/ 17 h 206"/>
                <a:gd name="T8" fmla="*/ 75 w 208"/>
                <a:gd name="T9" fmla="*/ 40 h 206"/>
                <a:gd name="T10" fmla="*/ 16 w 208"/>
                <a:gd name="T11" fmla="*/ 39 h 206"/>
                <a:gd name="T12" fmla="*/ 5 w 208"/>
                <a:gd name="T13" fmla="*/ 44 h 206"/>
                <a:gd name="T14" fmla="*/ 0 w 208"/>
                <a:gd name="T15" fmla="*/ 55 h 206"/>
                <a:gd name="T16" fmla="*/ 0 w 208"/>
                <a:gd name="T17" fmla="*/ 153 h 206"/>
                <a:gd name="T18" fmla="*/ 5 w 208"/>
                <a:gd name="T19" fmla="*/ 164 h 206"/>
                <a:gd name="T20" fmla="*/ 16 w 208"/>
                <a:gd name="T21" fmla="*/ 169 h 206"/>
                <a:gd name="T22" fmla="*/ 75 w 208"/>
                <a:gd name="T23" fmla="*/ 169 h 206"/>
                <a:gd name="T24" fmla="*/ 75 w 208"/>
                <a:gd name="T25" fmla="*/ 190 h 206"/>
                <a:gd name="T26" fmla="*/ 85 w 208"/>
                <a:gd name="T27" fmla="*/ 204 h 206"/>
                <a:gd name="T28" fmla="*/ 91 w 208"/>
                <a:gd name="T29" fmla="*/ 206 h 206"/>
                <a:gd name="T30" fmla="*/ 102 w 208"/>
                <a:gd name="T31" fmla="*/ 202 h 206"/>
                <a:gd name="T32" fmla="*/ 203 w 208"/>
                <a:gd name="T33" fmla="*/ 116 h 206"/>
                <a:gd name="T34" fmla="*/ 208 w 208"/>
                <a:gd name="T35" fmla="*/ 103 h 206"/>
                <a:gd name="T36" fmla="*/ 203 w 208"/>
                <a:gd name="T37" fmla="*/ 91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08" h="206">
                  <a:moveTo>
                    <a:pt x="203" y="91"/>
                  </a:moveTo>
                  <a:cubicBezTo>
                    <a:pt x="101" y="5"/>
                    <a:pt x="101" y="5"/>
                    <a:pt x="101" y="5"/>
                  </a:cubicBezTo>
                  <a:cubicBezTo>
                    <a:pt x="96" y="0"/>
                    <a:pt x="90" y="0"/>
                    <a:pt x="84" y="2"/>
                  </a:cubicBezTo>
                  <a:cubicBezTo>
                    <a:pt x="78" y="5"/>
                    <a:pt x="75" y="10"/>
                    <a:pt x="75" y="17"/>
                  </a:cubicBezTo>
                  <a:cubicBezTo>
                    <a:pt x="75" y="40"/>
                    <a:pt x="75" y="40"/>
                    <a:pt x="75" y="40"/>
                  </a:cubicBezTo>
                  <a:cubicBezTo>
                    <a:pt x="16" y="39"/>
                    <a:pt x="16" y="39"/>
                    <a:pt x="16" y="39"/>
                  </a:cubicBezTo>
                  <a:cubicBezTo>
                    <a:pt x="12" y="39"/>
                    <a:pt x="8" y="41"/>
                    <a:pt x="5" y="44"/>
                  </a:cubicBezTo>
                  <a:cubicBezTo>
                    <a:pt x="2" y="47"/>
                    <a:pt x="0" y="51"/>
                    <a:pt x="0" y="55"/>
                  </a:cubicBezTo>
                  <a:cubicBezTo>
                    <a:pt x="0" y="153"/>
                    <a:pt x="0" y="153"/>
                    <a:pt x="0" y="153"/>
                  </a:cubicBezTo>
                  <a:cubicBezTo>
                    <a:pt x="0" y="157"/>
                    <a:pt x="2" y="161"/>
                    <a:pt x="5" y="164"/>
                  </a:cubicBezTo>
                  <a:cubicBezTo>
                    <a:pt x="8" y="167"/>
                    <a:pt x="12" y="169"/>
                    <a:pt x="16" y="169"/>
                  </a:cubicBezTo>
                  <a:cubicBezTo>
                    <a:pt x="75" y="169"/>
                    <a:pt x="75" y="169"/>
                    <a:pt x="75" y="169"/>
                  </a:cubicBezTo>
                  <a:cubicBezTo>
                    <a:pt x="75" y="190"/>
                    <a:pt x="75" y="190"/>
                    <a:pt x="75" y="190"/>
                  </a:cubicBezTo>
                  <a:cubicBezTo>
                    <a:pt x="75" y="196"/>
                    <a:pt x="79" y="201"/>
                    <a:pt x="85" y="204"/>
                  </a:cubicBezTo>
                  <a:cubicBezTo>
                    <a:pt x="87" y="205"/>
                    <a:pt x="89" y="206"/>
                    <a:pt x="91" y="206"/>
                  </a:cubicBezTo>
                  <a:cubicBezTo>
                    <a:pt x="95" y="206"/>
                    <a:pt x="99" y="204"/>
                    <a:pt x="102" y="202"/>
                  </a:cubicBezTo>
                  <a:cubicBezTo>
                    <a:pt x="203" y="116"/>
                    <a:pt x="203" y="116"/>
                    <a:pt x="203" y="116"/>
                  </a:cubicBezTo>
                  <a:cubicBezTo>
                    <a:pt x="206" y="113"/>
                    <a:pt x="208" y="108"/>
                    <a:pt x="208" y="103"/>
                  </a:cubicBezTo>
                  <a:cubicBezTo>
                    <a:pt x="208" y="99"/>
                    <a:pt x="206" y="94"/>
                    <a:pt x="203" y="9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65" name="Freeform 124">
              <a:extLst>
                <a:ext uri="{FF2B5EF4-FFF2-40B4-BE49-F238E27FC236}">
                  <a16:creationId xmlns:a16="http://schemas.microsoft.com/office/drawing/2014/main" xmlns="" id="{0591C6F5-C60A-4D1D-AD49-6BC5C147DEA6}"/>
                </a:ext>
              </a:extLst>
            </p:cNvPr>
            <p:cNvSpPr>
              <a:spLocks/>
            </p:cNvSpPr>
            <p:nvPr/>
          </p:nvSpPr>
          <p:spPr bwMode="auto">
            <a:xfrm>
              <a:off x="719" y="2341"/>
              <a:ext cx="254" cy="249"/>
            </a:xfrm>
            <a:custGeom>
              <a:avLst/>
              <a:gdLst>
                <a:gd name="T0" fmla="*/ 108 w 254"/>
                <a:gd name="T1" fmla="*/ 249 h 249"/>
                <a:gd name="T2" fmla="*/ 108 w 254"/>
                <a:gd name="T3" fmla="*/ 195 h 249"/>
                <a:gd name="T4" fmla="*/ 0 w 254"/>
                <a:gd name="T5" fmla="*/ 196 h 249"/>
                <a:gd name="T6" fmla="*/ 0 w 254"/>
                <a:gd name="T7" fmla="*/ 54 h 249"/>
                <a:gd name="T8" fmla="*/ 108 w 254"/>
                <a:gd name="T9" fmla="*/ 56 h 249"/>
                <a:gd name="T10" fmla="*/ 108 w 254"/>
                <a:gd name="T11" fmla="*/ 0 h 249"/>
                <a:gd name="T12" fmla="*/ 254 w 254"/>
                <a:gd name="T13" fmla="*/ 124 h 249"/>
                <a:gd name="T14" fmla="*/ 108 w 254"/>
                <a:gd name="T15" fmla="*/ 249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4" h="249">
                  <a:moveTo>
                    <a:pt x="108" y="249"/>
                  </a:moveTo>
                  <a:lnTo>
                    <a:pt x="108" y="195"/>
                  </a:lnTo>
                  <a:lnTo>
                    <a:pt x="0" y="196"/>
                  </a:lnTo>
                  <a:lnTo>
                    <a:pt x="0" y="54"/>
                  </a:lnTo>
                  <a:lnTo>
                    <a:pt x="108" y="56"/>
                  </a:lnTo>
                  <a:lnTo>
                    <a:pt x="108" y="0"/>
                  </a:lnTo>
                  <a:lnTo>
                    <a:pt x="254" y="124"/>
                  </a:lnTo>
                  <a:lnTo>
                    <a:pt x="108" y="249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grpSp>
        <p:nvGrpSpPr>
          <p:cNvPr id="166" name="Gruppieren 165">
            <a:extLst>
              <a:ext uri="{FF2B5EF4-FFF2-40B4-BE49-F238E27FC236}">
                <a16:creationId xmlns:a16="http://schemas.microsoft.com/office/drawing/2014/main" xmlns="" id="{7D3F875C-4093-4A7E-86D6-B57420715C52}"/>
              </a:ext>
            </a:extLst>
          </p:cNvPr>
          <p:cNvGrpSpPr/>
          <p:nvPr/>
        </p:nvGrpSpPr>
        <p:grpSpPr>
          <a:xfrm>
            <a:off x="4126107" y="4077541"/>
            <a:ext cx="630688" cy="487271"/>
            <a:chOff x="4074908" y="1505065"/>
            <a:chExt cx="651756" cy="503548"/>
          </a:xfrm>
        </p:grpSpPr>
        <p:grpSp>
          <p:nvGrpSpPr>
            <p:cNvPr id="167" name="Gruppieren 166">
              <a:extLst>
                <a:ext uri="{FF2B5EF4-FFF2-40B4-BE49-F238E27FC236}">
                  <a16:creationId xmlns:a16="http://schemas.microsoft.com/office/drawing/2014/main" xmlns="" id="{2FB80C5E-E8CD-458F-ABD0-0BC6074BC2E7}"/>
                </a:ext>
              </a:extLst>
            </p:cNvPr>
            <p:cNvGrpSpPr/>
            <p:nvPr/>
          </p:nvGrpSpPr>
          <p:grpSpPr>
            <a:xfrm>
              <a:off x="4074908" y="1505065"/>
              <a:ext cx="651756" cy="503548"/>
              <a:chOff x="4214270" y="452487"/>
              <a:chExt cx="651756" cy="503548"/>
            </a:xfrm>
          </p:grpSpPr>
          <p:sp>
            <p:nvSpPr>
              <p:cNvPr id="177" name="Rechteck 176">
                <a:extLst>
                  <a:ext uri="{FF2B5EF4-FFF2-40B4-BE49-F238E27FC236}">
                    <a16:creationId xmlns:a16="http://schemas.microsoft.com/office/drawing/2014/main" xmlns="" id="{6893539D-0A90-4F2E-B216-AEDC272AFFD8}"/>
                  </a:ext>
                </a:extLst>
              </p:cNvPr>
              <p:cNvSpPr/>
              <p:nvPr/>
            </p:nvSpPr>
            <p:spPr>
              <a:xfrm>
                <a:off x="4214270" y="452487"/>
                <a:ext cx="651756" cy="503548"/>
              </a:xfrm>
              <a:prstGeom prst="rect">
                <a:avLst/>
              </a:prstGeom>
              <a:solidFill>
                <a:schemeClr val="bg1"/>
              </a:solidFill>
              <a:ln w="9525"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400" dirty="0" err="1">
                  <a:solidFill>
                    <a:srgbClr val="344046"/>
                  </a:solidFill>
                </a:endParaRPr>
              </a:p>
            </p:txBody>
          </p:sp>
          <p:sp>
            <p:nvSpPr>
              <p:cNvPr id="178" name="Rechteck 177">
                <a:extLst>
                  <a:ext uri="{FF2B5EF4-FFF2-40B4-BE49-F238E27FC236}">
                    <a16:creationId xmlns:a16="http://schemas.microsoft.com/office/drawing/2014/main" xmlns="" id="{ACFB1782-B954-44F4-AF07-C51C10996E5B}"/>
                  </a:ext>
                </a:extLst>
              </p:cNvPr>
              <p:cNvSpPr/>
              <p:nvPr/>
            </p:nvSpPr>
            <p:spPr>
              <a:xfrm>
                <a:off x="4235526" y="471006"/>
                <a:ext cx="615747" cy="467951"/>
              </a:xfrm>
              <a:prstGeom prst="rect">
                <a:avLst/>
              </a:prstGeom>
              <a:solidFill>
                <a:schemeClr val="accent1">
                  <a:lumMod val="75000"/>
                </a:scheme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400" dirty="0" err="1">
                  <a:solidFill>
                    <a:srgbClr val="344046"/>
                  </a:solidFill>
                </a:endParaRPr>
              </a:p>
            </p:txBody>
          </p:sp>
          <p:grpSp>
            <p:nvGrpSpPr>
              <p:cNvPr id="179" name="Gruppieren 178">
                <a:extLst>
                  <a:ext uri="{FF2B5EF4-FFF2-40B4-BE49-F238E27FC236}">
                    <a16:creationId xmlns:a16="http://schemas.microsoft.com/office/drawing/2014/main" xmlns="" id="{F286E8DF-536E-41BD-BA70-A0A1B4DB5A4D}"/>
                  </a:ext>
                </a:extLst>
              </p:cNvPr>
              <p:cNvGrpSpPr/>
              <p:nvPr/>
            </p:nvGrpSpPr>
            <p:grpSpPr>
              <a:xfrm>
                <a:off x="4603414" y="464439"/>
                <a:ext cx="210193" cy="474518"/>
                <a:chOff x="3126323" y="1265012"/>
                <a:chExt cx="338560" cy="654209"/>
              </a:xfrm>
            </p:grpSpPr>
            <p:cxnSp>
              <p:nvCxnSpPr>
                <p:cNvPr id="180" name="Gerader Verbinder 179">
                  <a:extLst>
                    <a:ext uri="{FF2B5EF4-FFF2-40B4-BE49-F238E27FC236}">
                      <a16:creationId xmlns:a16="http://schemas.microsoft.com/office/drawing/2014/main" xmlns="" id="{FA4E830B-B8A9-4C59-8E70-1D2C245B4030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3464883" y="1265012"/>
                  <a:ext cx="0" cy="654209"/>
                </a:xfrm>
                <a:prstGeom prst="line">
                  <a:avLst/>
                </a:prstGeom>
                <a:ln w="28575" cap="rnd">
                  <a:solidFill>
                    <a:srgbClr val="FFFFFF">
                      <a:alpha val="29020"/>
                    </a:srgb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1" name="Gerader Verbinder 180">
                  <a:extLst>
                    <a:ext uri="{FF2B5EF4-FFF2-40B4-BE49-F238E27FC236}">
                      <a16:creationId xmlns:a16="http://schemas.microsoft.com/office/drawing/2014/main" xmlns="" id="{C90574BB-E6DC-4410-A375-5381F9DE8F00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3380243" y="1265012"/>
                  <a:ext cx="0" cy="654209"/>
                </a:xfrm>
                <a:prstGeom prst="line">
                  <a:avLst/>
                </a:prstGeom>
                <a:ln w="28575" cap="rnd">
                  <a:solidFill>
                    <a:srgbClr val="FFFFFF">
                      <a:alpha val="29020"/>
                    </a:srgb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2" name="Gerader Verbinder 181">
                  <a:extLst>
                    <a:ext uri="{FF2B5EF4-FFF2-40B4-BE49-F238E27FC236}">
                      <a16:creationId xmlns:a16="http://schemas.microsoft.com/office/drawing/2014/main" xmlns="" id="{B67F5DC9-BF0F-4E5C-86CA-E0F3921A1781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3295602" y="1265012"/>
                  <a:ext cx="0" cy="654209"/>
                </a:xfrm>
                <a:prstGeom prst="line">
                  <a:avLst/>
                </a:prstGeom>
                <a:ln w="28575" cap="rnd">
                  <a:solidFill>
                    <a:srgbClr val="FFFFFF">
                      <a:alpha val="29020"/>
                    </a:srgb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3" name="Gerader Verbinder 182">
                  <a:extLst>
                    <a:ext uri="{FF2B5EF4-FFF2-40B4-BE49-F238E27FC236}">
                      <a16:creationId xmlns:a16="http://schemas.microsoft.com/office/drawing/2014/main" xmlns="" id="{CAF7741E-F38B-468C-99AA-859003708DA3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3210963" y="1265012"/>
                  <a:ext cx="0" cy="654209"/>
                </a:xfrm>
                <a:prstGeom prst="line">
                  <a:avLst/>
                </a:prstGeom>
                <a:ln w="28575" cap="rnd">
                  <a:solidFill>
                    <a:srgbClr val="FFFFFF">
                      <a:alpha val="29020"/>
                    </a:srgb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4" name="Gerader Verbinder 183">
                  <a:extLst>
                    <a:ext uri="{FF2B5EF4-FFF2-40B4-BE49-F238E27FC236}">
                      <a16:creationId xmlns:a16="http://schemas.microsoft.com/office/drawing/2014/main" xmlns="" id="{2E18C385-CBCE-440C-A5BE-14DBB13DD43D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3126323" y="1265012"/>
                  <a:ext cx="0" cy="654209"/>
                </a:xfrm>
                <a:prstGeom prst="line">
                  <a:avLst/>
                </a:prstGeom>
                <a:ln w="28575" cap="rnd">
                  <a:solidFill>
                    <a:srgbClr val="FFFFFF">
                      <a:alpha val="29020"/>
                    </a:srgb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cxnSp>
          <p:nvCxnSpPr>
            <p:cNvPr id="168" name="Gerader Verbinder 167">
              <a:extLst>
                <a:ext uri="{FF2B5EF4-FFF2-40B4-BE49-F238E27FC236}">
                  <a16:creationId xmlns:a16="http://schemas.microsoft.com/office/drawing/2014/main" xmlns="" id="{B8CA5C14-59D6-4690-BA0D-9A9F48BAFAC7}"/>
                </a:ext>
              </a:extLst>
            </p:cNvPr>
            <p:cNvCxnSpPr/>
            <p:nvPr/>
          </p:nvCxnSpPr>
          <p:spPr>
            <a:xfrm>
              <a:off x="4144027" y="1586423"/>
              <a:ext cx="0" cy="349260"/>
            </a:xfrm>
            <a:prstGeom prst="line">
              <a:avLst/>
            </a:prstGeom>
            <a:ln w="28575" cap="rnd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9" name="Gerader Verbinder 168">
              <a:extLst>
                <a:ext uri="{FF2B5EF4-FFF2-40B4-BE49-F238E27FC236}">
                  <a16:creationId xmlns:a16="http://schemas.microsoft.com/office/drawing/2014/main" xmlns="" id="{73238E8C-48FB-49DE-B87B-3254B131243E}"/>
                </a:ext>
              </a:extLst>
            </p:cNvPr>
            <p:cNvCxnSpPr>
              <a:cxnSpLocks/>
            </p:cNvCxnSpPr>
            <p:nvPr/>
          </p:nvCxnSpPr>
          <p:spPr>
            <a:xfrm>
              <a:off x="4144027" y="1935683"/>
              <a:ext cx="537818" cy="0"/>
            </a:xfrm>
            <a:prstGeom prst="line">
              <a:avLst/>
            </a:prstGeom>
            <a:ln w="28575" cap="rnd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0" name="Ellipse 169">
              <a:extLst>
                <a:ext uri="{FF2B5EF4-FFF2-40B4-BE49-F238E27FC236}">
                  <a16:creationId xmlns:a16="http://schemas.microsoft.com/office/drawing/2014/main" xmlns="" id="{74E5F3A3-1D5F-4E51-A416-803381C638D1}"/>
                </a:ext>
              </a:extLst>
            </p:cNvPr>
            <p:cNvSpPr/>
            <p:nvPr/>
          </p:nvSpPr>
          <p:spPr>
            <a:xfrm>
              <a:off x="4210184" y="1787861"/>
              <a:ext cx="90921" cy="90921"/>
            </a:xfrm>
            <a:prstGeom prst="ellipse">
              <a:avLst/>
            </a:prstGeom>
            <a:ln w="28575" cap="rnd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e-DE" sz="1400" dirty="0" err="1">
                <a:solidFill>
                  <a:srgbClr val="344046"/>
                </a:solidFill>
              </a:endParaRPr>
            </a:p>
          </p:txBody>
        </p:sp>
        <p:sp>
          <p:nvSpPr>
            <p:cNvPr id="171" name="Ellipse 170">
              <a:extLst>
                <a:ext uri="{FF2B5EF4-FFF2-40B4-BE49-F238E27FC236}">
                  <a16:creationId xmlns:a16="http://schemas.microsoft.com/office/drawing/2014/main" xmlns="" id="{FBF3D956-FE77-44DC-AA19-D070C5AD4055}"/>
                </a:ext>
              </a:extLst>
            </p:cNvPr>
            <p:cNvSpPr/>
            <p:nvPr/>
          </p:nvSpPr>
          <p:spPr>
            <a:xfrm>
              <a:off x="4322015" y="1659934"/>
              <a:ext cx="90921" cy="90921"/>
            </a:xfrm>
            <a:prstGeom prst="ellipse">
              <a:avLst/>
            </a:prstGeom>
            <a:ln w="28575" cap="rnd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e-DE" sz="1400" dirty="0" err="1">
                <a:solidFill>
                  <a:srgbClr val="344046"/>
                </a:solidFill>
              </a:endParaRPr>
            </a:p>
          </p:txBody>
        </p:sp>
        <p:sp>
          <p:nvSpPr>
            <p:cNvPr id="172" name="Ellipse 171">
              <a:extLst>
                <a:ext uri="{FF2B5EF4-FFF2-40B4-BE49-F238E27FC236}">
                  <a16:creationId xmlns:a16="http://schemas.microsoft.com/office/drawing/2014/main" xmlns="" id="{27DA2115-2CD5-40D1-B6AA-96DCEE11D765}"/>
                </a:ext>
              </a:extLst>
            </p:cNvPr>
            <p:cNvSpPr/>
            <p:nvPr/>
          </p:nvSpPr>
          <p:spPr>
            <a:xfrm>
              <a:off x="4471198" y="1744344"/>
              <a:ext cx="90921" cy="90921"/>
            </a:xfrm>
            <a:prstGeom prst="ellipse">
              <a:avLst/>
            </a:prstGeom>
            <a:ln w="28575" cap="rnd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e-DE" sz="1400" dirty="0" err="1">
                <a:solidFill>
                  <a:srgbClr val="344046"/>
                </a:solidFill>
              </a:endParaRPr>
            </a:p>
          </p:txBody>
        </p:sp>
        <p:sp>
          <p:nvSpPr>
            <p:cNvPr id="173" name="Ellipse 172">
              <a:extLst>
                <a:ext uri="{FF2B5EF4-FFF2-40B4-BE49-F238E27FC236}">
                  <a16:creationId xmlns:a16="http://schemas.microsoft.com/office/drawing/2014/main" xmlns="" id="{71F1E5DE-69F2-42F8-8200-CC341739FDFA}"/>
                </a:ext>
              </a:extLst>
            </p:cNvPr>
            <p:cNvSpPr/>
            <p:nvPr/>
          </p:nvSpPr>
          <p:spPr>
            <a:xfrm>
              <a:off x="4582986" y="1594518"/>
              <a:ext cx="90921" cy="90921"/>
            </a:xfrm>
            <a:prstGeom prst="ellipse">
              <a:avLst/>
            </a:prstGeom>
            <a:ln w="28575" cap="rnd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e-DE" sz="1400" dirty="0" err="1">
                <a:solidFill>
                  <a:srgbClr val="344046"/>
                </a:solidFill>
              </a:endParaRPr>
            </a:p>
          </p:txBody>
        </p:sp>
        <p:cxnSp>
          <p:nvCxnSpPr>
            <p:cNvPr id="174" name="Gerader Verbinder 173">
              <a:extLst>
                <a:ext uri="{FF2B5EF4-FFF2-40B4-BE49-F238E27FC236}">
                  <a16:creationId xmlns:a16="http://schemas.microsoft.com/office/drawing/2014/main" xmlns="" id="{A2ACC805-3A35-4094-8236-9EA3A9F9B95F}"/>
                </a:ext>
              </a:extLst>
            </p:cNvPr>
            <p:cNvCxnSpPr>
              <a:cxnSpLocks/>
              <a:stCxn id="171" idx="3"/>
              <a:endCxn id="170" idx="7"/>
            </p:cNvCxnSpPr>
            <p:nvPr/>
          </p:nvCxnSpPr>
          <p:spPr>
            <a:xfrm flipH="1">
              <a:off x="4287790" y="1737540"/>
              <a:ext cx="47541" cy="63636"/>
            </a:xfrm>
            <a:prstGeom prst="line">
              <a:avLst/>
            </a:prstGeom>
            <a:ln w="19050" cap="rnd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5" name="Gerader Verbinder 174">
              <a:extLst>
                <a:ext uri="{FF2B5EF4-FFF2-40B4-BE49-F238E27FC236}">
                  <a16:creationId xmlns:a16="http://schemas.microsoft.com/office/drawing/2014/main" xmlns="" id="{4F69BF03-E2B3-4C51-8616-D0B4F30B8308}"/>
                </a:ext>
              </a:extLst>
            </p:cNvPr>
            <p:cNvCxnSpPr>
              <a:cxnSpLocks/>
            </p:cNvCxnSpPr>
            <p:nvPr/>
          </p:nvCxnSpPr>
          <p:spPr>
            <a:xfrm>
              <a:off x="4407585" y="1726557"/>
              <a:ext cx="71576" cy="52264"/>
            </a:xfrm>
            <a:prstGeom prst="line">
              <a:avLst/>
            </a:prstGeom>
            <a:ln w="19050" cap="rnd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6" name="Gerader Verbinder 175">
              <a:extLst>
                <a:ext uri="{FF2B5EF4-FFF2-40B4-BE49-F238E27FC236}">
                  <a16:creationId xmlns:a16="http://schemas.microsoft.com/office/drawing/2014/main" xmlns="" id="{D12C67F3-4088-4F0B-90C0-CCC779CDA1D1}"/>
                </a:ext>
              </a:extLst>
            </p:cNvPr>
            <p:cNvCxnSpPr>
              <a:cxnSpLocks/>
              <a:stCxn id="172" idx="7"/>
              <a:endCxn id="173" idx="3"/>
            </p:cNvCxnSpPr>
            <p:nvPr/>
          </p:nvCxnSpPr>
          <p:spPr>
            <a:xfrm flipV="1">
              <a:off x="4548803" y="1672124"/>
              <a:ext cx="47498" cy="85535"/>
            </a:xfrm>
            <a:prstGeom prst="line">
              <a:avLst/>
            </a:prstGeom>
            <a:ln w="19050" cap="rnd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85" name="Gruppieren 184">
            <a:extLst>
              <a:ext uri="{FF2B5EF4-FFF2-40B4-BE49-F238E27FC236}">
                <a16:creationId xmlns:a16="http://schemas.microsoft.com/office/drawing/2014/main" xmlns="" id="{2D70DAD9-8017-4FA1-8BCE-EDAA319B25E5}"/>
              </a:ext>
            </a:extLst>
          </p:cNvPr>
          <p:cNvGrpSpPr/>
          <p:nvPr/>
        </p:nvGrpSpPr>
        <p:grpSpPr>
          <a:xfrm>
            <a:off x="2648509" y="4033916"/>
            <a:ext cx="589360" cy="589360"/>
            <a:chOff x="827088" y="3339155"/>
            <a:chExt cx="1186165" cy="1186165"/>
          </a:xfrm>
        </p:grpSpPr>
        <p:sp>
          <p:nvSpPr>
            <p:cNvPr id="186" name="Ellipse 185">
              <a:extLst>
                <a:ext uri="{FF2B5EF4-FFF2-40B4-BE49-F238E27FC236}">
                  <a16:creationId xmlns:a16="http://schemas.microsoft.com/office/drawing/2014/main" xmlns="" id="{40CA1979-FF77-4A4C-A7AA-87FBCE085B18}"/>
                </a:ext>
              </a:extLst>
            </p:cNvPr>
            <p:cNvSpPr/>
            <p:nvPr/>
          </p:nvSpPr>
          <p:spPr>
            <a:xfrm>
              <a:off x="827088" y="3339155"/>
              <a:ext cx="1186165" cy="1186165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400" dirty="0" err="1">
                <a:solidFill>
                  <a:srgbClr val="344046"/>
                </a:solidFill>
              </a:endParaRPr>
            </a:p>
          </p:txBody>
        </p:sp>
        <p:grpSp>
          <p:nvGrpSpPr>
            <p:cNvPr id="187" name="Gruppieren 186">
              <a:extLst>
                <a:ext uri="{FF2B5EF4-FFF2-40B4-BE49-F238E27FC236}">
                  <a16:creationId xmlns:a16="http://schemas.microsoft.com/office/drawing/2014/main" xmlns="" id="{A2E7530D-77FE-4277-AFD5-D964A5E926FC}"/>
                </a:ext>
              </a:extLst>
            </p:cNvPr>
            <p:cNvGrpSpPr/>
            <p:nvPr/>
          </p:nvGrpSpPr>
          <p:grpSpPr>
            <a:xfrm>
              <a:off x="868232" y="3379857"/>
              <a:ext cx="1103875" cy="1103875"/>
              <a:chOff x="1482778" y="3392223"/>
              <a:chExt cx="1103875" cy="1103875"/>
            </a:xfrm>
          </p:grpSpPr>
          <p:sp>
            <p:nvSpPr>
              <p:cNvPr id="188" name="Ellipse 187">
                <a:extLst>
                  <a:ext uri="{FF2B5EF4-FFF2-40B4-BE49-F238E27FC236}">
                    <a16:creationId xmlns:a16="http://schemas.microsoft.com/office/drawing/2014/main" xmlns="" id="{8A2D7133-1883-438E-B925-1AB37C5572F9}"/>
                  </a:ext>
                </a:extLst>
              </p:cNvPr>
              <p:cNvSpPr/>
              <p:nvPr/>
            </p:nvSpPr>
            <p:spPr>
              <a:xfrm>
                <a:off x="1482778" y="3392223"/>
                <a:ext cx="1103875" cy="1103875"/>
              </a:xfrm>
              <a:prstGeom prst="ellipse">
                <a:avLst/>
              </a:prstGeom>
              <a:solidFill>
                <a:schemeClr val="accent1">
                  <a:lumMod val="75000"/>
                </a:scheme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400" dirty="0" err="1">
                  <a:solidFill>
                    <a:srgbClr val="344046"/>
                  </a:solidFill>
                </a:endParaRPr>
              </a:p>
            </p:txBody>
          </p:sp>
          <p:pic>
            <p:nvPicPr>
              <p:cNvPr id="189" name="Grafik 188">
                <a:extLst>
                  <a:ext uri="{FF2B5EF4-FFF2-40B4-BE49-F238E27FC236}">
                    <a16:creationId xmlns:a16="http://schemas.microsoft.com/office/drawing/2014/main" xmlns="" id="{49DA44BC-3F6D-4B1A-9241-D1BBF21EE0CC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21772" t="16109" r="17533" b="20856"/>
              <a:stretch/>
            </p:blipFill>
            <p:spPr>
              <a:xfrm>
                <a:off x="1655538" y="3426449"/>
                <a:ext cx="906103" cy="982851"/>
              </a:xfrm>
              <a:prstGeom prst="rect">
                <a:avLst/>
              </a:prstGeom>
            </p:spPr>
          </p:pic>
        </p:grpSp>
      </p:grpSp>
      <p:grpSp>
        <p:nvGrpSpPr>
          <p:cNvPr id="2" name="Gruppieren 1">
            <a:extLst>
              <a:ext uri="{FF2B5EF4-FFF2-40B4-BE49-F238E27FC236}">
                <a16:creationId xmlns:a16="http://schemas.microsoft.com/office/drawing/2014/main" xmlns="" id="{9F3CA505-AFF6-4CBD-B036-D1BE1A9A09E0}"/>
              </a:ext>
            </a:extLst>
          </p:cNvPr>
          <p:cNvGrpSpPr/>
          <p:nvPr/>
        </p:nvGrpSpPr>
        <p:grpSpPr>
          <a:xfrm>
            <a:off x="3371299" y="4023119"/>
            <a:ext cx="589360" cy="589360"/>
            <a:chOff x="4521485" y="4023119"/>
            <a:chExt cx="589360" cy="589360"/>
          </a:xfrm>
        </p:grpSpPr>
        <p:grpSp>
          <p:nvGrpSpPr>
            <p:cNvPr id="191" name="Gruppieren 190">
              <a:extLst>
                <a:ext uri="{FF2B5EF4-FFF2-40B4-BE49-F238E27FC236}">
                  <a16:creationId xmlns:a16="http://schemas.microsoft.com/office/drawing/2014/main" xmlns="" id="{4148BC66-0B2D-47BD-A806-C9835C102127}"/>
                </a:ext>
              </a:extLst>
            </p:cNvPr>
            <p:cNvGrpSpPr/>
            <p:nvPr/>
          </p:nvGrpSpPr>
          <p:grpSpPr>
            <a:xfrm>
              <a:off x="4521485" y="4023119"/>
              <a:ext cx="589360" cy="589360"/>
              <a:chOff x="827088" y="3339155"/>
              <a:chExt cx="1186165" cy="1186165"/>
            </a:xfrm>
          </p:grpSpPr>
          <p:sp>
            <p:nvSpPr>
              <p:cNvPr id="203" name="Ellipse 202">
                <a:extLst>
                  <a:ext uri="{FF2B5EF4-FFF2-40B4-BE49-F238E27FC236}">
                    <a16:creationId xmlns:a16="http://schemas.microsoft.com/office/drawing/2014/main" xmlns="" id="{E49A6769-8EF9-4669-8B7B-F5B1ED982092}"/>
                  </a:ext>
                </a:extLst>
              </p:cNvPr>
              <p:cNvSpPr/>
              <p:nvPr/>
            </p:nvSpPr>
            <p:spPr>
              <a:xfrm>
                <a:off x="827088" y="3339155"/>
                <a:ext cx="1186165" cy="1186165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400" dirty="0" err="1">
                  <a:solidFill>
                    <a:srgbClr val="344046"/>
                  </a:solidFill>
                </a:endParaRPr>
              </a:p>
            </p:txBody>
          </p:sp>
          <p:sp>
            <p:nvSpPr>
              <p:cNvPr id="204" name="Ellipse 203">
                <a:extLst>
                  <a:ext uri="{FF2B5EF4-FFF2-40B4-BE49-F238E27FC236}">
                    <a16:creationId xmlns:a16="http://schemas.microsoft.com/office/drawing/2014/main" xmlns="" id="{70FD7F99-BEAF-42F6-A918-00A9DED3FC39}"/>
                  </a:ext>
                </a:extLst>
              </p:cNvPr>
              <p:cNvSpPr/>
              <p:nvPr/>
            </p:nvSpPr>
            <p:spPr>
              <a:xfrm>
                <a:off x="868232" y="3379857"/>
                <a:ext cx="1103875" cy="1103875"/>
              </a:xfrm>
              <a:prstGeom prst="ellipse">
                <a:avLst/>
              </a:prstGeom>
              <a:solidFill>
                <a:schemeClr val="accent1">
                  <a:lumMod val="75000"/>
                </a:scheme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400" dirty="0" err="1">
                  <a:solidFill>
                    <a:srgbClr val="344046"/>
                  </a:solidFill>
                </a:endParaRPr>
              </a:p>
            </p:txBody>
          </p:sp>
        </p:grpSp>
        <p:sp>
          <p:nvSpPr>
            <p:cNvPr id="192" name="Ellipse 191">
              <a:extLst>
                <a:ext uri="{FF2B5EF4-FFF2-40B4-BE49-F238E27FC236}">
                  <a16:creationId xmlns:a16="http://schemas.microsoft.com/office/drawing/2014/main" xmlns="" id="{C98BE62E-9CC0-46FF-86EB-FE94E3CB10EA}"/>
                </a:ext>
              </a:extLst>
            </p:cNvPr>
            <p:cNvSpPr/>
            <p:nvPr/>
          </p:nvSpPr>
          <p:spPr>
            <a:xfrm>
              <a:off x="4735857" y="4247805"/>
              <a:ext cx="99569" cy="105483"/>
            </a:xfrm>
            <a:prstGeom prst="ellipse">
              <a:avLst/>
            </a:prstGeom>
            <a:ln w="19050" cap="rnd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e-DE" dirty="0" err="1"/>
            </a:p>
          </p:txBody>
        </p:sp>
        <p:sp>
          <p:nvSpPr>
            <p:cNvPr id="193" name="Ellipse 192">
              <a:extLst>
                <a:ext uri="{FF2B5EF4-FFF2-40B4-BE49-F238E27FC236}">
                  <a16:creationId xmlns:a16="http://schemas.microsoft.com/office/drawing/2014/main" xmlns="" id="{FCFB226E-D491-4687-9727-C5F486E989DD}"/>
                </a:ext>
              </a:extLst>
            </p:cNvPr>
            <p:cNvSpPr/>
            <p:nvPr/>
          </p:nvSpPr>
          <p:spPr>
            <a:xfrm>
              <a:off x="4886707" y="4111335"/>
              <a:ext cx="99569" cy="105483"/>
            </a:xfrm>
            <a:prstGeom prst="ellipse">
              <a:avLst/>
            </a:prstGeom>
            <a:ln w="19050" cap="rnd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e-DE" dirty="0" err="1"/>
            </a:p>
          </p:txBody>
        </p:sp>
        <p:cxnSp>
          <p:nvCxnSpPr>
            <p:cNvPr id="194" name="Gerader Verbinder 193">
              <a:extLst>
                <a:ext uri="{FF2B5EF4-FFF2-40B4-BE49-F238E27FC236}">
                  <a16:creationId xmlns:a16="http://schemas.microsoft.com/office/drawing/2014/main" xmlns="" id="{32606294-A5BE-40B0-967C-CC15CCC4DBD3}"/>
                </a:ext>
              </a:extLst>
            </p:cNvPr>
            <p:cNvCxnSpPr>
              <a:cxnSpLocks/>
              <a:stCxn id="193" idx="3"/>
              <a:endCxn id="192" idx="7"/>
            </p:cNvCxnSpPr>
            <p:nvPr/>
          </p:nvCxnSpPr>
          <p:spPr>
            <a:xfrm flipH="1">
              <a:off x="4820844" y="4201371"/>
              <a:ext cx="80444" cy="61880"/>
            </a:xfrm>
            <a:prstGeom prst="line">
              <a:avLst/>
            </a:prstGeom>
            <a:ln w="19050" cap="rnd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95" name="Ellipse 194">
              <a:extLst>
                <a:ext uri="{FF2B5EF4-FFF2-40B4-BE49-F238E27FC236}">
                  <a16:creationId xmlns:a16="http://schemas.microsoft.com/office/drawing/2014/main" xmlns="" id="{A9F7CE45-9071-4955-B0F0-F486695503CA}"/>
                </a:ext>
              </a:extLst>
            </p:cNvPr>
            <p:cNvSpPr/>
            <p:nvPr/>
          </p:nvSpPr>
          <p:spPr>
            <a:xfrm>
              <a:off x="4963194" y="4316763"/>
              <a:ext cx="82111" cy="82111"/>
            </a:xfrm>
            <a:prstGeom prst="ellipse">
              <a:avLst/>
            </a:prstGeom>
            <a:solidFill>
              <a:schemeClr val="bg1"/>
            </a:solidFill>
            <a:ln w="19050" cap="rnd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e-DE" sz="1400" dirty="0" err="1">
                <a:solidFill>
                  <a:srgbClr val="344046"/>
                </a:solidFill>
              </a:endParaRPr>
            </a:p>
          </p:txBody>
        </p:sp>
        <p:sp>
          <p:nvSpPr>
            <p:cNvPr id="196" name="Ellipse 195">
              <a:extLst>
                <a:ext uri="{FF2B5EF4-FFF2-40B4-BE49-F238E27FC236}">
                  <a16:creationId xmlns:a16="http://schemas.microsoft.com/office/drawing/2014/main" xmlns="" id="{42369248-3410-4C64-A761-48ED4EF70C1D}"/>
                </a:ext>
              </a:extLst>
            </p:cNvPr>
            <p:cNvSpPr/>
            <p:nvPr/>
          </p:nvSpPr>
          <p:spPr>
            <a:xfrm>
              <a:off x="4640150" y="4118047"/>
              <a:ext cx="82111" cy="82111"/>
            </a:xfrm>
            <a:prstGeom prst="ellipse">
              <a:avLst/>
            </a:prstGeom>
            <a:solidFill>
              <a:schemeClr val="bg1"/>
            </a:solidFill>
            <a:ln w="19050" cap="rnd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e-DE" sz="1400" dirty="0" err="1">
                <a:solidFill>
                  <a:srgbClr val="344046"/>
                </a:solidFill>
              </a:endParaRPr>
            </a:p>
          </p:txBody>
        </p:sp>
        <p:sp>
          <p:nvSpPr>
            <p:cNvPr id="197" name="Ellipse 196">
              <a:extLst>
                <a:ext uri="{FF2B5EF4-FFF2-40B4-BE49-F238E27FC236}">
                  <a16:creationId xmlns:a16="http://schemas.microsoft.com/office/drawing/2014/main" xmlns="" id="{3BB37C17-EBEA-427B-B8F9-58B340274FF0}"/>
                </a:ext>
              </a:extLst>
            </p:cNvPr>
            <p:cNvSpPr/>
            <p:nvPr/>
          </p:nvSpPr>
          <p:spPr>
            <a:xfrm>
              <a:off x="4793185" y="4429872"/>
              <a:ext cx="99569" cy="105483"/>
            </a:xfrm>
            <a:prstGeom prst="ellipse">
              <a:avLst/>
            </a:prstGeom>
            <a:ln w="19050" cap="rnd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e-DE" dirty="0" err="1"/>
            </a:p>
          </p:txBody>
        </p:sp>
        <p:cxnSp>
          <p:nvCxnSpPr>
            <p:cNvPr id="198" name="Gerader Verbinder 197">
              <a:extLst>
                <a:ext uri="{FF2B5EF4-FFF2-40B4-BE49-F238E27FC236}">
                  <a16:creationId xmlns:a16="http://schemas.microsoft.com/office/drawing/2014/main" xmlns="" id="{BFF58F5F-D4AB-46C8-BD50-590FDBECC841}"/>
                </a:ext>
              </a:extLst>
            </p:cNvPr>
            <p:cNvCxnSpPr>
              <a:cxnSpLocks/>
              <a:stCxn id="197" idx="0"/>
            </p:cNvCxnSpPr>
            <p:nvPr/>
          </p:nvCxnSpPr>
          <p:spPr>
            <a:xfrm flipH="1" flipV="1">
              <a:off x="4802528" y="4353287"/>
              <a:ext cx="40441" cy="76585"/>
            </a:xfrm>
            <a:prstGeom prst="line">
              <a:avLst/>
            </a:prstGeom>
            <a:ln w="19050" cap="rnd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9" name="Gerader Verbinder 198">
              <a:extLst>
                <a:ext uri="{FF2B5EF4-FFF2-40B4-BE49-F238E27FC236}">
                  <a16:creationId xmlns:a16="http://schemas.microsoft.com/office/drawing/2014/main" xmlns="" id="{7E92AC76-6AB9-4FFA-91E4-C340FC9A0FE9}"/>
                </a:ext>
              </a:extLst>
            </p:cNvPr>
            <p:cNvCxnSpPr>
              <a:cxnSpLocks/>
              <a:endCxn id="192" idx="6"/>
            </p:cNvCxnSpPr>
            <p:nvPr/>
          </p:nvCxnSpPr>
          <p:spPr>
            <a:xfrm flipH="1" flipV="1">
              <a:off x="4835426" y="4300546"/>
              <a:ext cx="161978" cy="55041"/>
            </a:xfrm>
            <a:prstGeom prst="line">
              <a:avLst/>
            </a:prstGeom>
            <a:ln w="19050" cap="rnd">
              <a:solidFill>
                <a:schemeClr val="bg1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0" name="Gerader Verbinder 199">
              <a:extLst>
                <a:ext uri="{FF2B5EF4-FFF2-40B4-BE49-F238E27FC236}">
                  <a16:creationId xmlns:a16="http://schemas.microsoft.com/office/drawing/2014/main" xmlns="" id="{161A7317-BD78-4834-BDCE-28EDC44F4F4D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4696912" y="4173667"/>
              <a:ext cx="60875" cy="82232"/>
            </a:xfrm>
            <a:prstGeom prst="line">
              <a:avLst/>
            </a:prstGeom>
            <a:ln w="19050" cap="rnd">
              <a:solidFill>
                <a:schemeClr val="bg1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1" name="Ellipse 200">
              <a:extLst>
                <a:ext uri="{FF2B5EF4-FFF2-40B4-BE49-F238E27FC236}">
                  <a16:creationId xmlns:a16="http://schemas.microsoft.com/office/drawing/2014/main" xmlns="" id="{27A7DA8D-6793-468D-A64A-2888EDECF1C5}"/>
                </a:ext>
              </a:extLst>
            </p:cNvPr>
            <p:cNvSpPr/>
            <p:nvPr/>
          </p:nvSpPr>
          <p:spPr>
            <a:xfrm>
              <a:off x="4618810" y="4357816"/>
              <a:ext cx="82111" cy="82111"/>
            </a:xfrm>
            <a:prstGeom prst="ellipse">
              <a:avLst/>
            </a:prstGeom>
            <a:solidFill>
              <a:schemeClr val="bg1"/>
            </a:solidFill>
            <a:ln w="19050" cap="rnd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e-DE" sz="1400" dirty="0" err="1">
                <a:solidFill>
                  <a:srgbClr val="344046"/>
                </a:solidFill>
              </a:endParaRPr>
            </a:p>
          </p:txBody>
        </p:sp>
        <p:cxnSp>
          <p:nvCxnSpPr>
            <p:cNvPr id="202" name="Gerader Verbinder 201">
              <a:extLst>
                <a:ext uri="{FF2B5EF4-FFF2-40B4-BE49-F238E27FC236}">
                  <a16:creationId xmlns:a16="http://schemas.microsoft.com/office/drawing/2014/main" xmlns="" id="{770F8865-327C-4E50-A8B8-22ECE1149B7E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4669465" y="4334970"/>
              <a:ext cx="82666" cy="51334"/>
            </a:xfrm>
            <a:prstGeom prst="line">
              <a:avLst/>
            </a:prstGeom>
            <a:ln w="19050" cap="rnd">
              <a:solidFill>
                <a:schemeClr val="bg1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05" name="Group 24">
            <a:extLst>
              <a:ext uri="{FF2B5EF4-FFF2-40B4-BE49-F238E27FC236}">
                <a16:creationId xmlns:a16="http://schemas.microsoft.com/office/drawing/2014/main" xmlns="" id="{2AAC8FD9-0902-4579-B573-356B0C7106D9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161842" y="3416663"/>
            <a:ext cx="526486" cy="416186"/>
            <a:chOff x="395" y="1827"/>
            <a:chExt cx="463" cy="366"/>
          </a:xfrm>
          <a:effectLst>
            <a:outerShdw blurRad="101600" dist="76200" dir="2700000" algn="ctr" rotWithShape="0">
              <a:srgbClr val="000000">
                <a:alpha val="29000"/>
              </a:srgbClr>
            </a:outerShdw>
          </a:effectLst>
        </p:grpSpPr>
        <p:sp>
          <p:nvSpPr>
            <p:cNvPr id="206" name="AutoShape 23">
              <a:extLst>
                <a:ext uri="{FF2B5EF4-FFF2-40B4-BE49-F238E27FC236}">
                  <a16:creationId xmlns:a16="http://schemas.microsoft.com/office/drawing/2014/main" xmlns="" id="{2E2C6E77-2E12-4E10-AD10-FA0D587EAABC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95" y="1827"/>
              <a:ext cx="463" cy="3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Freeform 25">
              <a:extLst>
                <a:ext uri="{FF2B5EF4-FFF2-40B4-BE49-F238E27FC236}">
                  <a16:creationId xmlns:a16="http://schemas.microsoft.com/office/drawing/2014/main" xmlns="" id="{1E77EA0D-03FD-4DD3-B9A8-B55A0239D94A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" y="1827"/>
              <a:ext cx="466" cy="365"/>
            </a:xfrm>
            <a:custGeom>
              <a:avLst/>
              <a:gdLst>
                <a:gd name="T0" fmla="*/ 566 w 582"/>
                <a:gd name="T1" fmla="*/ 111 h 458"/>
                <a:gd name="T2" fmla="*/ 577 w 582"/>
                <a:gd name="T3" fmla="*/ 117 h 458"/>
                <a:gd name="T4" fmla="*/ 579 w 582"/>
                <a:gd name="T5" fmla="*/ 128 h 458"/>
                <a:gd name="T6" fmla="*/ 579 w 582"/>
                <a:gd name="T7" fmla="*/ 151 h 458"/>
                <a:gd name="T8" fmla="*/ 579 w 582"/>
                <a:gd name="T9" fmla="*/ 151 h 458"/>
                <a:gd name="T10" fmla="*/ 581 w 582"/>
                <a:gd name="T11" fmla="*/ 165 h 458"/>
                <a:gd name="T12" fmla="*/ 581 w 582"/>
                <a:gd name="T13" fmla="*/ 172 h 458"/>
                <a:gd name="T14" fmla="*/ 579 w 582"/>
                <a:gd name="T15" fmla="*/ 187 h 458"/>
                <a:gd name="T16" fmla="*/ 580 w 582"/>
                <a:gd name="T17" fmla="*/ 188 h 458"/>
                <a:gd name="T18" fmla="*/ 581 w 582"/>
                <a:gd name="T19" fmla="*/ 201 h 458"/>
                <a:gd name="T20" fmla="*/ 581 w 582"/>
                <a:gd name="T21" fmla="*/ 208 h 458"/>
                <a:gd name="T22" fmla="*/ 579 w 582"/>
                <a:gd name="T23" fmla="*/ 223 h 458"/>
                <a:gd name="T24" fmla="*/ 580 w 582"/>
                <a:gd name="T25" fmla="*/ 225 h 458"/>
                <a:gd name="T26" fmla="*/ 581 w 582"/>
                <a:gd name="T27" fmla="*/ 238 h 458"/>
                <a:gd name="T28" fmla="*/ 581 w 582"/>
                <a:gd name="T29" fmla="*/ 245 h 458"/>
                <a:gd name="T30" fmla="*/ 579 w 582"/>
                <a:gd name="T31" fmla="*/ 259 h 458"/>
                <a:gd name="T32" fmla="*/ 580 w 582"/>
                <a:gd name="T33" fmla="*/ 261 h 458"/>
                <a:gd name="T34" fmla="*/ 581 w 582"/>
                <a:gd name="T35" fmla="*/ 274 h 458"/>
                <a:gd name="T36" fmla="*/ 581 w 582"/>
                <a:gd name="T37" fmla="*/ 281 h 458"/>
                <a:gd name="T38" fmla="*/ 564 w 582"/>
                <a:gd name="T39" fmla="*/ 314 h 458"/>
                <a:gd name="T40" fmla="*/ 436 w 582"/>
                <a:gd name="T41" fmla="*/ 388 h 458"/>
                <a:gd name="T42" fmla="*/ 410 w 582"/>
                <a:gd name="T43" fmla="*/ 392 h 458"/>
                <a:gd name="T44" fmla="*/ 285 w 582"/>
                <a:gd name="T45" fmla="*/ 458 h 458"/>
                <a:gd name="T46" fmla="*/ 161 w 582"/>
                <a:gd name="T47" fmla="*/ 391 h 458"/>
                <a:gd name="T48" fmla="*/ 161 w 582"/>
                <a:gd name="T49" fmla="*/ 386 h 458"/>
                <a:gd name="T50" fmla="*/ 125 w 582"/>
                <a:gd name="T51" fmla="*/ 389 h 458"/>
                <a:gd name="T52" fmla="*/ 0 w 582"/>
                <a:gd name="T53" fmla="*/ 322 h 458"/>
                <a:gd name="T54" fmla="*/ 0 w 582"/>
                <a:gd name="T55" fmla="*/ 231 h 458"/>
                <a:gd name="T56" fmla="*/ 2 w 582"/>
                <a:gd name="T57" fmla="*/ 233 h 458"/>
                <a:gd name="T58" fmla="*/ 108 w 582"/>
                <a:gd name="T59" fmla="*/ 178 h 458"/>
                <a:gd name="T60" fmla="*/ 108 w 582"/>
                <a:gd name="T61" fmla="*/ 178 h 458"/>
                <a:gd name="T62" fmla="*/ 106 w 582"/>
                <a:gd name="T63" fmla="*/ 177 h 458"/>
                <a:gd name="T64" fmla="*/ 108 w 582"/>
                <a:gd name="T65" fmla="*/ 174 h 458"/>
                <a:gd name="T66" fmla="*/ 108 w 582"/>
                <a:gd name="T67" fmla="*/ 173 h 458"/>
                <a:gd name="T68" fmla="*/ 108 w 582"/>
                <a:gd name="T69" fmla="*/ 162 h 458"/>
                <a:gd name="T70" fmla="*/ 108 w 582"/>
                <a:gd name="T71" fmla="*/ 160 h 458"/>
                <a:gd name="T72" fmla="*/ 106 w 582"/>
                <a:gd name="T73" fmla="*/ 160 h 458"/>
                <a:gd name="T74" fmla="*/ 108 w 582"/>
                <a:gd name="T75" fmla="*/ 156 h 458"/>
                <a:gd name="T76" fmla="*/ 109 w 582"/>
                <a:gd name="T77" fmla="*/ 151 h 458"/>
                <a:gd name="T78" fmla="*/ 110 w 582"/>
                <a:gd name="T79" fmla="*/ 149 h 458"/>
                <a:gd name="T80" fmla="*/ 108 w 582"/>
                <a:gd name="T81" fmla="*/ 141 h 458"/>
                <a:gd name="T82" fmla="*/ 106 w 582"/>
                <a:gd name="T83" fmla="*/ 140 h 458"/>
                <a:gd name="T84" fmla="*/ 108 w 582"/>
                <a:gd name="T85" fmla="*/ 137 h 458"/>
                <a:gd name="T86" fmla="*/ 108 w 582"/>
                <a:gd name="T87" fmla="*/ 136 h 458"/>
                <a:gd name="T88" fmla="*/ 108 w 582"/>
                <a:gd name="T89" fmla="*/ 125 h 458"/>
                <a:gd name="T90" fmla="*/ 106 w 582"/>
                <a:gd name="T91" fmla="*/ 125 h 458"/>
                <a:gd name="T92" fmla="*/ 108 w 582"/>
                <a:gd name="T93" fmla="*/ 121 h 458"/>
                <a:gd name="T94" fmla="*/ 109 w 582"/>
                <a:gd name="T95" fmla="*/ 113 h 458"/>
                <a:gd name="T96" fmla="*/ 110 w 582"/>
                <a:gd name="T97" fmla="*/ 113 h 458"/>
                <a:gd name="T98" fmla="*/ 122 w 582"/>
                <a:gd name="T99" fmla="*/ 74 h 458"/>
                <a:gd name="T100" fmla="*/ 139 w 582"/>
                <a:gd name="T101" fmla="*/ 65 h 458"/>
                <a:gd name="T102" fmla="*/ 249 w 582"/>
                <a:gd name="T103" fmla="*/ 5 h 458"/>
                <a:gd name="T104" fmla="*/ 277 w 582"/>
                <a:gd name="T105" fmla="*/ 3 h 458"/>
                <a:gd name="T106" fmla="*/ 379 w 582"/>
                <a:gd name="T107" fmla="*/ 41 h 458"/>
                <a:gd name="T108" fmla="*/ 379 w 582"/>
                <a:gd name="T109" fmla="*/ 41 h 458"/>
                <a:gd name="T110" fmla="*/ 549 w 582"/>
                <a:gd name="T111" fmla="*/ 105 h 458"/>
                <a:gd name="T112" fmla="*/ 566 w 582"/>
                <a:gd name="T113" fmla="*/ 111 h 4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582" h="458">
                  <a:moveTo>
                    <a:pt x="566" y="111"/>
                  </a:moveTo>
                  <a:cubicBezTo>
                    <a:pt x="577" y="117"/>
                    <a:pt x="577" y="117"/>
                    <a:pt x="577" y="117"/>
                  </a:cubicBezTo>
                  <a:cubicBezTo>
                    <a:pt x="579" y="128"/>
                    <a:pt x="579" y="128"/>
                    <a:pt x="579" y="128"/>
                  </a:cubicBezTo>
                  <a:cubicBezTo>
                    <a:pt x="582" y="135"/>
                    <a:pt x="582" y="144"/>
                    <a:pt x="579" y="151"/>
                  </a:cubicBezTo>
                  <a:cubicBezTo>
                    <a:pt x="579" y="151"/>
                    <a:pt x="579" y="151"/>
                    <a:pt x="579" y="151"/>
                  </a:cubicBezTo>
                  <a:cubicBezTo>
                    <a:pt x="581" y="155"/>
                    <a:pt x="581" y="160"/>
                    <a:pt x="581" y="165"/>
                  </a:cubicBezTo>
                  <a:cubicBezTo>
                    <a:pt x="581" y="172"/>
                    <a:pt x="581" y="172"/>
                    <a:pt x="581" y="172"/>
                  </a:cubicBezTo>
                  <a:cubicBezTo>
                    <a:pt x="581" y="177"/>
                    <a:pt x="581" y="182"/>
                    <a:pt x="579" y="187"/>
                  </a:cubicBezTo>
                  <a:cubicBezTo>
                    <a:pt x="580" y="188"/>
                    <a:pt x="580" y="188"/>
                    <a:pt x="580" y="188"/>
                  </a:cubicBezTo>
                  <a:cubicBezTo>
                    <a:pt x="581" y="193"/>
                    <a:pt x="581" y="197"/>
                    <a:pt x="581" y="201"/>
                  </a:cubicBezTo>
                  <a:cubicBezTo>
                    <a:pt x="581" y="208"/>
                    <a:pt x="581" y="208"/>
                    <a:pt x="581" y="208"/>
                  </a:cubicBezTo>
                  <a:cubicBezTo>
                    <a:pt x="581" y="213"/>
                    <a:pt x="581" y="218"/>
                    <a:pt x="579" y="223"/>
                  </a:cubicBezTo>
                  <a:cubicBezTo>
                    <a:pt x="580" y="225"/>
                    <a:pt x="580" y="225"/>
                    <a:pt x="580" y="225"/>
                  </a:cubicBezTo>
                  <a:cubicBezTo>
                    <a:pt x="581" y="229"/>
                    <a:pt x="581" y="233"/>
                    <a:pt x="581" y="238"/>
                  </a:cubicBezTo>
                  <a:cubicBezTo>
                    <a:pt x="581" y="245"/>
                    <a:pt x="581" y="245"/>
                    <a:pt x="581" y="245"/>
                  </a:cubicBezTo>
                  <a:cubicBezTo>
                    <a:pt x="581" y="250"/>
                    <a:pt x="581" y="255"/>
                    <a:pt x="579" y="259"/>
                  </a:cubicBezTo>
                  <a:cubicBezTo>
                    <a:pt x="580" y="261"/>
                    <a:pt x="580" y="261"/>
                    <a:pt x="580" y="261"/>
                  </a:cubicBezTo>
                  <a:cubicBezTo>
                    <a:pt x="581" y="265"/>
                    <a:pt x="581" y="270"/>
                    <a:pt x="581" y="274"/>
                  </a:cubicBezTo>
                  <a:cubicBezTo>
                    <a:pt x="581" y="281"/>
                    <a:pt x="581" y="281"/>
                    <a:pt x="581" y="281"/>
                  </a:cubicBezTo>
                  <a:cubicBezTo>
                    <a:pt x="582" y="294"/>
                    <a:pt x="576" y="307"/>
                    <a:pt x="564" y="314"/>
                  </a:cubicBezTo>
                  <a:cubicBezTo>
                    <a:pt x="436" y="388"/>
                    <a:pt x="436" y="388"/>
                    <a:pt x="436" y="388"/>
                  </a:cubicBezTo>
                  <a:cubicBezTo>
                    <a:pt x="429" y="393"/>
                    <a:pt x="419" y="394"/>
                    <a:pt x="410" y="392"/>
                  </a:cubicBezTo>
                  <a:cubicBezTo>
                    <a:pt x="409" y="435"/>
                    <a:pt x="347" y="458"/>
                    <a:pt x="285" y="458"/>
                  </a:cubicBezTo>
                  <a:cubicBezTo>
                    <a:pt x="223" y="458"/>
                    <a:pt x="161" y="435"/>
                    <a:pt x="161" y="391"/>
                  </a:cubicBezTo>
                  <a:cubicBezTo>
                    <a:pt x="161" y="386"/>
                    <a:pt x="161" y="386"/>
                    <a:pt x="161" y="386"/>
                  </a:cubicBezTo>
                  <a:cubicBezTo>
                    <a:pt x="149" y="388"/>
                    <a:pt x="137" y="389"/>
                    <a:pt x="125" y="389"/>
                  </a:cubicBezTo>
                  <a:cubicBezTo>
                    <a:pt x="63" y="389"/>
                    <a:pt x="0" y="366"/>
                    <a:pt x="0" y="322"/>
                  </a:cubicBezTo>
                  <a:cubicBezTo>
                    <a:pt x="0" y="231"/>
                    <a:pt x="0" y="231"/>
                    <a:pt x="0" y="231"/>
                  </a:cubicBezTo>
                  <a:cubicBezTo>
                    <a:pt x="2" y="233"/>
                    <a:pt x="2" y="233"/>
                    <a:pt x="2" y="233"/>
                  </a:cubicBezTo>
                  <a:cubicBezTo>
                    <a:pt x="11" y="200"/>
                    <a:pt x="58" y="182"/>
                    <a:pt x="108" y="178"/>
                  </a:cubicBezTo>
                  <a:cubicBezTo>
                    <a:pt x="108" y="178"/>
                    <a:pt x="108" y="178"/>
                    <a:pt x="108" y="178"/>
                  </a:cubicBezTo>
                  <a:cubicBezTo>
                    <a:pt x="106" y="177"/>
                    <a:pt x="106" y="177"/>
                    <a:pt x="106" y="177"/>
                  </a:cubicBezTo>
                  <a:cubicBezTo>
                    <a:pt x="108" y="174"/>
                    <a:pt x="108" y="174"/>
                    <a:pt x="108" y="174"/>
                  </a:cubicBezTo>
                  <a:cubicBezTo>
                    <a:pt x="108" y="173"/>
                    <a:pt x="108" y="173"/>
                    <a:pt x="108" y="173"/>
                  </a:cubicBezTo>
                  <a:cubicBezTo>
                    <a:pt x="108" y="162"/>
                    <a:pt x="108" y="162"/>
                    <a:pt x="108" y="162"/>
                  </a:cubicBezTo>
                  <a:cubicBezTo>
                    <a:pt x="108" y="161"/>
                    <a:pt x="108" y="161"/>
                    <a:pt x="108" y="160"/>
                  </a:cubicBezTo>
                  <a:cubicBezTo>
                    <a:pt x="106" y="160"/>
                    <a:pt x="106" y="160"/>
                    <a:pt x="106" y="160"/>
                  </a:cubicBezTo>
                  <a:cubicBezTo>
                    <a:pt x="108" y="156"/>
                    <a:pt x="108" y="156"/>
                    <a:pt x="108" y="156"/>
                  </a:cubicBezTo>
                  <a:cubicBezTo>
                    <a:pt x="108" y="154"/>
                    <a:pt x="109" y="152"/>
                    <a:pt x="109" y="151"/>
                  </a:cubicBezTo>
                  <a:cubicBezTo>
                    <a:pt x="110" y="149"/>
                    <a:pt x="110" y="149"/>
                    <a:pt x="110" y="149"/>
                  </a:cubicBezTo>
                  <a:cubicBezTo>
                    <a:pt x="109" y="146"/>
                    <a:pt x="108" y="143"/>
                    <a:pt x="108" y="141"/>
                  </a:cubicBezTo>
                  <a:cubicBezTo>
                    <a:pt x="106" y="140"/>
                    <a:pt x="106" y="140"/>
                    <a:pt x="106" y="140"/>
                  </a:cubicBezTo>
                  <a:cubicBezTo>
                    <a:pt x="108" y="137"/>
                    <a:pt x="108" y="137"/>
                    <a:pt x="108" y="137"/>
                  </a:cubicBezTo>
                  <a:cubicBezTo>
                    <a:pt x="108" y="137"/>
                    <a:pt x="108" y="136"/>
                    <a:pt x="108" y="136"/>
                  </a:cubicBezTo>
                  <a:cubicBezTo>
                    <a:pt x="108" y="125"/>
                    <a:pt x="108" y="125"/>
                    <a:pt x="108" y="125"/>
                  </a:cubicBezTo>
                  <a:cubicBezTo>
                    <a:pt x="106" y="125"/>
                    <a:pt x="106" y="125"/>
                    <a:pt x="106" y="125"/>
                  </a:cubicBezTo>
                  <a:cubicBezTo>
                    <a:pt x="108" y="121"/>
                    <a:pt x="108" y="121"/>
                    <a:pt x="108" y="121"/>
                  </a:cubicBezTo>
                  <a:cubicBezTo>
                    <a:pt x="108" y="118"/>
                    <a:pt x="109" y="116"/>
                    <a:pt x="109" y="113"/>
                  </a:cubicBezTo>
                  <a:cubicBezTo>
                    <a:pt x="110" y="113"/>
                    <a:pt x="110" y="113"/>
                    <a:pt x="110" y="113"/>
                  </a:cubicBezTo>
                  <a:cubicBezTo>
                    <a:pt x="105" y="99"/>
                    <a:pt x="110" y="83"/>
                    <a:pt x="122" y="74"/>
                  </a:cubicBezTo>
                  <a:cubicBezTo>
                    <a:pt x="139" y="65"/>
                    <a:pt x="139" y="65"/>
                    <a:pt x="139" y="65"/>
                  </a:cubicBezTo>
                  <a:cubicBezTo>
                    <a:pt x="249" y="5"/>
                    <a:pt x="249" y="5"/>
                    <a:pt x="249" y="5"/>
                  </a:cubicBezTo>
                  <a:cubicBezTo>
                    <a:pt x="258" y="0"/>
                    <a:pt x="268" y="0"/>
                    <a:pt x="277" y="3"/>
                  </a:cubicBezTo>
                  <a:cubicBezTo>
                    <a:pt x="379" y="41"/>
                    <a:pt x="379" y="41"/>
                    <a:pt x="379" y="41"/>
                  </a:cubicBezTo>
                  <a:cubicBezTo>
                    <a:pt x="379" y="41"/>
                    <a:pt x="379" y="41"/>
                    <a:pt x="379" y="41"/>
                  </a:cubicBezTo>
                  <a:cubicBezTo>
                    <a:pt x="549" y="105"/>
                    <a:pt x="549" y="105"/>
                    <a:pt x="549" y="105"/>
                  </a:cubicBezTo>
                  <a:lnTo>
                    <a:pt x="566" y="11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Freeform 26">
              <a:extLst>
                <a:ext uri="{FF2B5EF4-FFF2-40B4-BE49-F238E27FC236}">
                  <a16:creationId xmlns:a16="http://schemas.microsoft.com/office/drawing/2014/main" xmlns="" id="{DA177905-6ABC-4023-B35C-6D4C90073C9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13" y="1847"/>
              <a:ext cx="427" cy="326"/>
            </a:xfrm>
            <a:custGeom>
              <a:avLst/>
              <a:gdLst>
                <a:gd name="T0" fmla="*/ 0 w 534"/>
                <a:gd name="T1" fmla="*/ 297 h 409"/>
                <a:gd name="T2" fmla="*/ 152 w 534"/>
                <a:gd name="T3" fmla="*/ 294 h 409"/>
                <a:gd name="T4" fmla="*/ 152 w 534"/>
                <a:gd name="T5" fmla="*/ 317 h 409"/>
                <a:gd name="T6" fmla="*/ 533 w 534"/>
                <a:gd name="T7" fmla="*/ 248 h 409"/>
                <a:gd name="T8" fmla="*/ 528 w 534"/>
                <a:gd name="T9" fmla="*/ 268 h 409"/>
                <a:gd name="T10" fmla="*/ 371 w 534"/>
                <a:gd name="T11" fmla="*/ 335 h 409"/>
                <a:gd name="T12" fmla="*/ 371 w 534"/>
                <a:gd name="T13" fmla="*/ 317 h 409"/>
                <a:gd name="T14" fmla="*/ 400 w 534"/>
                <a:gd name="T15" fmla="*/ 323 h 409"/>
                <a:gd name="T16" fmla="*/ 533 w 534"/>
                <a:gd name="T17" fmla="*/ 248 h 409"/>
                <a:gd name="T18" fmla="*/ 215 w 534"/>
                <a:gd name="T19" fmla="*/ 127 h 409"/>
                <a:gd name="T20" fmla="*/ 275 w 534"/>
                <a:gd name="T21" fmla="*/ 141 h 409"/>
                <a:gd name="T22" fmla="*/ 528 w 534"/>
                <a:gd name="T23" fmla="*/ 212 h 409"/>
                <a:gd name="T24" fmla="*/ 369 w 534"/>
                <a:gd name="T25" fmla="*/ 279 h 409"/>
                <a:gd name="T26" fmla="*/ 371 w 534"/>
                <a:gd name="T27" fmla="*/ 299 h 409"/>
                <a:gd name="T28" fmla="*/ 528 w 534"/>
                <a:gd name="T29" fmla="*/ 232 h 409"/>
                <a:gd name="T30" fmla="*/ 533 w 534"/>
                <a:gd name="T31" fmla="*/ 211 h 409"/>
                <a:gd name="T32" fmla="*/ 528 w 534"/>
                <a:gd name="T33" fmla="*/ 176 h 409"/>
                <a:gd name="T34" fmla="*/ 371 w 534"/>
                <a:gd name="T35" fmla="*/ 243 h 409"/>
                <a:gd name="T36" fmla="*/ 400 w 534"/>
                <a:gd name="T37" fmla="*/ 269 h 409"/>
                <a:gd name="T38" fmla="*/ 533 w 534"/>
                <a:gd name="T39" fmla="*/ 185 h 409"/>
                <a:gd name="T40" fmla="*/ 158 w 534"/>
                <a:gd name="T41" fmla="*/ 175 h 409"/>
                <a:gd name="T42" fmla="*/ 114 w 534"/>
                <a:gd name="T43" fmla="*/ 158 h 409"/>
                <a:gd name="T44" fmla="*/ 108 w 534"/>
                <a:gd name="T45" fmla="*/ 136 h 409"/>
                <a:gd name="T46" fmla="*/ 109 w 534"/>
                <a:gd name="T47" fmla="*/ 134 h 409"/>
                <a:gd name="T48" fmla="*/ 171 w 534"/>
                <a:gd name="T49" fmla="*/ 162 h 409"/>
                <a:gd name="T50" fmla="*/ 528 w 534"/>
                <a:gd name="T51" fmla="*/ 139 h 409"/>
                <a:gd name="T52" fmla="*/ 371 w 534"/>
                <a:gd name="T53" fmla="*/ 206 h 409"/>
                <a:gd name="T54" fmla="*/ 371 w 534"/>
                <a:gd name="T55" fmla="*/ 221 h 409"/>
                <a:gd name="T56" fmla="*/ 400 w 534"/>
                <a:gd name="T57" fmla="*/ 233 h 409"/>
                <a:gd name="T58" fmla="*/ 533 w 534"/>
                <a:gd name="T59" fmla="*/ 148 h 409"/>
                <a:gd name="T60" fmla="*/ 114 w 534"/>
                <a:gd name="T61" fmla="*/ 102 h 409"/>
                <a:gd name="T62" fmla="*/ 108 w 534"/>
                <a:gd name="T63" fmla="*/ 96 h 409"/>
                <a:gd name="T64" fmla="*/ 108 w 534"/>
                <a:gd name="T65" fmla="*/ 112 h 409"/>
                <a:gd name="T66" fmla="*/ 114 w 534"/>
                <a:gd name="T67" fmla="*/ 122 h 409"/>
                <a:gd name="T68" fmla="*/ 196 w 534"/>
                <a:gd name="T69" fmla="*/ 135 h 409"/>
                <a:gd name="T70" fmla="*/ 532 w 534"/>
                <a:gd name="T71" fmla="*/ 110 h 409"/>
                <a:gd name="T72" fmla="*/ 432 w 534"/>
                <a:gd name="T73" fmla="*/ 71 h 409"/>
                <a:gd name="T74" fmla="*/ 403 w 534"/>
                <a:gd name="T75" fmla="*/ 88 h 409"/>
                <a:gd name="T76" fmla="*/ 371 w 534"/>
                <a:gd name="T77" fmla="*/ 190 h 409"/>
                <a:gd name="T78" fmla="*/ 245 w 534"/>
                <a:gd name="T79" fmla="*/ 1 h 409"/>
                <a:gd name="T80" fmla="*/ 113 w 534"/>
                <a:gd name="T81" fmla="*/ 69 h 409"/>
                <a:gd name="T82" fmla="*/ 114 w 534"/>
                <a:gd name="T83" fmla="*/ 86 h 409"/>
                <a:gd name="T84" fmla="*/ 334 w 534"/>
                <a:gd name="T85" fmla="*/ 34 h 409"/>
                <a:gd name="T86" fmla="*/ 152 w 534"/>
                <a:gd name="T87" fmla="*/ 269 h 409"/>
                <a:gd name="T88" fmla="*/ 152 w 534"/>
                <a:gd name="T89" fmla="*/ 241 h 409"/>
                <a:gd name="T90" fmla="*/ 15 w 534"/>
                <a:gd name="T91" fmla="*/ 216 h 409"/>
                <a:gd name="T92" fmla="*/ 154 w 534"/>
                <a:gd name="T93" fmla="*/ 183 h 409"/>
                <a:gd name="T94" fmla="*/ 0 w 534"/>
                <a:gd name="T95" fmla="*/ 220 h 409"/>
                <a:gd name="T96" fmla="*/ 152 w 534"/>
                <a:gd name="T97" fmla="*/ 285 h 409"/>
                <a:gd name="T98" fmla="*/ 187 w 534"/>
                <a:gd name="T99" fmla="*/ 356 h 409"/>
                <a:gd name="T100" fmla="*/ 261 w 534"/>
                <a:gd name="T101" fmla="*/ 409 h 409"/>
                <a:gd name="T102" fmla="*/ 336 w 534"/>
                <a:gd name="T103" fmla="*/ 356 h 409"/>
                <a:gd name="T104" fmla="*/ 161 w 534"/>
                <a:gd name="T105" fmla="*/ 290 h 409"/>
                <a:gd name="T106" fmla="*/ 362 w 534"/>
                <a:gd name="T107" fmla="*/ 317 h 409"/>
                <a:gd name="T108" fmla="*/ 336 w 534"/>
                <a:gd name="T109" fmla="*/ 259 h 409"/>
                <a:gd name="T110" fmla="*/ 161 w 534"/>
                <a:gd name="T111" fmla="*/ 269 h 409"/>
                <a:gd name="T112" fmla="*/ 362 w 534"/>
                <a:gd name="T113" fmla="*/ 242 h 409"/>
                <a:gd name="T114" fmla="*/ 362 w 534"/>
                <a:gd name="T115" fmla="*/ 192 h 409"/>
                <a:gd name="T116" fmla="*/ 161 w 534"/>
                <a:gd name="T117" fmla="*/ 192 h 409"/>
                <a:gd name="T118" fmla="*/ 362 w 534"/>
                <a:gd name="T119" fmla="*/ 221 h 409"/>
                <a:gd name="T120" fmla="*/ 261 w 534"/>
                <a:gd name="T121" fmla="*/ 219 h 409"/>
                <a:gd name="T122" fmla="*/ 348 w 534"/>
                <a:gd name="T123" fmla="*/ 189 h 4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534" h="409">
                  <a:moveTo>
                    <a:pt x="152" y="334"/>
                  </a:moveTo>
                  <a:cubicBezTo>
                    <a:pt x="137" y="338"/>
                    <a:pt x="120" y="340"/>
                    <a:pt x="101" y="340"/>
                  </a:cubicBezTo>
                  <a:cubicBezTo>
                    <a:pt x="45" y="340"/>
                    <a:pt x="0" y="320"/>
                    <a:pt x="0" y="297"/>
                  </a:cubicBezTo>
                  <a:cubicBezTo>
                    <a:pt x="0" y="269"/>
                    <a:pt x="0" y="269"/>
                    <a:pt x="0" y="269"/>
                  </a:cubicBezTo>
                  <a:cubicBezTo>
                    <a:pt x="6" y="276"/>
                    <a:pt x="15" y="282"/>
                    <a:pt x="26" y="287"/>
                  </a:cubicBezTo>
                  <a:cubicBezTo>
                    <a:pt x="61" y="302"/>
                    <a:pt x="112" y="304"/>
                    <a:pt x="152" y="294"/>
                  </a:cubicBezTo>
                  <a:cubicBezTo>
                    <a:pt x="152" y="302"/>
                    <a:pt x="152" y="310"/>
                    <a:pt x="152" y="317"/>
                  </a:cubicBezTo>
                  <a:cubicBezTo>
                    <a:pt x="152" y="317"/>
                    <a:pt x="152" y="317"/>
                    <a:pt x="152" y="317"/>
                  </a:cubicBezTo>
                  <a:cubicBezTo>
                    <a:pt x="152" y="317"/>
                    <a:pt x="152" y="317"/>
                    <a:pt x="152" y="317"/>
                  </a:cubicBezTo>
                  <a:cubicBezTo>
                    <a:pt x="152" y="321"/>
                    <a:pt x="153" y="324"/>
                    <a:pt x="154" y="327"/>
                  </a:cubicBezTo>
                  <a:cubicBezTo>
                    <a:pt x="153" y="329"/>
                    <a:pt x="153" y="332"/>
                    <a:pt x="152" y="334"/>
                  </a:cubicBezTo>
                  <a:close/>
                  <a:moveTo>
                    <a:pt x="533" y="248"/>
                  </a:moveTo>
                  <a:cubicBezTo>
                    <a:pt x="533" y="258"/>
                    <a:pt x="533" y="258"/>
                    <a:pt x="533" y="258"/>
                  </a:cubicBezTo>
                  <a:cubicBezTo>
                    <a:pt x="533" y="258"/>
                    <a:pt x="533" y="258"/>
                    <a:pt x="533" y="258"/>
                  </a:cubicBezTo>
                  <a:cubicBezTo>
                    <a:pt x="534" y="262"/>
                    <a:pt x="532" y="266"/>
                    <a:pt x="528" y="268"/>
                  </a:cubicBezTo>
                  <a:cubicBezTo>
                    <a:pt x="400" y="342"/>
                    <a:pt x="400" y="342"/>
                    <a:pt x="400" y="342"/>
                  </a:cubicBezTo>
                  <a:cubicBezTo>
                    <a:pt x="397" y="344"/>
                    <a:pt x="394" y="344"/>
                    <a:pt x="391" y="343"/>
                  </a:cubicBezTo>
                  <a:cubicBezTo>
                    <a:pt x="371" y="335"/>
                    <a:pt x="371" y="335"/>
                    <a:pt x="371" y="335"/>
                  </a:cubicBezTo>
                  <a:cubicBezTo>
                    <a:pt x="370" y="332"/>
                    <a:pt x="370" y="330"/>
                    <a:pt x="369" y="327"/>
                  </a:cubicBezTo>
                  <a:cubicBezTo>
                    <a:pt x="370" y="324"/>
                    <a:pt x="371" y="321"/>
                    <a:pt x="371" y="317"/>
                  </a:cubicBezTo>
                  <a:cubicBezTo>
                    <a:pt x="371" y="317"/>
                    <a:pt x="371" y="317"/>
                    <a:pt x="371" y="317"/>
                  </a:cubicBezTo>
                  <a:cubicBezTo>
                    <a:pt x="371" y="316"/>
                    <a:pt x="371" y="316"/>
                    <a:pt x="371" y="316"/>
                  </a:cubicBezTo>
                  <a:cubicBezTo>
                    <a:pt x="391" y="324"/>
                    <a:pt x="391" y="324"/>
                    <a:pt x="391" y="324"/>
                  </a:cubicBezTo>
                  <a:cubicBezTo>
                    <a:pt x="394" y="325"/>
                    <a:pt x="397" y="325"/>
                    <a:pt x="400" y="323"/>
                  </a:cubicBezTo>
                  <a:cubicBezTo>
                    <a:pt x="528" y="249"/>
                    <a:pt x="528" y="249"/>
                    <a:pt x="528" y="249"/>
                  </a:cubicBezTo>
                  <a:cubicBezTo>
                    <a:pt x="530" y="248"/>
                    <a:pt x="532" y="246"/>
                    <a:pt x="533" y="243"/>
                  </a:cubicBezTo>
                  <a:cubicBezTo>
                    <a:pt x="533" y="245"/>
                    <a:pt x="533" y="246"/>
                    <a:pt x="533" y="248"/>
                  </a:cubicBezTo>
                  <a:close/>
                  <a:moveTo>
                    <a:pt x="275" y="141"/>
                  </a:moveTo>
                  <a:cubicBezTo>
                    <a:pt x="255" y="139"/>
                    <a:pt x="234" y="141"/>
                    <a:pt x="215" y="145"/>
                  </a:cubicBezTo>
                  <a:cubicBezTo>
                    <a:pt x="215" y="127"/>
                    <a:pt x="215" y="127"/>
                    <a:pt x="215" y="127"/>
                  </a:cubicBezTo>
                  <a:cubicBezTo>
                    <a:pt x="358" y="43"/>
                    <a:pt x="358" y="43"/>
                    <a:pt x="358" y="43"/>
                  </a:cubicBezTo>
                  <a:cubicBezTo>
                    <a:pt x="408" y="62"/>
                    <a:pt x="408" y="62"/>
                    <a:pt x="408" y="62"/>
                  </a:cubicBezTo>
                  <a:cubicBezTo>
                    <a:pt x="275" y="141"/>
                    <a:pt x="275" y="141"/>
                    <a:pt x="275" y="141"/>
                  </a:cubicBezTo>
                  <a:close/>
                  <a:moveTo>
                    <a:pt x="533" y="211"/>
                  </a:moveTo>
                  <a:cubicBezTo>
                    <a:pt x="533" y="210"/>
                    <a:pt x="533" y="208"/>
                    <a:pt x="533" y="207"/>
                  </a:cubicBezTo>
                  <a:cubicBezTo>
                    <a:pt x="532" y="209"/>
                    <a:pt x="530" y="211"/>
                    <a:pt x="528" y="212"/>
                  </a:cubicBezTo>
                  <a:cubicBezTo>
                    <a:pt x="400" y="286"/>
                    <a:pt x="400" y="286"/>
                    <a:pt x="400" y="286"/>
                  </a:cubicBezTo>
                  <a:cubicBezTo>
                    <a:pt x="397" y="288"/>
                    <a:pt x="394" y="289"/>
                    <a:pt x="391" y="287"/>
                  </a:cubicBezTo>
                  <a:cubicBezTo>
                    <a:pt x="369" y="279"/>
                    <a:pt x="369" y="279"/>
                    <a:pt x="369" y="279"/>
                  </a:cubicBezTo>
                  <a:cubicBezTo>
                    <a:pt x="369" y="279"/>
                    <a:pt x="369" y="279"/>
                    <a:pt x="369" y="279"/>
                  </a:cubicBezTo>
                  <a:cubicBezTo>
                    <a:pt x="370" y="282"/>
                    <a:pt x="371" y="286"/>
                    <a:pt x="371" y="289"/>
                  </a:cubicBezTo>
                  <a:cubicBezTo>
                    <a:pt x="371" y="299"/>
                    <a:pt x="371" y="299"/>
                    <a:pt x="371" y="299"/>
                  </a:cubicBezTo>
                  <a:cubicBezTo>
                    <a:pt x="391" y="307"/>
                    <a:pt x="391" y="307"/>
                    <a:pt x="391" y="307"/>
                  </a:cubicBezTo>
                  <a:cubicBezTo>
                    <a:pt x="394" y="308"/>
                    <a:pt x="397" y="307"/>
                    <a:pt x="400" y="306"/>
                  </a:cubicBezTo>
                  <a:cubicBezTo>
                    <a:pt x="528" y="232"/>
                    <a:pt x="528" y="232"/>
                    <a:pt x="528" y="232"/>
                  </a:cubicBezTo>
                  <a:cubicBezTo>
                    <a:pt x="532" y="229"/>
                    <a:pt x="534" y="225"/>
                    <a:pt x="533" y="221"/>
                  </a:cubicBezTo>
                  <a:cubicBezTo>
                    <a:pt x="533" y="221"/>
                    <a:pt x="533" y="221"/>
                    <a:pt x="533" y="221"/>
                  </a:cubicBezTo>
                  <a:cubicBezTo>
                    <a:pt x="533" y="211"/>
                    <a:pt x="533" y="211"/>
                    <a:pt x="533" y="211"/>
                  </a:cubicBezTo>
                  <a:close/>
                  <a:moveTo>
                    <a:pt x="533" y="175"/>
                  </a:moveTo>
                  <a:cubicBezTo>
                    <a:pt x="533" y="173"/>
                    <a:pt x="533" y="172"/>
                    <a:pt x="533" y="170"/>
                  </a:cubicBezTo>
                  <a:cubicBezTo>
                    <a:pt x="532" y="173"/>
                    <a:pt x="530" y="175"/>
                    <a:pt x="528" y="176"/>
                  </a:cubicBezTo>
                  <a:cubicBezTo>
                    <a:pt x="400" y="250"/>
                    <a:pt x="400" y="250"/>
                    <a:pt x="400" y="250"/>
                  </a:cubicBezTo>
                  <a:cubicBezTo>
                    <a:pt x="397" y="252"/>
                    <a:pt x="394" y="252"/>
                    <a:pt x="391" y="251"/>
                  </a:cubicBezTo>
                  <a:cubicBezTo>
                    <a:pt x="371" y="243"/>
                    <a:pt x="371" y="243"/>
                    <a:pt x="371" y="243"/>
                  </a:cubicBezTo>
                  <a:cubicBezTo>
                    <a:pt x="371" y="262"/>
                    <a:pt x="371" y="262"/>
                    <a:pt x="371" y="262"/>
                  </a:cubicBezTo>
                  <a:cubicBezTo>
                    <a:pt x="391" y="270"/>
                    <a:pt x="391" y="270"/>
                    <a:pt x="391" y="270"/>
                  </a:cubicBezTo>
                  <a:cubicBezTo>
                    <a:pt x="394" y="271"/>
                    <a:pt x="397" y="271"/>
                    <a:pt x="400" y="269"/>
                  </a:cubicBezTo>
                  <a:cubicBezTo>
                    <a:pt x="528" y="195"/>
                    <a:pt x="528" y="195"/>
                    <a:pt x="528" y="195"/>
                  </a:cubicBezTo>
                  <a:cubicBezTo>
                    <a:pt x="532" y="193"/>
                    <a:pt x="534" y="189"/>
                    <a:pt x="533" y="185"/>
                  </a:cubicBezTo>
                  <a:cubicBezTo>
                    <a:pt x="533" y="185"/>
                    <a:pt x="533" y="185"/>
                    <a:pt x="533" y="185"/>
                  </a:cubicBezTo>
                  <a:cubicBezTo>
                    <a:pt x="533" y="175"/>
                    <a:pt x="533" y="175"/>
                    <a:pt x="533" y="175"/>
                  </a:cubicBezTo>
                  <a:close/>
                  <a:moveTo>
                    <a:pt x="171" y="162"/>
                  </a:moveTo>
                  <a:cubicBezTo>
                    <a:pt x="166" y="166"/>
                    <a:pt x="161" y="170"/>
                    <a:pt x="158" y="175"/>
                  </a:cubicBezTo>
                  <a:cubicBezTo>
                    <a:pt x="156" y="175"/>
                    <a:pt x="154" y="174"/>
                    <a:pt x="153" y="174"/>
                  </a:cubicBezTo>
                  <a:cubicBezTo>
                    <a:pt x="114" y="158"/>
                    <a:pt x="114" y="158"/>
                    <a:pt x="114" y="158"/>
                  </a:cubicBezTo>
                  <a:cubicBezTo>
                    <a:pt x="114" y="158"/>
                    <a:pt x="114" y="158"/>
                    <a:pt x="114" y="158"/>
                  </a:cubicBezTo>
                  <a:cubicBezTo>
                    <a:pt x="112" y="157"/>
                    <a:pt x="110" y="156"/>
                    <a:pt x="109" y="154"/>
                  </a:cubicBezTo>
                  <a:cubicBezTo>
                    <a:pt x="108" y="152"/>
                    <a:pt x="108" y="150"/>
                    <a:pt x="108" y="148"/>
                  </a:cubicBezTo>
                  <a:cubicBezTo>
                    <a:pt x="108" y="136"/>
                    <a:pt x="108" y="136"/>
                    <a:pt x="108" y="136"/>
                  </a:cubicBezTo>
                  <a:cubicBezTo>
                    <a:pt x="108" y="136"/>
                    <a:pt x="108" y="136"/>
                    <a:pt x="108" y="136"/>
                  </a:cubicBezTo>
                  <a:cubicBezTo>
                    <a:pt x="108" y="135"/>
                    <a:pt x="108" y="134"/>
                    <a:pt x="108" y="133"/>
                  </a:cubicBezTo>
                  <a:cubicBezTo>
                    <a:pt x="108" y="133"/>
                    <a:pt x="109" y="134"/>
                    <a:pt x="109" y="134"/>
                  </a:cubicBezTo>
                  <a:cubicBezTo>
                    <a:pt x="110" y="137"/>
                    <a:pt x="112" y="138"/>
                    <a:pt x="114" y="139"/>
                  </a:cubicBezTo>
                  <a:cubicBezTo>
                    <a:pt x="114" y="139"/>
                    <a:pt x="114" y="139"/>
                    <a:pt x="114" y="139"/>
                  </a:cubicBezTo>
                  <a:cubicBezTo>
                    <a:pt x="171" y="162"/>
                    <a:pt x="171" y="162"/>
                    <a:pt x="171" y="162"/>
                  </a:cubicBezTo>
                  <a:close/>
                  <a:moveTo>
                    <a:pt x="533" y="138"/>
                  </a:moveTo>
                  <a:cubicBezTo>
                    <a:pt x="533" y="137"/>
                    <a:pt x="533" y="135"/>
                    <a:pt x="533" y="134"/>
                  </a:cubicBezTo>
                  <a:cubicBezTo>
                    <a:pt x="532" y="136"/>
                    <a:pt x="530" y="138"/>
                    <a:pt x="528" y="139"/>
                  </a:cubicBezTo>
                  <a:cubicBezTo>
                    <a:pt x="400" y="213"/>
                    <a:pt x="400" y="213"/>
                    <a:pt x="400" y="213"/>
                  </a:cubicBezTo>
                  <a:cubicBezTo>
                    <a:pt x="397" y="215"/>
                    <a:pt x="394" y="215"/>
                    <a:pt x="391" y="214"/>
                  </a:cubicBezTo>
                  <a:cubicBezTo>
                    <a:pt x="371" y="206"/>
                    <a:pt x="371" y="206"/>
                    <a:pt x="371" y="206"/>
                  </a:cubicBezTo>
                  <a:cubicBezTo>
                    <a:pt x="371" y="219"/>
                    <a:pt x="371" y="219"/>
                    <a:pt x="371" y="219"/>
                  </a:cubicBezTo>
                  <a:cubicBezTo>
                    <a:pt x="371" y="221"/>
                    <a:pt x="371" y="221"/>
                    <a:pt x="371" y="221"/>
                  </a:cubicBezTo>
                  <a:cubicBezTo>
                    <a:pt x="371" y="221"/>
                    <a:pt x="371" y="221"/>
                    <a:pt x="371" y="221"/>
                  </a:cubicBezTo>
                  <a:cubicBezTo>
                    <a:pt x="371" y="222"/>
                    <a:pt x="371" y="224"/>
                    <a:pt x="370" y="225"/>
                  </a:cubicBezTo>
                  <a:cubicBezTo>
                    <a:pt x="391" y="234"/>
                    <a:pt x="391" y="234"/>
                    <a:pt x="391" y="234"/>
                  </a:cubicBezTo>
                  <a:cubicBezTo>
                    <a:pt x="394" y="235"/>
                    <a:pt x="397" y="234"/>
                    <a:pt x="400" y="233"/>
                  </a:cubicBezTo>
                  <a:cubicBezTo>
                    <a:pt x="528" y="159"/>
                    <a:pt x="528" y="159"/>
                    <a:pt x="528" y="159"/>
                  </a:cubicBezTo>
                  <a:cubicBezTo>
                    <a:pt x="532" y="157"/>
                    <a:pt x="534" y="152"/>
                    <a:pt x="533" y="148"/>
                  </a:cubicBezTo>
                  <a:cubicBezTo>
                    <a:pt x="533" y="148"/>
                    <a:pt x="533" y="148"/>
                    <a:pt x="533" y="148"/>
                  </a:cubicBezTo>
                  <a:cubicBezTo>
                    <a:pt x="533" y="138"/>
                    <a:pt x="533" y="138"/>
                    <a:pt x="533" y="138"/>
                  </a:cubicBezTo>
                  <a:close/>
                  <a:moveTo>
                    <a:pt x="196" y="135"/>
                  </a:moveTo>
                  <a:cubicBezTo>
                    <a:pt x="114" y="102"/>
                    <a:pt x="114" y="102"/>
                    <a:pt x="114" y="102"/>
                  </a:cubicBezTo>
                  <a:cubicBezTo>
                    <a:pt x="114" y="102"/>
                    <a:pt x="114" y="102"/>
                    <a:pt x="114" y="102"/>
                  </a:cubicBezTo>
                  <a:cubicBezTo>
                    <a:pt x="112" y="101"/>
                    <a:pt x="110" y="100"/>
                    <a:pt x="109" y="97"/>
                  </a:cubicBezTo>
                  <a:cubicBezTo>
                    <a:pt x="109" y="97"/>
                    <a:pt x="108" y="96"/>
                    <a:pt x="108" y="96"/>
                  </a:cubicBezTo>
                  <a:cubicBezTo>
                    <a:pt x="108" y="97"/>
                    <a:pt x="108" y="98"/>
                    <a:pt x="108" y="100"/>
                  </a:cubicBezTo>
                  <a:cubicBezTo>
                    <a:pt x="108" y="100"/>
                    <a:pt x="108" y="100"/>
                    <a:pt x="108" y="100"/>
                  </a:cubicBezTo>
                  <a:cubicBezTo>
                    <a:pt x="108" y="112"/>
                    <a:pt x="108" y="112"/>
                    <a:pt x="108" y="112"/>
                  </a:cubicBezTo>
                  <a:cubicBezTo>
                    <a:pt x="108" y="114"/>
                    <a:pt x="108" y="115"/>
                    <a:pt x="109" y="117"/>
                  </a:cubicBezTo>
                  <a:cubicBezTo>
                    <a:pt x="110" y="119"/>
                    <a:pt x="112" y="121"/>
                    <a:pt x="114" y="122"/>
                  </a:cubicBezTo>
                  <a:cubicBezTo>
                    <a:pt x="114" y="122"/>
                    <a:pt x="114" y="122"/>
                    <a:pt x="114" y="122"/>
                  </a:cubicBezTo>
                  <a:cubicBezTo>
                    <a:pt x="190" y="152"/>
                    <a:pt x="190" y="152"/>
                    <a:pt x="190" y="152"/>
                  </a:cubicBezTo>
                  <a:cubicBezTo>
                    <a:pt x="192" y="152"/>
                    <a:pt x="194" y="151"/>
                    <a:pt x="196" y="150"/>
                  </a:cubicBezTo>
                  <a:cubicBezTo>
                    <a:pt x="196" y="135"/>
                    <a:pt x="196" y="135"/>
                    <a:pt x="196" y="135"/>
                  </a:cubicBezTo>
                  <a:close/>
                  <a:moveTo>
                    <a:pt x="400" y="198"/>
                  </a:moveTo>
                  <a:cubicBezTo>
                    <a:pt x="528" y="124"/>
                    <a:pt x="528" y="124"/>
                    <a:pt x="528" y="124"/>
                  </a:cubicBezTo>
                  <a:cubicBezTo>
                    <a:pt x="533" y="121"/>
                    <a:pt x="534" y="115"/>
                    <a:pt x="532" y="110"/>
                  </a:cubicBezTo>
                  <a:cubicBezTo>
                    <a:pt x="531" y="108"/>
                    <a:pt x="529" y="107"/>
                    <a:pt x="527" y="106"/>
                  </a:cubicBezTo>
                  <a:cubicBezTo>
                    <a:pt x="527" y="106"/>
                    <a:pt x="527" y="106"/>
                    <a:pt x="527" y="106"/>
                  </a:cubicBezTo>
                  <a:cubicBezTo>
                    <a:pt x="432" y="71"/>
                    <a:pt x="432" y="71"/>
                    <a:pt x="432" y="71"/>
                  </a:cubicBezTo>
                  <a:cubicBezTo>
                    <a:pt x="419" y="78"/>
                    <a:pt x="419" y="78"/>
                    <a:pt x="419" y="78"/>
                  </a:cubicBezTo>
                  <a:cubicBezTo>
                    <a:pt x="418" y="79"/>
                    <a:pt x="418" y="79"/>
                    <a:pt x="418" y="79"/>
                  </a:cubicBezTo>
                  <a:cubicBezTo>
                    <a:pt x="403" y="88"/>
                    <a:pt x="403" y="88"/>
                    <a:pt x="403" y="88"/>
                  </a:cubicBezTo>
                  <a:cubicBezTo>
                    <a:pt x="307" y="145"/>
                    <a:pt x="307" y="145"/>
                    <a:pt x="307" y="145"/>
                  </a:cubicBezTo>
                  <a:cubicBezTo>
                    <a:pt x="317" y="147"/>
                    <a:pt x="327" y="150"/>
                    <a:pt x="336" y="154"/>
                  </a:cubicBezTo>
                  <a:cubicBezTo>
                    <a:pt x="357" y="163"/>
                    <a:pt x="370" y="175"/>
                    <a:pt x="371" y="190"/>
                  </a:cubicBezTo>
                  <a:cubicBezTo>
                    <a:pt x="391" y="199"/>
                    <a:pt x="391" y="199"/>
                    <a:pt x="391" y="199"/>
                  </a:cubicBezTo>
                  <a:cubicBezTo>
                    <a:pt x="394" y="200"/>
                    <a:pt x="397" y="199"/>
                    <a:pt x="400" y="198"/>
                  </a:cubicBezTo>
                  <a:close/>
                  <a:moveTo>
                    <a:pt x="245" y="1"/>
                  </a:moveTo>
                  <a:cubicBezTo>
                    <a:pt x="242" y="0"/>
                    <a:pt x="239" y="0"/>
                    <a:pt x="236" y="1"/>
                  </a:cubicBezTo>
                  <a:cubicBezTo>
                    <a:pt x="236" y="1"/>
                    <a:pt x="236" y="1"/>
                    <a:pt x="236" y="1"/>
                  </a:cubicBezTo>
                  <a:cubicBezTo>
                    <a:pt x="113" y="69"/>
                    <a:pt x="113" y="69"/>
                    <a:pt x="113" y="69"/>
                  </a:cubicBezTo>
                  <a:cubicBezTo>
                    <a:pt x="108" y="71"/>
                    <a:pt x="106" y="77"/>
                    <a:pt x="109" y="82"/>
                  </a:cubicBezTo>
                  <a:cubicBezTo>
                    <a:pt x="110" y="84"/>
                    <a:pt x="112" y="86"/>
                    <a:pt x="114" y="86"/>
                  </a:cubicBezTo>
                  <a:cubicBezTo>
                    <a:pt x="114" y="86"/>
                    <a:pt x="114" y="86"/>
                    <a:pt x="114" y="86"/>
                  </a:cubicBezTo>
                  <a:cubicBezTo>
                    <a:pt x="197" y="120"/>
                    <a:pt x="197" y="120"/>
                    <a:pt x="197" y="120"/>
                  </a:cubicBezTo>
                  <a:cubicBezTo>
                    <a:pt x="198" y="116"/>
                    <a:pt x="201" y="112"/>
                    <a:pt x="205" y="110"/>
                  </a:cubicBezTo>
                  <a:cubicBezTo>
                    <a:pt x="334" y="34"/>
                    <a:pt x="334" y="34"/>
                    <a:pt x="334" y="34"/>
                  </a:cubicBezTo>
                  <a:lnTo>
                    <a:pt x="245" y="1"/>
                  </a:lnTo>
                  <a:close/>
                  <a:moveTo>
                    <a:pt x="154" y="279"/>
                  </a:moveTo>
                  <a:cubicBezTo>
                    <a:pt x="153" y="276"/>
                    <a:pt x="152" y="272"/>
                    <a:pt x="152" y="269"/>
                  </a:cubicBezTo>
                  <a:cubicBezTo>
                    <a:pt x="152" y="269"/>
                    <a:pt x="152" y="269"/>
                    <a:pt x="152" y="269"/>
                  </a:cubicBezTo>
                  <a:cubicBezTo>
                    <a:pt x="152" y="269"/>
                    <a:pt x="152" y="269"/>
                    <a:pt x="152" y="269"/>
                  </a:cubicBezTo>
                  <a:cubicBezTo>
                    <a:pt x="152" y="260"/>
                    <a:pt x="152" y="250"/>
                    <a:pt x="152" y="241"/>
                  </a:cubicBezTo>
                  <a:cubicBezTo>
                    <a:pt x="152" y="241"/>
                    <a:pt x="152" y="241"/>
                    <a:pt x="152" y="241"/>
                  </a:cubicBezTo>
                  <a:cubicBezTo>
                    <a:pt x="138" y="244"/>
                    <a:pt x="120" y="247"/>
                    <a:pt x="101" y="247"/>
                  </a:cubicBezTo>
                  <a:cubicBezTo>
                    <a:pt x="53" y="247"/>
                    <a:pt x="15" y="233"/>
                    <a:pt x="15" y="216"/>
                  </a:cubicBezTo>
                  <a:cubicBezTo>
                    <a:pt x="15" y="200"/>
                    <a:pt x="53" y="186"/>
                    <a:pt x="101" y="186"/>
                  </a:cubicBezTo>
                  <a:cubicBezTo>
                    <a:pt x="120" y="186"/>
                    <a:pt x="138" y="188"/>
                    <a:pt x="152" y="192"/>
                  </a:cubicBezTo>
                  <a:cubicBezTo>
                    <a:pt x="152" y="189"/>
                    <a:pt x="153" y="186"/>
                    <a:pt x="154" y="183"/>
                  </a:cubicBezTo>
                  <a:cubicBezTo>
                    <a:pt x="138" y="179"/>
                    <a:pt x="120" y="177"/>
                    <a:pt x="101" y="177"/>
                  </a:cubicBezTo>
                  <a:cubicBezTo>
                    <a:pt x="45" y="177"/>
                    <a:pt x="0" y="196"/>
                    <a:pt x="0" y="220"/>
                  </a:cubicBezTo>
                  <a:cubicBezTo>
                    <a:pt x="0" y="220"/>
                    <a:pt x="0" y="220"/>
                    <a:pt x="0" y="220"/>
                  </a:cubicBezTo>
                  <a:cubicBezTo>
                    <a:pt x="0" y="248"/>
                    <a:pt x="0" y="248"/>
                    <a:pt x="0" y="248"/>
                  </a:cubicBezTo>
                  <a:cubicBezTo>
                    <a:pt x="0" y="272"/>
                    <a:pt x="45" y="291"/>
                    <a:pt x="101" y="291"/>
                  </a:cubicBezTo>
                  <a:cubicBezTo>
                    <a:pt x="120" y="291"/>
                    <a:pt x="137" y="289"/>
                    <a:pt x="152" y="285"/>
                  </a:cubicBezTo>
                  <a:cubicBezTo>
                    <a:pt x="153" y="283"/>
                    <a:pt x="153" y="281"/>
                    <a:pt x="154" y="279"/>
                  </a:cubicBezTo>
                  <a:close/>
                  <a:moveTo>
                    <a:pt x="336" y="356"/>
                  </a:moveTo>
                  <a:cubicBezTo>
                    <a:pt x="294" y="374"/>
                    <a:pt x="229" y="374"/>
                    <a:pt x="187" y="356"/>
                  </a:cubicBezTo>
                  <a:cubicBezTo>
                    <a:pt x="176" y="351"/>
                    <a:pt x="167" y="345"/>
                    <a:pt x="161" y="338"/>
                  </a:cubicBezTo>
                  <a:cubicBezTo>
                    <a:pt x="161" y="366"/>
                    <a:pt x="161" y="366"/>
                    <a:pt x="161" y="366"/>
                  </a:cubicBezTo>
                  <a:cubicBezTo>
                    <a:pt x="161" y="390"/>
                    <a:pt x="206" y="409"/>
                    <a:pt x="261" y="409"/>
                  </a:cubicBezTo>
                  <a:cubicBezTo>
                    <a:pt x="317" y="409"/>
                    <a:pt x="362" y="390"/>
                    <a:pt x="362" y="366"/>
                  </a:cubicBezTo>
                  <a:cubicBezTo>
                    <a:pt x="362" y="338"/>
                    <a:pt x="362" y="338"/>
                    <a:pt x="362" y="338"/>
                  </a:cubicBezTo>
                  <a:cubicBezTo>
                    <a:pt x="356" y="345"/>
                    <a:pt x="347" y="351"/>
                    <a:pt x="336" y="356"/>
                  </a:cubicBezTo>
                  <a:close/>
                  <a:moveTo>
                    <a:pt x="336" y="308"/>
                  </a:moveTo>
                  <a:cubicBezTo>
                    <a:pt x="294" y="326"/>
                    <a:pt x="229" y="326"/>
                    <a:pt x="187" y="308"/>
                  </a:cubicBezTo>
                  <a:cubicBezTo>
                    <a:pt x="176" y="303"/>
                    <a:pt x="167" y="297"/>
                    <a:pt x="161" y="290"/>
                  </a:cubicBezTo>
                  <a:cubicBezTo>
                    <a:pt x="161" y="317"/>
                    <a:pt x="161" y="317"/>
                    <a:pt x="161" y="317"/>
                  </a:cubicBezTo>
                  <a:cubicBezTo>
                    <a:pt x="161" y="341"/>
                    <a:pt x="206" y="361"/>
                    <a:pt x="261" y="361"/>
                  </a:cubicBezTo>
                  <a:cubicBezTo>
                    <a:pt x="317" y="361"/>
                    <a:pt x="362" y="341"/>
                    <a:pt x="362" y="317"/>
                  </a:cubicBezTo>
                  <a:cubicBezTo>
                    <a:pt x="362" y="290"/>
                    <a:pt x="362" y="290"/>
                    <a:pt x="362" y="290"/>
                  </a:cubicBezTo>
                  <a:cubicBezTo>
                    <a:pt x="356" y="297"/>
                    <a:pt x="347" y="303"/>
                    <a:pt x="336" y="308"/>
                  </a:cubicBezTo>
                  <a:close/>
                  <a:moveTo>
                    <a:pt x="336" y="259"/>
                  </a:moveTo>
                  <a:cubicBezTo>
                    <a:pt x="294" y="277"/>
                    <a:pt x="229" y="277"/>
                    <a:pt x="187" y="259"/>
                  </a:cubicBezTo>
                  <a:cubicBezTo>
                    <a:pt x="176" y="254"/>
                    <a:pt x="167" y="248"/>
                    <a:pt x="161" y="242"/>
                  </a:cubicBezTo>
                  <a:cubicBezTo>
                    <a:pt x="161" y="269"/>
                    <a:pt x="161" y="269"/>
                    <a:pt x="161" y="269"/>
                  </a:cubicBezTo>
                  <a:cubicBezTo>
                    <a:pt x="161" y="293"/>
                    <a:pt x="206" y="312"/>
                    <a:pt x="261" y="312"/>
                  </a:cubicBezTo>
                  <a:cubicBezTo>
                    <a:pt x="317" y="312"/>
                    <a:pt x="362" y="293"/>
                    <a:pt x="362" y="269"/>
                  </a:cubicBezTo>
                  <a:cubicBezTo>
                    <a:pt x="362" y="242"/>
                    <a:pt x="362" y="242"/>
                    <a:pt x="362" y="242"/>
                  </a:cubicBezTo>
                  <a:cubicBezTo>
                    <a:pt x="356" y="248"/>
                    <a:pt x="347" y="254"/>
                    <a:pt x="336" y="259"/>
                  </a:cubicBezTo>
                  <a:close/>
                  <a:moveTo>
                    <a:pt x="362" y="192"/>
                  </a:moveTo>
                  <a:cubicBezTo>
                    <a:pt x="362" y="192"/>
                    <a:pt x="362" y="192"/>
                    <a:pt x="362" y="192"/>
                  </a:cubicBezTo>
                  <a:cubicBezTo>
                    <a:pt x="362" y="168"/>
                    <a:pt x="317" y="149"/>
                    <a:pt x="261" y="149"/>
                  </a:cubicBezTo>
                  <a:cubicBezTo>
                    <a:pt x="206" y="149"/>
                    <a:pt x="161" y="168"/>
                    <a:pt x="161" y="192"/>
                  </a:cubicBezTo>
                  <a:cubicBezTo>
                    <a:pt x="161" y="192"/>
                    <a:pt x="161" y="192"/>
                    <a:pt x="161" y="192"/>
                  </a:cubicBezTo>
                  <a:cubicBezTo>
                    <a:pt x="161" y="221"/>
                    <a:pt x="161" y="221"/>
                    <a:pt x="161" y="221"/>
                  </a:cubicBezTo>
                  <a:cubicBezTo>
                    <a:pt x="161" y="244"/>
                    <a:pt x="206" y="264"/>
                    <a:pt x="261" y="264"/>
                  </a:cubicBezTo>
                  <a:cubicBezTo>
                    <a:pt x="317" y="264"/>
                    <a:pt x="362" y="244"/>
                    <a:pt x="362" y="221"/>
                  </a:cubicBezTo>
                  <a:cubicBezTo>
                    <a:pt x="362" y="192"/>
                    <a:pt x="362" y="192"/>
                    <a:pt x="362" y="192"/>
                  </a:cubicBezTo>
                  <a:close/>
                  <a:moveTo>
                    <a:pt x="348" y="189"/>
                  </a:moveTo>
                  <a:cubicBezTo>
                    <a:pt x="348" y="205"/>
                    <a:pt x="309" y="219"/>
                    <a:pt x="261" y="219"/>
                  </a:cubicBezTo>
                  <a:cubicBezTo>
                    <a:pt x="214" y="219"/>
                    <a:pt x="175" y="205"/>
                    <a:pt x="175" y="189"/>
                  </a:cubicBezTo>
                  <a:cubicBezTo>
                    <a:pt x="175" y="172"/>
                    <a:pt x="214" y="158"/>
                    <a:pt x="261" y="158"/>
                  </a:cubicBezTo>
                  <a:cubicBezTo>
                    <a:pt x="309" y="158"/>
                    <a:pt x="348" y="172"/>
                    <a:pt x="348" y="189"/>
                  </a:cubicBez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09" name="Group 11">
            <a:extLst>
              <a:ext uri="{FF2B5EF4-FFF2-40B4-BE49-F238E27FC236}">
                <a16:creationId xmlns:a16="http://schemas.microsoft.com/office/drawing/2014/main" xmlns="" id="{2559F56B-1B44-4853-9689-41F68305B8FF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565232" y="2036694"/>
            <a:ext cx="934348" cy="570035"/>
            <a:chOff x="359" y="839"/>
            <a:chExt cx="1249" cy="762"/>
          </a:xfrm>
          <a:effectLst>
            <a:outerShdw blurRad="101600" dist="76200" dir="2700000" algn="ctr" rotWithShape="0">
              <a:srgbClr val="000000">
                <a:alpha val="29000"/>
              </a:srgbClr>
            </a:outerShdw>
          </a:effectLst>
        </p:grpSpPr>
        <p:sp>
          <p:nvSpPr>
            <p:cNvPr id="210" name="AutoShape 10">
              <a:extLst>
                <a:ext uri="{FF2B5EF4-FFF2-40B4-BE49-F238E27FC236}">
                  <a16:creationId xmlns:a16="http://schemas.microsoft.com/office/drawing/2014/main" xmlns="" id="{CEF4D68F-DE52-4DD3-B675-489616B23BB2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59" y="839"/>
              <a:ext cx="1249" cy="7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11" name="Freeform 12">
              <a:extLst>
                <a:ext uri="{FF2B5EF4-FFF2-40B4-BE49-F238E27FC236}">
                  <a16:creationId xmlns:a16="http://schemas.microsoft.com/office/drawing/2014/main" xmlns="" id="{3C222CB0-4FF1-4098-AEA7-381BF305D136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" y="840"/>
              <a:ext cx="1247" cy="761"/>
            </a:xfrm>
            <a:custGeom>
              <a:avLst/>
              <a:gdLst>
                <a:gd name="T0" fmla="*/ 1247 w 1247"/>
                <a:gd name="T1" fmla="*/ 0 h 761"/>
                <a:gd name="T2" fmla="*/ 1247 w 1247"/>
                <a:gd name="T3" fmla="*/ 761 h 761"/>
                <a:gd name="T4" fmla="*/ 463 w 1247"/>
                <a:gd name="T5" fmla="*/ 761 h 761"/>
                <a:gd name="T6" fmla="*/ 463 w 1247"/>
                <a:gd name="T7" fmla="*/ 642 h 761"/>
                <a:gd name="T8" fmla="*/ 139 w 1247"/>
                <a:gd name="T9" fmla="*/ 642 h 761"/>
                <a:gd name="T10" fmla="*/ 139 w 1247"/>
                <a:gd name="T11" fmla="*/ 761 h 761"/>
                <a:gd name="T12" fmla="*/ 0 w 1247"/>
                <a:gd name="T13" fmla="*/ 761 h 761"/>
                <a:gd name="T14" fmla="*/ 0 w 1247"/>
                <a:gd name="T15" fmla="*/ 303 h 761"/>
                <a:gd name="T16" fmla="*/ 847 w 1247"/>
                <a:gd name="T17" fmla="*/ 303 h 761"/>
                <a:gd name="T18" fmla="*/ 847 w 1247"/>
                <a:gd name="T19" fmla="*/ 0 h 761"/>
                <a:gd name="T20" fmla="*/ 1247 w 1247"/>
                <a:gd name="T21" fmla="*/ 0 h 7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47" h="761">
                  <a:moveTo>
                    <a:pt x="1247" y="0"/>
                  </a:moveTo>
                  <a:lnTo>
                    <a:pt x="1247" y="761"/>
                  </a:lnTo>
                  <a:lnTo>
                    <a:pt x="463" y="761"/>
                  </a:lnTo>
                  <a:lnTo>
                    <a:pt x="463" y="642"/>
                  </a:lnTo>
                  <a:lnTo>
                    <a:pt x="139" y="642"/>
                  </a:lnTo>
                  <a:lnTo>
                    <a:pt x="139" y="761"/>
                  </a:lnTo>
                  <a:lnTo>
                    <a:pt x="0" y="761"/>
                  </a:lnTo>
                  <a:lnTo>
                    <a:pt x="0" y="303"/>
                  </a:lnTo>
                  <a:lnTo>
                    <a:pt x="847" y="303"/>
                  </a:lnTo>
                  <a:lnTo>
                    <a:pt x="847" y="0"/>
                  </a:lnTo>
                  <a:lnTo>
                    <a:pt x="124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12" name="Freeform 13">
              <a:extLst>
                <a:ext uri="{FF2B5EF4-FFF2-40B4-BE49-F238E27FC236}">
                  <a16:creationId xmlns:a16="http://schemas.microsoft.com/office/drawing/2014/main" xmlns="" id="{DF315092-37E6-4E80-9D78-3CC861A5040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2" y="861"/>
              <a:ext cx="1203" cy="716"/>
            </a:xfrm>
            <a:custGeom>
              <a:avLst/>
              <a:gdLst>
                <a:gd name="T0" fmla="*/ 846 w 1203"/>
                <a:gd name="T1" fmla="*/ 304 h 716"/>
                <a:gd name="T2" fmla="*/ 0 w 1203"/>
                <a:gd name="T3" fmla="*/ 716 h 716"/>
                <a:gd name="T4" fmla="*/ 95 w 1203"/>
                <a:gd name="T5" fmla="*/ 598 h 716"/>
                <a:gd name="T6" fmla="*/ 463 w 1203"/>
                <a:gd name="T7" fmla="*/ 716 h 716"/>
                <a:gd name="T8" fmla="*/ 1203 w 1203"/>
                <a:gd name="T9" fmla="*/ 0 h 716"/>
                <a:gd name="T10" fmla="*/ 461 w 1203"/>
                <a:gd name="T11" fmla="*/ 574 h 716"/>
                <a:gd name="T12" fmla="*/ 95 w 1203"/>
                <a:gd name="T13" fmla="*/ 559 h 716"/>
                <a:gd name="T14" fmla="*/ 461 w 1203"/>
                <a:gd name="T15" fmla="*/ 574 h 716"/>
                <a:gd name="T16" fmla="*/ 95 w 1203"/>
                <a:gd name="T17" fmla="*/ 543 h 716"/>
                <a:gd name="T18" fmla="*/ 461 w 1203"/>
                <a:gd name="T19" fmla="*/ 527 h 716"/>
                <a:gd name="T20" fmla="*/ 461 w 1203"/>
                <a:gd name="T21" fmla="*/ 511 h 716"/>
                <a:gd name="T22" fmla="*/ 95 w 1203"/>
                <a:gd name="T23" fmla="*/ 495 h 716"/>
                <a:gd name="T24" fmla="*/ 461 w 1203"/>
                <a:gd name="T25" fmla="*/ 511 h 716"/>
                <a:gd name="T26" fmla="*/ 963 w 1203"/>
                <a:gd name="T27" fmla="*/ 33 h 716"/>
                <a:gd name="T28" fmla="*/ 894 w 1203"/>
                <a:gd name="T29" fmla="*/ 129 h 716"/>
                <a:gd name="T30" fmla="*/ 963 w 1203"/>
                <a:gd name="T31" fmla="*/ 161 h 716"/>
                <a:gd name="T32" fmla="*/ 894 w 1203"/>
                <a:gd name="T33" fmla="*/ 257 h 716"/>
                <a:gd name="T34" fmla="*/ 963 w 1203"/>
                <a:gd name="T35" fmla="*/ 161 h 716"/>
                <a:gd name="T36" fmla="*/ 894 w 1203"/>
                <a:gd name="T37" fmla="*/ 640 h 716"/>
                <a:gd name="T38" fmla="*/ 963 w 1203"/>
                <a:gd name="T39" fmla="*/ 544 h 716"/>
                <a:gd name="T40" fmla="*/ 963 w 1203"/>
                <a:gd name="T41" fmla="*/ 512 h 716"/>
                <a:gd name="T42" fmla="*/ 894 w 1203"/>
                <a:gd name="T43" fmla="*/ 416 h 716"/>
                <a:gd name="T44" fmla="*/ 963 w 1203"/>
                <a:gd name="T45" fmla="*/ 512 h 716"/>
                <a:gd name="T46" fmla="*/ 894 w 1203"/>
                <a:gd name="T47" fmla="*/ 385 h 716"/>
                <a:gd name="T48" fmla="*/ 963 w 1203"/>
                <a:gd name="T49" fmla="*/ 289 h 716"/>
                <a:gd name="T50" fmla="*/ 992 w 1203"/>
                <a:gd name="T51" fmla="*/ 33 h 716"/>
                <a:gd name="T52" fmla="*/ 1061 w 1203"/>
                <a:gd name="T53" fmla="*/ 129 h 716"/>
                <a:gd name="T54" fmla="*/ 992 w 1203"/>
                <a:gd name="T55" fmla="*/ 33 h 716"/>
                <a:gd name="T56" fmla="*/ 1061 w 1203"/>
                <a:gd name="T57" fmla="*/ 257 h 716"/>
                <a:gd name="T58" fmla="*/ 992 w 1203"/>
                <a:gd name="T59" fmla="*/ 161 h 716"/>
                <a:gd name="T60" fmla="*/ 1061 w 1203"/>
                <a:gd name="T61" fmla="*/ 640 h 716"/>
                <a:gd name="T62" fmla="*/ 992 w 1203"/>
                <a:gd name="T63" fmla="*/ 544 h 716"/>
                <a:gd name="T64" fmla="*/ 1061 w 1203"/>
                <a:gd name="T65" fmla="*/ 640 h 716"/>
                <a:gd name="T66" fmla="*/ 992 w 1203"/>
                <a:gd name="T67" fmla="*/ 512 h 716"/>
                <a:gd name="T68" fmla="*/ 1061 w 1203"/>
                <a:gd name="T69" fmla="*/ 416 h 716"/>
                <a:gd name="T70" fmla="*/ 1061 w 1203"/>
                <a:gd name="T71" fmla="*/ 385 h 716"/>
                <a:gd name="T72" fmla="*/ 992 w 1203"/>
                <a:gd name="T73" fmla="*/ 289 h 716"/>
                <a:gd name="T74" fmla="*/ 1061 w 1203"/>
                <a:gd name="T75" fmla="*/ 385 h 716"/>
                <a:gd name="T76" fmla="*/ 1159 w 1203"/>
                <a:gd name="T77" fmla="*/ 33 h 716"/>
                <a:gd name="T78" fmla="*/ 1090 w 1203"/>
                <a:gd name="T79" fmla="*/ 129 h 716"/>
                <a:gd name="T80" fmla="*/ 1159 w 1203"/>
                <a:gd name="T81" fmla="*/ 161 h 716"/>
                <a:gd name="T82" fmla="*/ 1090 w 1203"/>
                <a:gd name="T83" fmla="*/ 257 h 716"/>
                <a:gd name="T84" fmla="*/ 1159 w 1203"/>
                <a:gd name="T85" fmla="*/ 161 h 716"/>
                <a:gd name="T86" fmla="*/ 1090 w 1203"/>
                <a:gd name="T87" fmla="*/ 640 h 716"/>
                <a:gd name="T88" fmla="*/ 1159 w 1203"/>
                <a:gd name="T89" fmla="*/ 544 h 716"/>
                <a:gd name="T90" fmla="*/ 1159 w 1203"/>
                <a:gd name="T91" fmla="*/ 512 h 716"/>
                <a:gd name="T92" fmla="*/ 1090 w 1203"/>
                <a:gd name="T93" fmla="*/ 416 h 716"/>
                <a:gd name="T94" fmla="*/ 1159 w 1203"/>
                <a:gd name="T95" fmla="*/ 512 h 716"/>
                <a:gd name="T96" fmla="*/ 1090 w 1203"/>
                <a:gd name="T97" fmla="*/ 385 h 716"/>
                <a:gd name="T98" fmla="*/ 1159 w 1203"/>
                <a:gd name="T99" fmla="*/ 289 h 7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203" h="716">
                  <a:moveTo>
                    <a:pt x="847" y="0"/>
                  </a:moveTo>
                  <a:lnTo>
                    <a:pt x="846" y="304"/>
                  </a:lnTo>
                  <a:lnTo>
                    <a:pt x="0" y="304"/>
                  </a:lnTo>
                  <a:lnTo>
                    <a:pt x="0" y="716"/>
                  </a:lnTo>
                  <a:lnTo>
                    <a:pt x="95" y="716"/>
                  </a:lnTo>
                  <a:lnTo>
                    <a:pt x="95" y="598"/>
                  </a:lnTo>
                  <a:lnTo>
                    <a:pt x="463" y="598"/>
                  </a:lnTo>
                  <a:lnTo>
                    <a:pt x="463" y="716"/>
                  </a:lnTo>
                  <a:lnTo>
                    <a:pt x="1203" y="716"/>
                  </a:lnTo>
                  <a:lnTo>
                    <a:pt x="1203" y="0"/>
                  </a:lnTo>
                  <a:lnTo>
                    <a:pt x="847" y="0"/>
                  </a:lnTo>
                  <a:close/>
                  <a:moveTo>
                    <a:pt x="461" y="574"/>
                  </a:moveTo>
                  <a:lnTo>
                    <a:pt x="95" y="574"/>
                  </a:lnTo>
                  <a:lnTo>
                    <a:pt x="95" y="559"/>
                  </a:lnTo>
                  <a:lnTo>
                    <a:pt x="461" y="559"/>
                  </a:lnTo>
                  <a:lnTo>
                    <a:pt x="461" y="574"/>
                  </a:lnTo>
                  <a:close/>
                  <a:moveTo>
                    <a:pt x="461" y="543"/>
                  </a:moveTo>
                  <a:lnTo>
                    <a:pt x="95" y="543"/>
                  </a:lnTo>
                  <a:lnTo>
                    <a:pt x="95" y="527"/>
                  </a:lnTo>
                  <a:lnTo>
                    <a:pt x="461" y="527"/>
                  </a:lnTo>
                  <a:lnTo>
                    <a:pt x="461" y="543"/>
                  </a:lnTo>
                  <a:close/>
                  <a:moveTo>
                    <a:pt x="461" y="511"/>
                  </a:moveTo>
                  <a:lnTo>
                    <a:pt x="95" y="511"/>
                  </a:lnTo>
                  <a:lnTo>
                    <a:pt x="95" y="495"/>
                  </a:lnTo>
                  <a:lnTo>
                    <a:pt x="461" y="495"/>
                  </a:lnTo>
                  <a:lnTo>
                    <a:pt x="461" y="511"/>
                  </a:lnTo>
                  <a:close/>
                  <a:moveTo>
                    <a:pt x="894" y="33"/>
                  </a:moveTo>
                  <a:lnTo>
                    <a:pt x="963" y="33"/>
                  </a:lnTo>
                  <a:lnTo>
                    <a:pt x="963" y="129"/>
                  </a:lnTo>
                  <a:lnTo>
                    <a:pt x="894" y="129"/>
                  </a:lnTo>
                  <a:lnTo>
                    <a:pt x="894" y="33"/>
                  </a:lnTo>
                  <a:close/>
                  <a:moveTo>
                    <a:pt x="963" y="161"/>
                  </a:moveTo>
                  <a:lnTo>
                    <a:pt x="963" y="257"/>
                  </a:lnTo>
                  <a:lnTo>
                    <a:pt x="894" y="257"/>
                  </a:lnTo>
                  <a:lnTo>
                    <a:pt x="894" y="161"/>
                  </a:lnTo>
                  <a:lnTo>
                    <a:pt x="963" y="161"/>
                  </a:lnTo>
                  <a:close/>
                  <a:moveTo>
                    <a:pt x="963" y="640"/>
                  </a:moveTo>
                  <a:lnTo>
                    <a:pt x="894" y="640"/>
                  </a:lnTo>
                  <a:lnTo>
                    <a:pt x="894" y="544"/>
                  </a:lnTo>
                  <a:lnTo>
                    <a:pt x="963" y="544"/>
                  </a:lnTo>
                  <a:lnTo>
                    <a:pt x="963" y="640"/>
                  </a:lnTo>
                  <a:close/>
                  <a:moveTo>
                    <a:pt x="963" y="512"/>
                  </a:moveTo>
                  <a:lnTo>
                    <a:pt x="894" y="512"/>
                  </a:lnTo>
                  <a:lnTo>
                    <a:pt x="894" y="416"/>
                  </a:lnTo>
                  <a:lnTo>
                    <a:pt x="963" y="416"/>
                  </a:lnTo>
                  <a:lnTo>
                    <a:pt x="963" y="512"/>
                  </a:lnTo>
                  <a:close/>
                  <a:moveTo>
                    <a:pt x="963" y="385"/>
                  </a:moveTo>
                  <a:lnTo>
                    <a:pt x="894" y="385"/>
                  </a:lnTo>
                  <a:lnTo>
                    <a:pt x="894" y="289"/>
                  </a:lnTo>
                  <a:lnTo>
                    <a:pt x="963" y="289"/>
                  </a:lnTo>
                  <a:lnTo>
                    <a:pt x="963" y="385"/>
                  </a:lnTo>
                  <a:close/>
                  <a:moveTo>
                    <a:pt x="992" y="33"/>
                  </a:moveTo>
                  <a:lnTo>
                    <a:pt x="1061" y="33"/>
                  </a:lnTo>
                  <a:lnTo>
                    <a:pt x="1061" y="129"/>
                  </a:lnTo>
                  <a:lnTo>
                    <a:pt x="992" y="129"/>
                  </a:lnTo>
                  <a:lnTo>
                    <a:pt x="992" y="33"/>
                  </a:lnTo>
                  <a:close/>
                  <a:moveTo>
                    <a:pt x="1061" y="161"/>
                  </a:moveTo>
                  <a:lnTo>
                    <a:pt x="1061" y="257"/>
                  </a:lnTo>
                  <a:lnTo>
                    <a:pt x="992" y="257"/>
                  </a:lnTo>
                  <a:lnTo>
                    <a:pt x="992" y="161"/>
                  </a:lnTo>
                  <a:lnTo>
                    <a:pt x="1061" y="161"/>
                  </a:lnTo>
                  <a:close/>
                  <a:moveTo>
                    <a:pt x="1061" y="640"/>
                  </a:moveTo>
                  <a:lnTo>
                    <a:pt x="992" y="640"/>
                  </a:lnTo>
                  <a:lnTo>
                    <a:pt x="992" y="544"/>
                  </a:lnTo>
                  <a:lnTo>
                    <a:pt x="1061" y="544"/>
                  </a:lnTo>
                  <a:lnTo>
                    <a:pt x="1061" y="640"/>
                  </a:lnTo>
                  <a:close/>
                  <a:moveTo>
                    <a:pt x="1061" y="512"/>
                  </a:moveTo>
                  <a:lnTo>
                    <a:pt x="992" y="512"/>
                  </a:lnTo>
                  <a:lnTo>
                    <a:pt x="992" y="416"/>
                  </a:lnTo>
                  <a:lnTo>
                    <a:pt x="1061" y="416"/>
                  </a:lnTo>
                  <a:lnTo>
                    <a:pt x="1061" y="512"/>
                  </a:lnTo>
                  <a:close/>
                  <a:moveTo>
                    <a:pt x="1061" y="385"/>
                  </a:moveTo>
                  <a:lnTo>
                    <a:pt x="992" y="385"/>
                  </a:lnTo>
                  <a:lnTo>
                    <a:pt x="992" y="289"/>
                  </a:lnTo>
                  <a:lnTo>
                    <a:pt x="1061" y="289"/>
                  </a:lnTo>
                  <a:lnTo>
                    <a:pt x="1061" y="385"/>
                  </a:lnTo>
                  <a:close/>
                  <a:moveTo>
                    <a:pt x="1090" y="33"/>
                  </a:moveTo>
                  <a:lnTo>
                    <a:pt x="1159" y="33"/>
                  </a:lnTo>
                  <a:lnTo>
                    <a:pt x="1159" y="129"/>
                  </a:lnTo>
                  <a:lnTo>
                    <a:pt x="1090" y="129"/>
                  </a:lnTo>
                  <a:lnTo>
                    <a:pt x="1090" y="33"/>
                  </a:lnTo>
                  <a:close/>
                  <a:moveTo>
                    <a:pt x="1159" y="161"/>
                  </a:moveTo>
                  <a:lnTo>
                    <a:pt x="1159" y="257"/>
                  </a:lnTo>
                  <a:lnTo>
                    <a:pt x="1090" y="257"/>
                  </a:lnTo>
                  <a:lnTo>
                    <a:pt x="1090" y="161"/>
                  </a:lnTo>
                  <a:lnTo>
                    <a:pt x="1159" y="161"/>
                  </a:lnTo>
                  <a:close/>
                  <a:moveTo>
                    <a:pt x="1159" y="640"/>
                  </a:moveTo>
                  <a:lnTo>
                    <a:pt x="1090" y="640"/>
                  </a:lnTo>
                  <a:lnTo>
                    <a:pt x="1090" y="544"/>
                  </a:lnTo>
                  <a:lnTo>
                    <a:pt x="1159" y="544"/>
                  </a:lnTo>
                  <a:lnTo>
                    <a:pt x="1159" y="640"/>
                  </a:lnTo>
                  <a:close/>
                  <a:moveTo>
                    <a:pt x="1159" y="512"/>
                  </a:moveTo>
                  <a:lnTo>
                    <a:pt x="1090" y="512"/>
                  </a:lnTo>
                  <a:lnTo>
                    <a:pt x="1090" y="416"/>
                  </a:lnTo>
                  <a:lnTo>
                    <a:pt x="1159" y="416"/>
                  </a:lnTo>
                  <a:lnTo>
                    <a:pt x="1159" y="512"/>
                  </a:lnTo>
                  <a:close/>
                  <a:moveTo>
                    <a:pt x="1159" y="385"/>
                  </a:moveTo>
                  <a:lnTo>
                    <a:pt x="1090" y="385"/>
                  </a:lnTo>
                  <a:lnTo>
                    <a:pt x="1090" y="289"/>
                  </a:lnTo>
                  <a:lnTo>
                    <a:pt x="1159" y="289"/>
                  </a:lnTo>
                  <a:lnTo>
                    <a:pt x="1159" y="385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grpSp>
        <p:nvGrpSpPr>
          <p:cNvPr id="213" name="Group 17">
            <a:extLst>
              <a:ext uri="{FF2B5EF4-FFF2-40B4-BE49-F238E27FC236}">
                <a16:creationId xmlns:a16="http://schemas.microsoft.com/office/drawing/2014/main" xmlns="" id="{FFB31E17-B64D-4CDA-BB51-857E88F98725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236812" y="1583369"/>
            <a:ext cx="722309" cy="328655"/>
            <a:chOff x="513" y="1083"/>
            <a:chExt cx="4734" cy="2154"/>
          </a:xfrm>
          <a:effectLst>
            <a:outerShdw blurRad="101600" dist="76200" dir="2700000" algn="ctr" rotWithShape="0">
              <a:srgbClr val="000000">
                <a:alpha val="29000"/>
              </a:srgbClr>
            </a:outerShdw>
          </a:effectLst>
        </p:grpSpPr>
        <p:sp>
          <p:nvSpPr>
            <p:cNvPr id="214" name="AutoShape 16">
              <a:extLst>
                <a:ext uri="{FF2B5EF4-FFF2-40B4-BE49-F238E27FC236}">
                  <a16:creationId xmlns:a16="http://schemas.microsoft.com/office/drawing/2014/main" xmlns="" id="{5B97349E-7EA7-4757-B1AC-191D74BF93E1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13" y="1083"/>
              <a:ext cx="4734" cy="21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15" name="Freeform 18">
              <a:extLst>
                <a:ext uri="{FF2B5EF4-FFF2-40B4-BE49-F238E27FC236}">
                  <a16:creationId xmlns:a16="http://schemas.microsoft.com/office/drawing/2014/main" xmlns="" id="{98513D7E-08DC-4AE4-95FE-9393E72DCEBE}"/>
                </a:ext>
              </a:extLst>
            </p:cNvPr>
            <p:cNvSpPr>
              <a:spLocks/>
            </p:cNvSpPr>
            <p:nvPr/>
          </p:nvSpPr>
          <p:spPr bwMode="auto">
            <a:xfrm>
              <a:off x="515" y="1081"/>
              <a:ext cx="4734" cy="2154"/>
            </a:xfrm>
            <a:custGeom>
              <a:avLst/>
              <a:gdLst>
                <a:gd name="T0" fmla="*/ 4734 w 4734"/>
                <a:gd name="T1" fmla="*/ 684 h 2154"/>
                <a:gd name="T2" fmla="*/ 4734 w 4734"/>
                <a:gd name="T3" fmla="*/ 2154 h 2154"/>
                <a:gd name="T4" fmla="*/ 0 w 4734"/>
                <a:gd name="T5" fmla="*/ 2154 h 2154"/>
                <a:gd name="T6" fmla="*/ 0 w 4734"/>
                <a:gd name="T7" fmla="*/ 0 h 2154"/>
                <a:gd name="T8" fmla="*/ 1141 w 4734"/>
                <a:gd name="T9" fmla="*/ 595 h 2154"/>
                <a:gd name="T10" fmla="*/ 1141 w 4734"/>
                <a:gd name="T11" fmla="*/ 0 h 2154"/>
                <a:gd name="T12" fmla="*/ 2282 w 4734"/>
                <a:gd name="T13" fmla="*/ 595 h 2154"/>
                <a:gd name="T14" fmla="*/ 2282 w 4734"/>
                <a:gd name="T15" fmla="*/ 0 h 2154"/>
                <a:gd name="T16" fmla="*/ 3423 w 4734"/>
                <a:gd name="T17" fmla="*/ 595 h 2154"/>
                <a:gd name="T18" fmla="*/ 3423 w 4734"/>
                <a:gd name="T19" fmla="*/ 0 h 2154"/>
                <a:gd name="T20" fmla="*/ 4734 w 4734"/>
                <a:gd name="T21" fmla="*/ 684 h 2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734" h="2154">
                  <a:moveTo>
                    <a:pt x="4734" y="684"/>
                  </a:moveTo>
                  <a:lnTo>
                    <a:pt x="4734" y="2154"/>
                  </a:lnTo>
                  <a:lnTo>
                    <a:pt x="0" y="2154"/>
                  </a:lnTo>
                  <a:lnTo>
                    <a:pt x="0" y="0"/>
                  </a:lnTo>
                  <a:lnTo>
                    <a:pt x="1141" y="595"/>
                  </a:lnTo>
                  <a:lnTo>
                    <a:pt x="1141" y="0"/>
                  </a:lnTo>
                  <a:lnTo>
                    <a:pt x="2282" y="595"/>
                  </a:lnTo>
                  <a:lnTo>
                    <a:pt x="2282" y="0"/>
                  </a:lnTo>
                  <a:lnTo>
                    <a:pt x="3423" y="595"/>
                  </a:lnTo>
                  <a:lnTo>
                    <a:pt x="3423" y="0"/>
                  </a:lnTo>
                  <a:lnTo>
                    <a:pt x="4734" y="68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16" name="Freeform 19">
              <a:extLst>
                <a:ext uri="{FF2B5EF4-FFF2-40B4-BE49-F238E27FC236}">
                  <a16:creationId xmlns:a16="http://schemas.microsoft.com/office/drawing/2014/main" xmlns="" id="{E9C2E321-A6FA-4B71-AB4D-32D5801410E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0" y="1220"/>
              <a:ext cx="4564" cy="1930"/>
            </a:xfrm>
            <a:custGeom>
              <a:avLst/>
              <a:gdLst>
                <a:gd name="T0" fmla="*/ 3423 w 4564"/>
                <a:gd name="T1" fmla="*/ 0 h 1930"/>
                <a:gd name="T2" fmla="*/ 3423 w 4564"/>
                <a:gd name="T3" fmla="*/ 597 h 1930"/>
                <a:gd name="T4" fmla="*/ 2282 w 4564"/>
                <a:gd name="T5" fmla="*/ 0 h 1930"/>
                <a:gd name="T6" fmla="*/ 2282 w 4564"/>
                <a:gd name="T7" fmla="*/ 597 h 1930"/>
                <a:gd name="T8" fmla="*/ 1141 w 4564"/>
                <a:gd name="T9" fmla="*/ 0 h 1930"/>
                <a:gd name="T10" fmla="*/ 1141 w 4564"/>
                <a:gd name="T11" fmla="*/ 597 h 1930"/>
                <a:gd name="T12" fmla="*/ 0 w 4564"/>
                <a:gd name="T13" fmla="*/ 0 h 1930"/>
                <a:gd name="T14" fmla="*/ 0 w 4564"/>
                <a:gd name="T15" fmla="*/ 1930 h 1930"/>
                <a:gd name="T16" fmla="*/ 4564 w 4564"/>
                <a:gd name="T17" fmla="*/ 1930 h 1930"/>
                <a:gd name="T18" fmla="*/ 4564 w 4564"/>
                <a:gd name="T19" fmla="*/ 597 h 1930"/>
                <a:gd name="T20" fmla="*/ 3423 w 4564"/>
                <a:gd name="T21" fmla="*/ 0 h 1930"/>
                <a:gd name="T22" fmla="*/ 1458 w 4564"/>
                <a:gd name="T23" fmla="*/ 1684 h 1930"/>
                <a:gd name="T24" fmla="*/ 317 w 4564"/>
                <a:gd name="T25" fmla="*/ 1684 h 1930"/>
                <a:gd name="T26" fmla="*/ 317 w 4564"/>
                <a:gd name="T27" fmla="*/ 1018 h 1930"/>
                <a:gd name="T28" fmla="*/ 1458 w 4564"/>
                <a:gd name="T29" fmla="*/ 1018 h 1930"/>
                <a:gd name="T30" fmla="*/ 1458 w 4564"/>
                <a:gd name="T31" fmla="*/ 1684 h 1930"/>
                <a:gd name="T32" fmla="*/ 2854 w 4564"/>
                <a:gd name="T33" fmla="*/ 1684 h 1930"/>
                <a:gd name="T34" fmla="*/ 1711 w 4564"/>
                <a:gd name="T35" fmla="*/ 1684 h 1930"/>
                <a:gd name="T36" fmla="*/ 1711 w 4564"/>
                <a:gd name="T37" fmla="*/ 1018 h 1930"/>
                <a:gd name="T38" fmla="*/ 2854 w 4564"/>
                <a:gd name="T39" fmla="*/ 1018 h 1930"/>
                <a:gd name="T40" fmla="*/ 2854 w 4564"/>
                <a:gd name="T41" fmla="*/ 1684 h 1930"/>
                <a:gd name="T42" fmla="*/ 4248 w 4564"/>
                <a:gd name="T43" fmla="*/ 1684 h 1930"/>
                <a:gd name="T44" fmla="*/ 3107 w 4564"/>
                <a:gd name="T45" fmla="*/ 1684 h 1930"/>
                <a:gd name="T46" fmla="*/ 3107 w 4564"/>
                <a:gd name="T47" fmla="*/ 1018 h 1930"/>
                <a:gd name="T48" fmla="*/ 4248 w 4564"/>
                <a:gd name="T49" fmla="*/ 1018 h 1930"/>
                <a:gd name="T50" fmla="*/ 4248 w 4564"/>
                <a:gd name="T51" fmla="*/ 1684 h 19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4564" h="1930">
                  <a:moveTo>
                    <a:pt x="3423" y="0"/>
                  </a:moveTo>
                  <a:lnTo>
                    <a:pt x="3423" y="597"/>
                  </a:lnTo>
                  <a:lnTo>
                    <a:pt x="2282" y="0"/>
                  </a:lnTo>
                  <a:lnTo>
                    <a:pt x="2282" y="597"/>
                  </a:lnTo>
                  <a:lnTo>
                    <a:pt x="1141" y="0"/>
                  </a:lnTo>
                  <a:lnTo>
                    <a:pt x="1141" y="597"/>
                  </a:lnTo>
                  <a:lnTo>
                    <a:pt x="0" y="0"/>
                  </a:lnTo>
                  <a:lnTo>
                    <a:pt x="0" y="1930"/>
                  </a:lnTo>
                  <a:lnTo>
                    <a:pt x="4564" y="1930"/>
                  </a:lnTo>
                  <a:lnTo>
                    <a:pt x="4564" y="597"/>
                  </a:lnTo>
                  <a:lnTo>
                    <a:pt x="3423" y="0"/>
                  </a:lnTo>
                  <a:close/>
                  <a:moveTo>
                    <a:pt x="1458" y="1684"/>
                  </a:moveTo>
                  <a:lnTo>
                    <a:pt x="317" y="1684"/>
                  </a:lnTo>
                  <a:lnTo>
                    <a:pt x="317" y="1018"/>
                  </a:lnTo>
                  <a:lnTo>
                    <a:pt x="1458" y="1018"/>
                  </a:lnTo>
                  <a:lnTo>
                    <a:pt x="1458" y="1684"/>
                  </a:lnTo>
                  <a:close/>
                  <a:moveTo>
                    <a:pt x="2854" y="1684"/>
                  </a:moveTo>
                  <a:lnTo>
                    <a:pt x="1711" y="1684"/>
                  </a:lnTo>
                  <a:lnTo>
                    <a:pt x="1711" y="1018"/>
                  </a:lnTo>
                  <a:lnTo>
                    <a:pt x="2854" y="1018"/>
                  </a:lnTo>
                  <a:lnTo>
                    <a:pt x="2854" y="1684"/>
                  </a:lnTo>
                  <a:close/>
                  <a:moveTo>
                    <a:pt x="4248" y="1684"/>
                  </a:moveTo>
                  <a:lnTo>
                    <a:pt x="3107" y="1684"/>
                  </a:lnTo>
                  <a:lnTo>
                    <a:pt x="3107" y="1018"/>
                  </a:lnTo>
                  <a:lnTo>
                    <a:pt x="4248" y="1018"/>
                  </a:lnTo>
                  <a:lnTo>
                    <a:pt x="4248" y="1684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grpSp>
        <p:nvGrpSpPr>
          <p:cNvPr id="217" name="Group 11">
            <a:extLst>
              <a:ext uri="{FF2B5EF4-FFF2-40B4-BE49-F238E27FC236}">
                <a16:creationId xmlns:a16="http://schemas.microsoft.com/office/drawing/2014/main" xmlns="" id="{F4E4351D-4F0C-42BD-8665-837AF1CDF2EA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238141" y="4106402"/>
            <a:ext cx="437408" cy="446734"/>
            <a:chOff x="2387" y="1657"/>
            <a:chExt cx="985" cy="1006"/>
          </a:xfrm>
          <a:effectLst>
            <a:outerShdw blurRad="101600" dist="76200" dir="2700000" algn="ctr" rotWithShape="0">
              <a:srgbClr val="000000">
                <a:alpha val="29000"/>
              </a:srgbClr>
            </a:outerShdw>
          </a:effectLst>
        </p:grpSpPr>
        <p:sp>
          <p:nvSpPr>
            <p:cNvPr id="218" name="AutoShape 10">
              <a:extLst>
                <a:ext uri="{FF2B5EF4-FFF2-40B4-BE49-F238E27FC236}">
                  <a16:creationId xmlns:a16="http://schemas.microsoft.com/office/drawing/2014/main" xmlns="" id="{B9AC12E5-1AD1-449A-AC33-92A983FAE900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387" y="1657"/>
              <a:ext cx="985" cy="100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9" name="Freeform 12">
              <a:extLst>
                <a:ext uri="{FF2B5EF4-FFF2-40B4-BE49-F238E27FC236}">
                  <a16:creationId xmlns:a16="http://schemas.microsoft.com/office/drawing/2014/main" xmlns="" id="{1D2DF8A5-FF4A-49C6-9C3A-91CA0892EA58}"/>
                </a:ext>
              </a:extLst>
            </p:cNvPr>
            <p:cNvSpPr>
              <a:spLocks/>
            </p:cNvSpPr>
            <p:nvPr/>
          </p:nvSpPr>
          <p:spPr bwMode="auto">
            <a:xfrm>
              <a:off x="2387" y="1659"/>
              <a:ext cx="985" cy="1006"/>
            </a:xfrm>
            <a:custGeom>
              <a:avLst/>
              <a:gdLst>
                <a:gd name="T0" fmla="*/ 417 w 417"/>
                <a:gd name="T1" fmla="*/ 426 h 426"/>
                <a:gd name="T2" fmla="*/ 0 w 417"/>
                <a:gd name="T3" fmla="*/ 426 h 426"/>
                <a:gd name="T4" fmla="*/ 7 w 417"/>
                <a:gd name="T5" fmla="*/ 330 h 426"/>
                <a:gd name="T6" fmla="*/ 81 w 417"/>
                <a:gd name="T7" fmla="*/ 252 h 426"/>
                <a:gd name="T8" fmla="*/ 126 w 417"/>
                <a:gd name="T9" fmla="*/ 236 h 426"/>
                <a:gd name="T10" fmla="*/ 94 w 417"/>
                <a:gd name="T11" fmla="*/ 156 h 426"/>
                <a:gd name="T12" fmla="*/ 114 w 417"/>
                <a:gd name="T13" fmla="*/ 44 h 426"/>
                <a:gd name="T14" fmla="*/ 211 w 417"/>
                <a:gd name="T15" fmla="*/ 0 h 426"/>
                <a:gd name="T16" fmla="*/ 306 w 417"/>
                <a:gd name="T17" fmla="*/ 41 h 426"/>
                <a:gd name="T18" fmla="*/ 326 w 417"/>
                <a:gd name="T19" fmla="*/ 130 h 426"/>
                <a:gd name="T20" fmla="*/ 324 w 417"/>
                <a:gd name="T21" fmla="*/ 143 h 426"/>
                <a:gd name="T22" fmla="*/ 289 w 417"/>
                <a:gd name="T23" fmla="*/ 235 h 426"/>
                <a:gd name="T24" fmla="*/ 336 w 417"/>
                <a:gd name="T25" fmla="*/ 252 h 426"/>
                <a:gd name="T26" fmla="*/ 411 w 417"/>
                <a:gd name="T27" fmla="*/ 330 h 426"/>
                <a:gd name="T28" fmla="*/ 417 w 417"/>
                <a:gd name="T29" fmla="*/ 426 h 4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17" h="426">
                  <a:moveTo>
                    <a:pt x="417" y="426"/>
                  </a:moveTo>
                  <a:cubicBezTo>
                    <a:pt x="0" y="426"/>
                    <a:pt x="0" y="426"/>
                    <a:pt x="0" y="426"/>
                  </a:cubicBezTo>
                  <a:cubicBezTo>
                    <a:pt x="7" y="330"/>
                    <a:pt x="7" y="330"/>
                    <a:pt x="7" y="330"/>
                  </a:cubicBezTo>
                  <a:cubicBezTo>
                    <a:pt x="7" y="288"/>
                    <a:pt x="40" y="254"/>
                    <a:pt x="81" y="252"/>
                  </a:cubicBezTo>
                  <a:cubicBezTo>
                    <a:pt x="126" y="236"/>
                    <a:pt x="126" y="236"/>
                    <a:pt x="126" y="236"/>
                  </a:cubicBezTo>
                  <a:cubicBezTo>
                    <a:pt x="108" y="210"/>
                    <a:pt x="99" y="178"/>
                    <a:pt x="94" y="156"/>
                  </a:cubicBezTo>
                  <a:cubicBezTo>
                    <a:pt x="81" y="100"/>
                    <a:pt x="97" y="64"/>
                    <a:pt x="114" y="44"/>
                  </a:cubicBezTo>
                  <a:cubicBezTo>
                    <a:pt x="136" y="16"/>
                    <a:pt x="172" y="0"/>
                    <a:pt x="211" y="0"/>
                  </a:cubicBezTo>
                  <a:cubicBezTo>
                    <a:pt x="250" y="0"/>
                    <a:pt x="285" y="15"/>
                    <a:pt x="306" y="41"/>
                  </a:cubicBezTo>
                  <a:cubicBezTo>
                    <a:pt x="320" y="58"/>
                    <a:pt x="335" y="87"/>
                    <a:pt x="326" y="130"/>
                  </a:cubicBezTo>
                  <a:cubicBezTo>
                    <a:pt x="325" y="134"/>
                    <a:pt x="324" y="139"/>
                    <a:pt x="324" y="143"/>
                  </a:cubicBezTo>
                  <a:cubicBezTo>
                    <a:pt x="318" y="174"/>
                    <a:pt x="312" y="204"/>
                    <a:pt x="289" y="235"/>
                  </a:cubicBezTo>
                  <a:cubicBezTo>
                    <a:pt x="336" y="252"/>
                    <a:pt x="336" y="252"/>
                    <a:pt x="336" y="252"/>
                  </a:cubicBezTo>
                  <a:cubicBezTo>
                    <a:pt x="378" y="254"/>
                    <a:pt x="411" y="288"/>
                    <a:pt x="411" y="330"/>
                  </a:cubicBezTo>
                  <a:lnTo>
                    <a:pt x="417" y="42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0" name="Freeform 13">
              <a:extLst>
                <a:ext uri="{FF2B5EF4-FFF2-40B4-BE49-F238E27FC236}">
                  <a16:creationId xmlns:a16="http://schemas.microsoft.com/office/drawing/2014/main" xmlns="" id="{20669ADB-7161-44F8-8C02-71E5A7623EE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48" y="1716"/>
              <a:ext cx="865" cy="890"/>
            </a:xfrm>
            <a:custGeom>
              <a:avLst/>
              <a:gdLst>
                <a:gd name="T0" fmla="*/ 282 w 366"/>
                <a:gd name="T1" fmla="*/ 113 h 377"/>
                <a:gd name="T2" fmla="*/ 276 w 366"/>
                <a:gd name="T3" fmla="*/ 104 h 377"/>
                <a:gd name="T4" fmla="*/ 277 w 366"/>
                <a:gd name="T5" fmla="*/ 100 h 377"/>
                <a:gd name="T6" fmla="*/ 182 w 366"/>
                <a:gd name="T7" fmla="*/ 0 h 377"/>
                <a:gd name="T8" fmla="*/ 87 w 366"/>
                <a:gd name="T9" fmla="*/ 100 h 377"/>
                <a:gd name="T10" fmla="*/ 88 w 366"/>
                <a:gd name="T11" fmla="*/ 104 h 377"/>
                <a:gd name="T12" fmla="*/ 82 w 366"/>
                <a:gd name="T13" fmla="*/ 113 h 377"/>
                <a:gd name="T14" fmla="*/ 92 w 366"/>
                <a:gd name="T15" fmla="*/ 148 h 377"/>
                <a:gd name="T16" fmla="*/ 100 w 366"/>
                <a:gd name="T17" fmla="*/ 151 h 377"/>
                <a:gd name="T18" fmla="*/ 109 w 366"/>
                <a:gd name="T19" fmla="*/ 169 h 377"/>
                <a:gd name="T20" fmla="*/ 255 w 366"/>
                <a:gd name="T21" fmla="*/ 169 h 377"/>
                <a:gd name="T22" fmla="*/ 264 w 366"/>
                <a:gd name="T23" fmla="*/ 151 h 377"/>
                <a:gd name="T24" fmla="*/ 272 w 366"/>
                <a:gd name="T25" fmla="*/ 148 h 377"/>
                <a:gd name="T26" fmla="*/ 282 w 366"/>
                <a:gd name="T27" fmla="*/ 113 h 377"/>
                <a:gd name="T28" fmla="*/ 241 w 366"/>
                <a:gd name="T29" fmla="*/ 78 h 377"/>
                <a:gd name="T30" fmla="*/ 256 w 366"/>
                <a:gd name="T31" fmla="*/ 84 h 377"/>
                <a:gd name="T32" fmla="*/ 270 w 366"/>
                <a:gd name="T33" fmla="*/ 103 h 377"/>
                <a:gd name="T34" fmla="*/ 270 w 366"/>
                <a:gd name="T35" fmla="*/ 104 h 377"/>
                <a:gd name="T36" fmla="*/ 271 w 366"/>
                <a:gd name="T37" fmla="*/ 112 h 377"/>
                <a:gd name="T38" fmla="*/ 276 w 366"/>
                <a:gd name="T39" fmla="*/ 116 h 377"/>
                <a:gd name="T40" fmla="*/ 268 w 366"/>
                <a:gd name="T41" fmla="*/ 144 h 377"/>
                <a:gd name="T42" fmla="*/ 267 w 366"/>
                <a:gd name="T43" fmla="*/ 144 h 377"/>
                <a:gd name="T44" fmla="*/ 267 w 366"/>
                <a:gd name="T45" fmla="*/ 144 h 377"/>
                <a:gd name="T46" fmla="*/ 259 w 366"/>
                <a:gd name="T47" fmla="*/ 147 h 377"/>
                <a:gd name="T48" fmla="*/ 251 w 366"/>
                <a:gd name="T49" fmla="*/ 161 h 377"/>
                <a:gd name="T50" fmla="*/ 249 w 366"/>
                <a:gd name="T51" fmla="*/ 166 h 377"/>
                <a:gd name="T52" fmla="*/ 182 w 366"/>
                <a:gd name="T53" fmla="*/ 223 h 377"/>
                <a:gd name="T54" fmla="*/ 115 w 366"/>
                <a:gd name="T55" fmla="*/ 166 h 377"/>
                <a:gd name="T56" fmla="*/ 113 w 366"/>
                <a:gd name="T57" fmla="*/ 161 h 377"/>
                <a:gd name="T58" fmla="*/ 105 w 366"/>
                <a:gd name="T59" fmla="*/ 147 h 377"/>
                <a:gd name="T60" fmla="*/ 97 w 366"/>
                <a:gd name="T61" fmla="*/ 144 h 377"/>
                <a:gd name="T62" fmla="*/ 97 w 366"/>
                <a:gd name="T63" fmla="*/ 144 h 377"/>
                <a:gd name="T64" fmla="*/ 97 w 366"/>
                <a:gd name="T65" fmla="*/ 144 h 377"/>
                <a:gd name="T66" fmla="*/ 88 w 366"/>
                <a:gd name="T67" fmla="*/ 116 h 377"/>
                <a:gd name="T68" fmla="*/ 93 w 366"/>
                <a:gd name="T69" fmla="*/ 113 h 377"/>
                <a:gd name="T70" fmla="*/ 95 w 366"/>
                <a:gd name="T71" fmla="*/ 105 h 377"/>
                <a:gd name="T72" fmla="*/ 114 w 366"/>
                <a:gd name="T73" fmla="*/ 86 h 377"/>
                <a:gd name="T74" fmla="*/ 130 w 366"/>
                <a:gd name="T75" fmla="*/ 70 h 377"/>
                <a:gd name="T76" fmla="*/ 165 w 366"/>
                <a:gd name="T77" fmla="*/ 74 h 377"/>
                <a:gd name="T78" fmla="*/ 213 w 366"/>
                <a:gd name="T79" fmla="*/ 64 h 377"/>
                <a:gd name="T80" fmla="*/ 366 w 366"/>
                <a:gd name="T81" fmla="*/ 377 h 377"/>
                <a:gd name="T82" fmla="*/ 0 w 366"/>
                <a:gd name="T83" fmla="*/ 377 h 377"/>
                <a:gd name="T84" fmla="*/ 5 w 366"/>
                <a:gd name="T85" fmla="*/ 306 h 377"/>
                <a:gd name="T86" fmla="*/ 60 w 366"/>
                <a:gd name="T87" fmla="*/ 251 h 377"/>
                <a:gd name="T88" fmla="*/ 135 w 366"/>
                <a:gd name="T89" fmla="*/ 225 h 377"/>
                <a:gd name="T90" fmla="*/ 135 w 366"/>
                <a:gd name="T91" fmla="*/ 225 h 377"/>
                <a:gd name="T92" fmla="*/ 135 w 366"/>
                <a:gd name="T93" fmla="*/ 226 h 377"/>
                <a:gd name="T94" fmla="*/ 148 w 366"/>
                <a:gd name="T95" fmla="*/ 245 h 377"/>
                <a:gd name="T96" fmla="*/ 167 w 366"/>
                <a:gd name="T97" fmla="*/ 294 h 377"/>
                <a:gd name="T98" fmla="*/ 174 w 366"/>
                <a:gd name="T99" fmla="*/ 248 h 377"/>
                <a:gd name="T100" fmla="*/ 168 w 366"/>
                <a:gd name="T101" fmla="*/ 240 h 377"/>
                <a:gd name="T102" fmla="*/ 183 w 366"/>
                <a:gd name="T103" fmla="*/ 241 h 377"/>
                <a:gd name="T104" fmla="*/ 198 w 366"/>
                <a:gd name="T105" fmla="*/ 240 h 377"/>
                <a:gd name="T106" fmla="*/ 193 w 366"/>
                <a:gd name="T107" fmla="*/ 248 h 377"/>
                <a:gd name="T108" fmla="*/ 200 w 366"/>
                <a:gd name="T109" fmla="*/ 294 h 377"/>
                <a:gd name="T110" fmla="*/ 219 w 366"/>
                <a:gd name="T111" fmla="*/ 245 h 377"/>
                <a:gd name="T112" fmla="*/ 229 w 366"/>
                <a:gd name="T113" fmla="*/ 228 h 377"/>
                <a:gd name="T114" fmla="*/ 229 w 366"/>
                <a:gd name="T115" fmla="*/ 228 h 377"/>
                <a:gd name="T116" fmla="*/ 231 w 366"/>
                <a:gd name="T117" fmla="*/ 225 h 377"/>
                <a:gd name="T118" fmla="*/ 232 w 366"/>
                <a:gd name="T119" fmla="*/ 226 h 377"/>
                <a:gd name="T120" fmla="*/ 306 w 366"/>
                <a:gd name="T121" fmla="*/ 251 h 377"/>
                <a:gd name="T122" fmla="*/ 361 w 366"/>
                <a:gd name="T123" fmla="*/ 306 h 377"/>
                <a:gd name="T124" fmla="*/ 366 w 366"/>
                <a:gd name="T125" fmla="*/ 377 h 3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66" h="377">
                  <a:moveTo>
                    <a:pt x="282" y="113"/>
                  </a:moveTo>
                  <a:cubicBezTo>
                    <a:pt x="280" y="107"/>
                    <a:pt x="275" y="114"/>
                    <a:pt x="276" y="104"/>
                  </a:cubicBezTo>
                  <a:cubicBezTo>
                    <a:pt x="277" y="103"/>
                    <a:pt x="277" y="101"/>
                    <a:pt x="277" y="100"/>
                  </a:cubicBezTo>
                  <a:cubicBezTo>
                    <a:pt x="277" y="44"/>
                    <a:pt x="252" y="3"/>
                    <a:pt x="182" y="0"/>
                  </a:cubicBezTo>
                  <a:cubicBezTo>
                    <a:pt x="112" y="3"/>
                    <a:pt x="87" y="44"/>
                    <a:pt x="87" y="100"/>
                  </a:cubicBezTo>
                  <a:cubicBezTo>
                    <a:pt x="87" y="101"/>
                    <a:pt x="88" y="103"/>
                    <a:pt x="88" y="104"/>
                  </a:cubicBezTo>
                  <a:cubicBezTo>
                    <a:pt x="89" y="114"/>
                    <a:pt x="84" y="107"/>
                    <a:pt x="82" y="113"/>
                  </a:cubicBezTo>
                  <a:cubicBezTo>
                    <a:pt x="78" y="125"/>
                    <a:pt x="85" y="143"/>
                    <a:pt x="92" y="148"/>
                  </a:cubicBezTo>
                  <a:cubicBezTo>
                    <a:pt x="97" y="152"/>
                    <a:pt x="98" y="149"/>
                    <a:pt x="100" y="151"/>
                  </a:cubicBezTo>
                  <a:cubicBezTo>
                    <a:pt x="103" y="155"/>
                    <a:pt x="106" y="163"/>
                    <a:pt x="109" y="169"/>
                  </a:cubicBezTo>
                  <a:cubicBezTo>
                    <a:pt x="150" y="249"/>
                    <a:pt x="214" y="249"/>
                    <a:pt x="255" y="169"/>
                  </a:cubicBezTo>
                  <a:cubicBezTo>
                    <a:pt x="258" y="163"/>
                    <a:pt x="261" y="155"/>
                    <a:pt x="264" y="151"/>
                  </a:cubicBezTo>
                  <a:cubicBezTo>
                    <a:pt x="266" y="149"/>
                    <a:pt x="268" y="152"/>
                    <a:pt x="272" y="148"/>
                  </a:cubicBezTo>
                  <a:cubicBezTo>
                    <a:pt x="280" y="143"/>
                    <a:pt x="286" y="125"/>
                    <a:pt x="282" y="113"/>
                  </a:cubicBezTo>
                  <a:close/>
                  <a:moveTo>
                    <a:pt x="241" y="78"/>
                  </a:moveTo>
                  <a:cubicBezTo>
                    <a:pt x="242" y="91"/>
                    <a:pt x="249" y="91"/>
                    <a:pt x="256" y="84"/>
                  </a:cubicBezTo>
                  <a:cubicBezTo>
                    <a:pt x="264" y="77"/>
                    <a:pt x="268" y="94"/>
                    <a:pt x="270" y="103"/>
                  </a:cubicBezTo>
                  <a:cubicBezTo>
                    <a:pt x="270" y="103"/>
                    <a:pt x="270" y="104"/>
                    <a:pt x="270" y="104"/>
                  </a:cubicBezTo>
                  <a:cubicBezTo>
                    <a:pt x="269" y="108"/>
                    <a:pt x="269" y="110"/>
                    <a:pt x="271" y="112"/>
                  </a:cubicBezTo>
                  <a:cubicBezTo>
                    <a:pt x="272" y="114"/>
                    <a:pt x="273" y="115"/>
                    <a:pt x="276" y="116"/>
                  </a:cubicBezTo>
                  <a:cubicBezTo>
                    <a:pt x="279" y="125"/>
                    <a:pt x="273" y="140"/>
                    <a:pt x="268" y="144"/>
                  </a:cubicBezTo>
                  <a:cubicBezTo>
                    <a:pt x="267" y="144"/>
                    <a:pt x="267" y="144"/>
                    <a:pt x="267" y="144"/>
                  </a:cubicBezTo>
                  <a:cubicBezTo>
                    <a:pt x="267" y="144"/>
                    <a:pt x="267" y="144"/>
                    <a:pt x="267" y="144"/>
                  </a:cubicBezTo>
                  <a:cubicBezTo>
                    <a:pt x="265" y="144"/>
                    <a:pt x="262" y="144"/>
                    <a:pt x="259" y="147"/>
                  </a:cubicBezTo>
                  <a:cubicBezTo>
                    <a:pt x="256" y="150"/>
                    <a:pt x="254" y="155"/>
                    <a:pt x="251" y="161"/>
                  </a:cubicBezTo>
                  <a:cubicBezTo>
                    <a:pt x="251" y="162"/>
                    <a:pt x="250" y="164"/>
                    <a:pt x="249" y="166"/>
                  </a:cubicBezTo>
                  <a:cubicBezTo>
                    <a:pt x="230" y="202"/>
                    <a:pt x="206" y="223"/>
                    <a:pt x="182" y="223"/>
                  </a:cubicBezTo>
                  <a:cubicBezTo>
                    <a:pt x="158" y="223"/>
                    <a:pt x="134" y="202"/>
                    <a:pt x="115" y="166"/>
                  </a:cubicBezTo>
                  <a:cubicBezTo>
                    <a:pt x="114" y="164"/>
                    <a:pt x="114" y="162"/>
                    <a:pt x="113" y="161"/>
                  </a:cubicBezTo>
                  <a:cubicBezTo>
                    <a:pt x="110" y="155"/>
                    <a:pt x="108" y="150"/>
                    <a:pt x="105" y="147"/>
                  </a:cubicBezTo>
                  <a:cubicBezTo>
                    <a:pt x="102" y="144"/>
                    <a:pt x="99" y="144"/>
                    <a:pt x="97" y="144"/>
                  </a:cubicBezTo>
                  <a:cubicBezTo>
                    <a:pt x="97" y="144"/>
                    <a:pt x="97" y="144"/>
                    <a:pt x="97" y="144"/>
                  </a:cubicBezTo>
                  <a:cubicBezTo>
                    <a:pt x="97" y="144"/>
                    <a:pt x="97" y="144"/>
                    <a:pt x="97" y="144"/>
                  </a:cubicBezTo>
                  <a:cubicBezTo>
                    <a:pt x="91" y="140"/>
                    <a:pt x="86" y="126"/>
                    <a:pt x="88" y="116"/>
                  </a:cubicBezTo>
                  <a:cubicBezTo>
                    <a:pt x="90" y="115"/>
                    <a:pt x="91" y="115"/>
                    <a:pt x="93" y="113"/>
                  </a:cubicBezTo>
                  <a:cubicBezTo>
                    <a:pt x="95" y="111"/>
                    <a:pt x="95" y="108"/>
                    <a:pt x="95" y="105"/>
                  </a:cubicBezTo>
                  <a:cubicBezTo>
                    <a:pt x="98" y="89"/>
                    <a:pt x="104" y="72"/>
                    <a:pt x="114" y="86"/>
                  </a:cubicBezTo>
                  <a:cubicBezTo>
                    <a:pt x="122" y="98"/>
                    <a:pt x="127" y="86"/>
                    <a:pt x="130" y="70"/>
                  </a:cubicBezTo>
                  <a:cubicBezTo>
                    <a:pt x="133" y="48"/>
                    <a:pt x="146" y="64"/>
                    <a:pt x="165" y="74"/>
                  </a:cubicBezTo>
                  <a:cubicBezTo>
                    <a:pt x="182" y="83"/>
                    <a:pt x="201" y="78"/>
                    <a:pt x="213" y="64"/>
                  </a:cubicBezTo>
                  <a:moveTo>
                    <a:pt x="366" y="377"/>
                  </a:moveTo>
                  <a:cubicBezTo>
                    <a:pt x="0" y="377"/>
                    <a:pt x="0" y="377"/>
                    <a:pt x="0" y="377"/>
                  </a:cubicBezTo>
                  <a:cubicBezTo>
                    <a:pt x="5" y="306"/>
                    <a:pt x="5" y="306"/>
                    <a:pt x="5" y="306"/>
                  </a:cubicBezTo>
                  <a:cubicBezTo>
                    <a:pt x="5" y="276"/>
                    <a:pt x="29" y="251"/>
                    <a:pt x="60" y="251"/>
                  </a:cubicBezTo>
                  <a:cubicBezTo>
                    <a:pt x="135" y="225"/>
                    <a:pt x="135" y="225"/>
                    <a:pt x="135" y="225"/>
                  </a:cubicBezTo>
                  <a:cubicBezTo>
                    <a:pt x="135" y="225"/>
                    <a:pt x="135" y="225"/>
                    <a:pt x="135" y="225"/>
                  </a:cubicBezTo>
                  <a:cubicBezTo>
                    <a:pt x="135" y="226"/>
                    <a:pt x="135" y="226"/>
                    <a:pt x="135" y="226"/>
                  </a:cubicBezTo>
                  <a:cubicBezTo>
                    <a:pt x="148" y="245"/>
                    <a:pt x="148" y="245"/>
                    <a:pt x="148" y="245"/>
                  </a:cubicBezTo>
                  <a:cubicBezTo>
                    <a:pt x="167" y="294"/>
                    <a:pt x="167" y="294"/>
                    <a:pt x="167" y="294"/>
                  </a:cubicBezTo>
                  <a:cubicBezTo>
                    <a:pt x="174" y="248"/>
                    <a:pt x="174" y="248"/>
                    <a:pt x="174" y="248"/>
                  </a:cubicBezTo>
                  <a:cubicBezTo>
                    <a:pt x="168" y="240"/>
                    <a:pt x="168" y="240"/>
                    <a:pt x="168" y="240"/>
                  </a:cubicBezTo>
                  <a:cubicBezTo>
                    <a:pt x="173" y="241"/>
                    <a:pt x="178" y="241"/>
                    <a:pt x="183" y="241"/>
                  </a:cubicBezTo>
                  <a:cubicBezTo>
                    <a:pt x="189" y="241"/>
                    <a:pt x="194" y="241"/>
                    <a:pt x="198" y="240"/>
                  </a:cubicBezTo>
                  <a:cubicBezTo>
                    <a:pt x="193" y="248"/>
                    <a:pt x="193" y="248"/>
                    <a:pt x="193" y="248"/>
                  </a:cubicBezTo>
                  <a:cubicBezTo>
                    <a:pt x="200" y="294"/>
                    <a:pt x="200" y="294"/>
                    <a:pt x="200" y="294"/>
                  </a:cubicBezTo>
                  <a:cubicBezTo>
                    <a:pt x="219" y="245"/>
                    <a:pt x="219" y="245"/>
                    <a:pt x="219" y="245"/>
                  </a:cubicBezTo>
                  <a:cubicBezTo>
                    <a:pt x="229" y="228"/>
                    <a:pt x="229" y="228"/>
                    <a:pt x="229" y="228"/>
                  </a:cubicBezTo>
                  <a:cubicBezTo>
                    <a:pt x="229" y="228"/>
                    <a:pt x="229" y="228"/>
                    <a:pt x="229" y="228"/>
                  </a:cubicBezTo>
                  <a:cubicBezTo>
                    <a:pt x="231" y="225"/>
                    <a:pt x="231" y="225"/>
                    <a:pt x="231" y="225"/>
                  </a:cubicBezTo>
                  <a:cubicBezTo>
                    <a:pt x="232" y="226"/>
                    <a:pt x="232" y="226"/>
                    <a:pt x="232" y="226"/>
                  </a:cubicBezTo>
                  <a:cubicBezTo>
                    <a:pt x="306" y="251"/>
                    <a:pt x="306" y="251"/>
                    <a:pt x="306" y="251"/>
                  </a:cubicBezTo>
                  <a:cubicBezTo>
                    <a:pt x="336" y="251"/>
                    <a:pt x="361" y="276"/>
                    <a:pt x="361" y="306"/>
                  </a:cubicBezTo>
                  <a:lnTo>
                    <a:pt x="366" y="377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 w="0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21" name="Group 17">
            <a:extLst>
              <a:ext uri="{FF2B5EF4-FFF2-40B4-BE49-F238E27FC236}">
                <a16:creationId xmlns:a16="http://schemas.microsoft.com/office/drawing/2014/main" xmlns="" id="{06072910-E60F-44B5-8676-2CAE563A52B2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699011" y="4097048"/>
            <a:ext cx="448670" cy="461515"/>
            <a:chOff x="2391" y="1657"/>
            <a:chExt cx="978" cy="1006"/>
          </a:xfrm>
          <a:effectLst>
            <a:outerShdw blurRad="101600" dist="76200" dir="2700000" algn="ctr" rotWithShape="0">
              <a:srgbClr val="000000">
                <a:alpha val="29000"/>
              </a:srgbClr>
            </a:outerShdw>
          </a:effectLst>
        </p:grpSpPr>
        <p:sp>
          <p:nvSpPr>
            <p:cNvPr id="222" name="AutoShape 16">
              <a:extLst>
                <a:ext uri="{FF2B5EF4-FFF2-40B4-BE49-F238E27FC236}">
                  <a16:creationId xmlns:a16="http://schemas.microsoft.com/office/drawing/2014/main" xmlns="" id="{C5CE4717-5762-45C6-984E-40AADC310A04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391" y="1657"/>
              <a:ext cx="978" cy="100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3" name="Freeform 18">
              <a:extLst>
                <a:ext uri="{FF2B5EF4-FFF2-40B4-BE49-F238E27FC236}">
                  <a16:creationId xmlns:a16="http://schemas.microsoft.com/office/drawing/2014/main" xmlns="" id="{09C0605A-4F7A-44B0-B5EE-F22FBC4679F8}"/>
                </a:ext>
              </a:extLst>
            </p:cNvPr>
            <p:cNvSpPr>
              <a:spLocks/>
            </p:cNvSpPr>
            <p:nvPr/>
          </p:nvSpPr>
          <p:spPr bwMode="auto">
            <a:xfrm>
              <a:off x="2389" y="1657"/>
              <a:ext cx="982" cy="1006"/>
            </a:xfrm>
            <a:custGeom>
              <a:avLst/>
              <a:gdLst>
                <a:gd name="T0" fmla="*/ 416 w 416"/>
                <a:gd name="T1" fmla="*/ 426 h 426"/>
                <a:gd name="T2" fmla="*/ 0 w 416"/>
                <a:gd name="T3" fmla="*/ 426 h 426"/>
                <a:gd name="T4" fmla="*/ 6 w 416"/>
                <a:gd name="T5" fmla="*/ 330 h 426"/>
                <a:gd name="T6" fmla="*/ 81 w 416"/>
                <a:gd name="T7" fmla="*/ 252 h 426"/>
                <a:gd name="T8" fmla="*/ 126 w 416"/>
                <a:gd name="T9" fmla="*/ 236 h 426"/>
                <a:gd name="T10" fmla="*/ 93 w 416"/>
                <a:gd name="T11" fmla="*/ 156 h 426"/>
                <a:gd name="T12" fmla="*/ 113 w 416"/>
                <a:gd name="T13" fmla="*/ 44 h 426"/>
                <a:gd name="T14" fmla="*/ 211 w 416"/>
                <a:gd name="T15" fmla="*/ 0 h 426"/>
                <a:gd name="T16" fmla="*/ 306 w 416"/>
                <a:gd name="T17" fmla="*/ 41 h 426"/>
                <a:gd name="T18" fmla="*/ 325 w 416"/>
                <a:gd name="T19" fmla="*/ 130 h 426"/>
                <a:gd name="T20" fmla="*/ 323 w 416"/>
                <a:gd name="T21" fmla="*/ 143 h 426"/>
                <a:gd name="T22" fmla="*/ 289 w 416"/>
                <a:gd name="T23" fmla="*/ 235 h 426"/>
                <a:gd name="T24" fmla="*/ 336 w 416"/>
                <a:gd name="T25" fmla="*/ 252 h 426"/>
                <a:gd name="T26" fmla="*/ 410 w 416"/>
                <a:gd name="T27" fmla="*/ 330 h 426"/>
                <a:gd name="T28" fmla="*/ 416 w 416"/>
                <a:gd name="T29" fmla="*/ 426 h 4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16" h="426">
                  <a:moveTo>
                    <a:pt x="416" y="426"/>
                  </a:moveTo>
                  <a:cubicBezTo>
                    <a:pt x="0" y="426"/>
                    <a:pt x="0" y="426"/>
                    <a:pt x="0" y="426"/>
                  </a:cubicBezTo>
                  <a:cubicBezTo>
                    <a:pt x="6" y="330"/>
                    <a:pt x="6" y="330"/>
                    <a:pt x="6" y="330"/>
                  </a:cubicBezTo>
                  <a:cubicBezTo>
                    <a:pt x="6" y="288"/>
                    <a:pt x="39" y="254"/>
                    <a:pt x="81" y="252"/>
                  </a:cubicBezTo>
                  <a:cubicBezTo>
                    <a:pt x="126" y="236"/>
                    <a:pt x="126" y="236"/>
                    <a:pt x="126" y="236"/>
                  </a:cubicBezTo>
                  <a:cubicBezTo>
                    <a:pt x="107" y="210"/>
                    <a:pt x="98" y="178"/>
                    <a:pt x="93" y="156"/>
                  </a:cubicBezTo>
                  <a:cubicBezTo>
                    <a:pt x="80" y="100"/>
                    <a:pt x="97" y="64"/>
                    <a:pt x="113" y="44"/>
                  </a:cubicBezTo>
                  <a:cubicBezTo>
                    <a:pt x="135" y="16"/>
                    <a:pt x="171" y="0"/>
                    <a:pt x="211" y="0"/>
                  </a:cubicBezTo>
                  <a:cubicBezTo>
                    <a:pt x="249" y="0"/>
                    <a:pt x="284" y="15"/>
                    <a:pt x="306" y="41"/>
                  </a:cubicBezTo>
                  <a:cubicBezTo>
                    <a:pt x="319" y="58"/>
                    <a:pt x="334" y="87"/>
                    <a:pt x="325" y="130"/>
                  </a:cubicBezTo>
                  <a:cubicBezTo>
                    <a:pt x="324" y="134"/>
                    <a:pt x="324" y="139"/>
                    <a:pt x="323" y="143"/>
                  </a:cubicBezTo>
                  <a:cubicBezTo>
                    <a:pt x="317" y="174"/>
                    <a:pt x="312" y="204"/>
                    <a:pt x="289" y="235"/>
                  </a:cubicBezTo>
                  <a:cubicBezTo>
                    <a:pt x="336" y="252"/>
                    <a:pt x="336" y="252"/>
                    <a:pt x="336" y="252"/>
                  </a:cubicBezTo>
                  <a:cubicBezTo>
                    <a:pt x="377" y="254"/>
                    <a:pt x="410" y="288"/>
                    <a:pt x="410" y="330"/>
                  </a:cubicBezTo>
                  <a:lnTo>
                    <a:pt x="416" y="42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4" name="Freeform 19">
              <a:extLst>
                <a:ext uri="{FF2B5EF4-FFF2-40B4-BE49-F238E27FC236}">
                  <a16:creationId xmlns:a16="http://schemas.microsoft.com/office/drawing/2014/main" xmlns="" id="{3D7B6C7B-CA1D-4949-A6C8-60F00AAABFB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50" y="1619"/>
              <a:ext cx="865" cy="987"/>
            </a:xfrm>
            <a:custGeom>
              <a:avLst/>
              <a:gdLst>
                <a:gd name="T0" fmla="*/ 366 w 366"/>
                <a:gd name="T1" fmla="*/ 418 h 418"/>
                <a:gd name="T2" fmla="*/ 0 w 366"/>
                <a:gd name="T3" fmla="*/ 418 h 418"/>
                <a:gd name="T4" fmla="*/ 5 w 366"/>
                <a:gd name="T5" fmla="*/ 347 h 418"/>
                <a:gd name="T6" fmla="*/ 60 w 366"/>
                <a:gd name="T7" fmla="*/ 292 h 418"/>
                <a:gd name="T8" fmla="*/ 135 w 366"/>
                <a:gd name="T9" fmla="*/ 266 h 418"/>
                <a:gd name="T10" fmla="*/ 183 w 366"/>
                <a:gd name="T11" fmla="*/ 377 h 418"/>
                <a:gd name="T12" fmla="*/ 231 w 366"/>
                <a:gd name="T13" fmla="*/ 266 h 418"/>
                <a:gd name="T14" fmla="*/ 306 w 366"/>
                <a:gd name="T15" fmla="*/ 292 h 418"/>
                <a:gd name="T16" fmla="*/ 361 w 366"/>
                <a:gd name="T17" fmla="*/ 347 h 418"/>
                <a:gd name="T18" fmla="*/ 366 w 366"/>
                <a:gd name="T19" fmla="*/ 418 h 418"/>
                <a:gd name="T20" fmla="*/ 276 w 366"/>
                <a:gd name="T21" fmla="*/ 141 h 418"/>
                <a:gd name="T22" fmla="*/ 242 w 366"/>
                <a:gd name="T23" fmla="*/ 239 h 418"/>
                <a:gd name="T24" fmla="*/ 121 w 366"/>
                <a:gd name="T25" fmla="*/ 239 h 418"/>
                <a:gd name="T26" fmla="*/ 91 w 366"/>
                <a:gd name="T27" fmla="*/ 167 h 418"/>
                <a:gd name="T28" fmla="*/ 276 w 366"/>
                <a:gd name="T29" fmla="*/ 141 h 418"/>
                <a:gd name="T30" fmla="*/ 254 w 366"/>
                <a:gd name="T31" fmla="*/ 110 h 418"/>
                <a:gd name="T32" fmla="*/ 250 w 366"/>
                <a:gd name="T33" fmla="*/ 109 h 418"/>
                <a:gd name="T34" fmla="*/ 193 w 366"/>
                <a:gd name="T35" fmla="*/ 119 h 418"/>
                <a:gd name="T36" fmla="*/ 123 w 366"/>
                <a:gd name="T37" fmla="*/ 105 h 418"/>
                <a:gd name="T38" fmla="*/ 126 w 366"/>
                <a:gd name="T39" fmla="*/ 236 h 418"/>
                <a:gd name="T40" fmla="*/ 237 w 366"/>
                <a:gd name="T41" fmla="*/ 236 h 418"/>
                <a:gd name="T42" fmla="*/ 254 w 366"/>
                <a:gd name="T43" fmla="*/ 110 h 4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66" h="418">
                  <a:moveTo>
                    <a:pt x="366" y="418"/>
                  </a:moveTo>
                  <a:cubicBezTo>
                    <a:pt x="0" y="418"/>
                    <a:pt x="0" y="418"/>
                    <a:pt x="0" y="418"/>
                  </a:cubicBezTo>
                  <a:cubicBezTo>
                    <a:pt x="5" y="347"/>
                    <a:pt x="5" y="347"/>
                    <a:pt x="5" y="347"/>
                  </a:cubicBezTo>
                  <a:cubicBezTo>
                    <a:pt x="5" y="316"/>
                    <a:pt x="29" y="292"/>
                    <a:pt x="60" y="292"/>
                  </a:cubicBezTo>
                  <a:cubicBezTo>
                    <a:pt x="135" y="266"/>
                    <a:pt x="135" y="266"/>
                    <a:pt x="135" y="266"/>
                  </a:cubicBezTo>
                  <a:cubicBezTo>
                    <a:pt x="142" y="287"/>
                    <a:pt x="166" y="377"/>
                    <a:pt x="183" y="377"/>
                  </a:cubicBezTo>
                  <a:cubicBezTo>
                    <a:pt x="200" y="377"/>
                    <a:pt x="223" y="290"/>
                    <a:pt x="231" y="266"/>
                  </a:cubicBezTo>
                  <a:cubicBezTo>
                    <a:pt x="306" y="292"/>
                    <a:pt x="306" y="292"/>
                    <a:pt x="306" y="292"/>
                  </a:cubicBezTo>
                  <a:cubicBezTo>
                    <a:pt x="336" y="292"/>
                    <a:pt x="361" y="316"/>
                    <a:pt x="361" y="347"/>
                  </a:cubicBezTo>
                  <a:lnTo>
                    <a:pt x="366" y="418"/>
                  </a:lnTo>
                  <a:close/>
                  <a:moveTo>
                    <a:pt x="276" y="141"/>
                  </a:moveTo>
                  <a:cubicBezTo>
                    <a:pt x="269" y="178"/>
                    <a:pt x="266" y="207"/>
                    <a:pt x="242" y="239"/>
                  </a:cubicBezTo>
                  <a:cubicBezTo>
                    <a:pt x="210" y="282"/>
                    <a:pt x="152" y="282"/>
                    <a:pt x="121" y="239"/>
                  </a:cubicBezTo>
                  <a:cubicBezTo>
                    <a:pt x="103" y="216"/>
                    <a:pt x="95" y="185"/>
                    <a:pt x="91" y="167"/>
                  </a:cubicBezTo>
                  <a:cubicBezTo>
                    <a:pt x="53" y="0"/>
                    <a:pt x="303" y="5"/>
                    <a:pt x="276" y="141"/>
                  </a:cubicBezTo>
                  <a:close/>
                  <a:moveTo>
                    <a:pt x="254" y="110"/>
                  </a:moveTo>
                  <a:cubicBezTo>
                    <a:pt x="253" y="108"/>
                    <a:pt x="251" y="108"/>
                    <a:pt x="250" y="109"/>
                  </a:cubicBezTo>
                  <a:cubicBezTo>
                    <a:pt x="238" y="113"/>
                    <a:pt x="221" y="123"/>
                    <a:pt x="193" y="119"/>
                  </a:cubicBezTo>
                  <a:cubicBezTo>
                    <a:pt x="167" y="114"/>
                    <a:pt x="143" y="92"/>
                    <a:pt x="123" y="105"/>
                  </a:cubicBezTo>
                  <a:cubicBezTo>
                    <a:pt x="79" y="134"/>
                    <a:pt x="100" y="203"/>
                    <a:pt x="126" y="236"/>
                  </a:cubicBezTo>
                  <a:cubicBezTo>
                    <a:pt x="155" y="275"/>
                    <a:pt x="208" y="275"/>
                    <a:pt x="237" y="236"/>
                  </a:cubicBezTo>
                  <a:cubicBezTo>
                    <a:pt x="263" y="203"/>
                    <a:pt x="280" y="148"/>
                    <a:pt x="254" y="110"/>
                  </a:cubicBez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25" name="Group 23">
            <a:extLst>
              <a:ext uri="{FF2B5EF4-FFF2-40B4-BE49-F238E27FC236}">
                <a16:creationId xmlns:a16="http://schemas.microsoft.com/office/drawing/2014/main" xmlns="" id="{607AFACA-25F8-481C-9191-58043820AF75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597851" y="4094391"/>
            <a:ext cx="690260" cy="670962"/>
            <a:chOff x="2111" y="1412"/>
            <a:chExt cx="1538" cy="1495"/>
          </a:xfrm>
          <a:effectLst>
            <a:outerShdw blurRad="101600" dist="76200" dir="2700000" algn="ctr" rotWithShape="0">
              <a:srgbClr val="000000">
                <a:alpha val="29000"/>
              </a:srgbClr>
            </a:outerShdw>
          </a:effectLst>
        </p:grpSpPr>
        <p:sp>
          <p:nvSpPr>
            <p:cNvPr id="226" name="AutoShape 22">
              <a:extLst>
                <a:ext uri="{FF2B5EF4-FFF2-40B4-BE49-F238E27FC236}">
                  <a16:creationId xmlns:a16="http://schemas.microsoft.com/office/drawing/2014/main" xmlns="" id="{BD5D71AA-83AF-495E-8C1D-F624BD4F3720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111" y="1412"/>
              <a:ext cx="1538" cy="149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7" name="Freeform 24">
              <a:extLst>
                <a:ext uri="{FF2B5EF4-FFF2-40B4-BE49-F238E27FC236}">
                  <a16:creationId xmlns:a16="http://schemas.microsoft.com/office/drawing/2014/main" xmlns="" id="{766F9413-A956-4B97-9574-D96FDD9A59AA}"/>
                </a:ext>
              </a:extLst>
            </p:cNvPr>
            <p:cNvSpPr>
              <a:spLocks/>
            </p:cNvSpPr>
            <p:nvPr/>
          </p:nvSpPr>
          <p:spPr bwMode="auto">
            <a:xfrm>
              <a:off x="2491" y="1407"/>
              <a:ext cx="981" cy="1035"/>
            </a:xfrm>
            <a:custGeom>
              <a:avLst/>
              <a:gdLst>
                <a:gd name="T0" fmla="*/ 415 w 415"/>
                <a:gd name="T1" fmla="*/ 438 h 438"/>
                <a:gd name="T2" fmla="*/ 0 w 415"/>
                <a:gd name="T3" fmla="*/ 438 h 438"/>
                <a:gd name="T4" fmla="*/ 6 w 415"/>
                <a:gd name="T5" fmla="*/ 343 h 438"/>
                <a:gd name="T6" fmla="*/ 80 w 415"/>
                <a:gd name="T7" fmla="*/ 265 h 438"/>
                <a:gd name="T8" fmla="*/ 125 w 415"/>
                <a:gd name="T9" fmla="*/ 249 h 438"/>
                <a:gd name="T10" fmla="*/ 104 w 415"/>
                <a:gd name="T11" fmla="*/ 210 h 438"/>
                <a:gd name="T12" fmla="*/ 85 w 415"/>
                <a:gd name="T13" fmla="*/ 172 h 438"/>
                <a:gd name="T14" fmla="*/ 86 w 415"/>
                <a:gd name="T15" fmla="*/ 138 h 438"/>
                <a:gd name="T16" fmla="*/ 86 w 415"/>
                <a:gd name="T17" fmla="*/ 136 h 438"/>
                <a:gd name="T18" fmla="*/ 93 w 415"/>
                <a:gd name="T19" fmla="*/ 115 h 438"/>
                <a:gd name="T20" fmla="*/ 147 w 415"/>
                <a:gd name="T21" fmla="*/ 25 h 438"/>
                <a:gd name="T22" fmla="*/ 146 w 415"/>
                <a:gd name="T23" fmla="*/ 20 h 438"/>
                <a:gd name="T24" fmla="*/ 161 w 415"/>
                <a:gd name="T25" fmla="*/ 12 h 438"/>
                <a:gd name="T26" fmla="*/ 177 w 415"/>
                <a:gd name="T27" fmla="*/ 6 h 438"/>
                <a:gd name="T28" fmla="*/ 180 w 415"/>
                <a:gd name="T29" fmla="*/ 4 h 438"/>
                <a:gd name="T30" fmla="*/ 180 w 415"/>
                <a:gd name="T31" fmla="*/ 5 h 438"/>
                <a:gd name="T32" fmla="*/ 235 w 415"/>
                <a:gd name="T33" fmla="*/ 5 h 438"/>
                <a:gd name="T34" fmla="*/ 235 w 415"/>
                <a:gd name="T35" fmla="*/ 4 h 438"/>
                <a:gd name="T36" fmla="*/ 238 w 415"/>
                <a:gd name="T37" fmla="*/ 6 h 438"/>
                <a:gd name="T38" fmla="*/ 254 w 415"/>
                <a:gd name="T39" fmla="*/ 12 h 438"/>
                <a:gd name="T40" fmla="*/ 269 w 415"/>
                <a:gd name="T41" fmla="*/ 20 h 438"/>
                <a:gd name="T42" fmla="*/ 268 w 415"/>
                <a:gd name="T43" fmla="*/ 25 h 438"/>
                <a:gd name="T44" fmla="*/ 322 w 415"/>
                <a:gd name="T45" fmla="*/ 115 h 438"/>
                <a:gd name="T46" fmla="*/ 329 w 415"/>
                <a:gd name="T47" fmla="*/ 136 h 438"/>
                <a:gd name="T48" fmla="*/ 329 w 415"/>
                <a:gd name="T49" fmla="*/ 138 h 438"/>
                <a:gd name="T50" fmla="*/ 330 w 415"/>
                <a:gd name="T51" fmla="*/ 172 h 438"/>
                <a:gd name="T52" fmla="*/ 311 w 415"/>
                <a:gd name="T53" fmla="*/ 210 h 438"/>
                <a:gd name="T54" fmla="*/ 290 w 415"/>
                <a:gd name="T55" fmla="*/ 249 h 438"/>
                <a:gd name="T56" fmla="*/ 335 w 415"/>
                <a:gd name="T57" fmla="*/ 265 h 438"/>
                <a:gd name="T58" fmla="*/ 409 w 415"/>
                <a:gd name="T59" fmla="*/ 343 h 438"/>
                <a:gd name="T60" fmla="*/ 415 w 415"/>
                <a:gd name="T61" fmla="*/ 438 h 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415" h="438">
                  <a:moveTo>
                    <a:pt x="415" y="438"/>
                  </a:moveTo>
                  <a:cubicBezTo>
                    <a:pt x="0" y="438"/>
                    <a:pt x="0" y="438"/>
                    <a:pt x="0" y="438"/>
                  </a:cubicBezTo>
                  <a:cubicBezTo>
                    <a:pt x="6" y="343"/>
                    <a:pt x="6" y="343"/>
                    <a:pt x="6" y="343"/>
                  </a:cubicBezTo>
                  <a:cubicBezTo>
                    <a:pt x="6" y="301"/>
                    <a:pt x="39" y="267"/>
                    <a:pt x="80" y="265"/>
                  </a:cubicBezTo>
                  <a:cubicBezTo>
                    <a:pt x="125" y="249"/>
                    <a:pt x="125" y="249"/>
                    <a:pt x="125" y="249"/>
                  </a:cubicBezTo>
                  <a:cubicBezTo>
                    <a:pt x="116" y="238"/>
                    <a:pt x="109" y="225"/>
                    <a:pt x="104" y="210"/>
                  </a:cubicBezTo>
                  <a:cubicBezTo>
                    <a:pt x="95" y="202"/>
                    <a:pt x="88" y="189"/>
                    <a:pt x="85" y="172"/>
                  </a:cubicBezTo>
                  <a:cubicBezTo>
                    <a:pt x="83" y="165"/>
                    <a:pt x="82" y="151"/>
                    <a:pt x="86" y="138"/>
                  </a:cubicBezTo>
                  <a:cubicBezTo>
                    <a:pt x="86" y="136"/>
                    <a:pt x="86" y="136"/>
                    <a:pt x="86" y="136"/>
                  </a:cubicBezTo>
                  <a:cubicBezTo>
                    <a:pt x="86" y="128"/>
                    <a:pt x="89" y="121"/>
                    <a:pt x="93" y="115"/>
                  </a:cubicBezTo>
                  <a:cubicBezTo>
                    <a:pt x="97" y="75"/>
                    <a:pt x="114" y="47"/>
                    <a:pt x="147" y="25"/>
                  </a:cubicBezTo>
                  <a:cubicBezTo>
                    <a:pt x="146" y="20"/>
                    <a:pt x="146" y="20"/>
                    <a:pt x="146" y="20"/>
                  </a:cubicBezTo>
                  <a:cubicBezTo>
                    <a:pt x="161" y="12"/>
                    <a:pt x="161" y="12"/>
                    <a:pt x="161" y="12"/>
                  </a:cubicBezTo>
                  <a:cubicBezTo>
                    <a:pt x="166" y="10"/>
                    <a:pt x="172" y="7"/>
                    <a:pt x="177" y="6"/>
                  </a:cubicBezTo>
                  <a:cubicBezTo>
                    <a:pt x="180" y="4"/>
                    <a:pt x="180" y="4"/>
                    <a:pt x="180" y="4"/>
                  </a:cubicBezTo>
                  <a:cubicBezTo>
                    <a:pt x="180" y="5"/>
                    <a:pt x="180" y="5"/>
                    <a:pt x="180" y="5"/>
                  </a:cubicBezTo>
                  <a:cubicBezTo>
                    <a:pt x="198" y="0"/>
                    <a:pt x="217" y="0"/>
                    <a:pt x="235" y="5"/>
                  </a:cubicBezTo>
                  <a:cubicBezTo>
                    <a:pt x="235" y="4"/>
                    <a:pt x="235" y="4"/>
                    <a:pt x="235" y="4"/>
                  </a:cubicBezTo>
                  <a:cubicBezTo>
                    <a:pt x="238" y="6"/>
                    <a:pt x="238" y="6"/>
                    <a:pt x="238" y="6"/>
                  </a:cubicBezTo>
                  <a:cubicBezTo>
                    <a:pt x="243" y="7"/>
                    <a:pt x="249" y="10"/>
                    <a:pt x="254" y="12"/>
                  </a:cubicBezTo>
                  <a:cubicBezTo>
                    <a:pt x="269" y="20"/>
                    <a:pt x="269" y="20"/>
                    <a:pt x="269" y="20"/>
                  </a:cubicBezTo>
                  <a:cubicBezTo>
                    <a:pt x="268" y="25"/>
                    <a:pt x="268" y="25"/>
                    <a:pt x="268" y="25"/>
                  </a:cubicBezTo>
                  <a:cubicBezTo>
                    <a:pt x="301" y="47"/>
                    <a:pt x="318" y="75"/>
                    <a:pt x="322" y="115"/>
                  </a:cubicBezTo>
                  <a:cubicBezTo>
                    <a:pt x="326" y="121"/>
                    <a:pt x="329" y="128"/>
                    <a:pt x="329" y="136"/>
                  </a:cubicBezTo>
                  <a:cubicBezTo>
                    <a:pt x="329" y="138"/>
                    <a:pt x="329" y="138"/>
                    <a:pt x="329" y="138"/>
                  </a:cubicBezTo>
                  <a:cubicBezTo>
                    <a:pt x="333" y="151"/>
                    <a:pt x="332" y="165"/>
                    <a:pt x="330" y="172"/>
                  </a:cubicBezTo>
                  <a:cubicBezTo>
                    <a:pt x="329" y="179"/>
                    <a:pt x="324" y="199"/>
                    <a:pt x="311" y="210"/>
                  </a:cubicBezTo>
                  <a:cubicBezTo>
                    <a:pt x="305" y="225"/>
                    <a:pt x="299" y="238"/>
                    <a:pt x="290" y="249"/>
                  </a:cubicBezTo>
                  <a:cubicBezTo>
                    <a:pt x="335" y="265"/>
                    <a:pt x="335" y="265"/>
                    <a:pt x="335" y="265"/>
                  </a:cubicBezTo>
                  <a:cubicBezTo>
                    <a:pt x="376" y="267"/>
                    <a:pt x="409" y="301"/>
                    <a:pt x="409" y="343"/>
                  </a:cubicBezTo>
                  <a:lnTo>
                    <a:pt x="415" y="43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8" name="Rectangle 25">
              <a:extLst>
                <a:ext uri="{FF2B5EF4-FFF2-40B4-BE49-F238E27FC236}">
                  <a16:creationId xmlns:a16="http://schemas.microsoft.com/office/drawing/2014/main" xmlns="" id="{DFD5BA17-1531-417D-9C3D-9D897A878A4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47" y="2905"/>
              <a:ext cx="1" cy="2"/>
            </a:xfrm>
            <a:prstGeom prst="rect">
              <a:avLst/>
            </a:prstGeom>
            <a:solidFill>
              <a:srgbClr val="A5BEC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9" name="Freeform 26">
              <a:extLst>
                <a:ext uri="{FF2B5EF4-FFF2-40B4-BE49-F238E27FC236}">
                  <a16:creationId xmlns:a16="http://schemas.microsoft.com/office/drawing/2014/main" xmlns="" id="{CAA2D63C-6DC1-47E5-97F9-A4FDF607A2F5}"/>
                </a:ext>
              </a:extLst>
            </p:cNvPr>
            <p:cNvSpPr>
              <a:spLocks/>
            </p:cNvSpPr>
            <p:nvPr/>
          </p:nvSpPr>
          <p:spPr bwMode="auto">
            <a:xfrm>
              <a:off x="2111" y="1969"/>
              <a:ext cx="0" cy="3"/>
            </a:xfrm>
            <a:custGeom>
              <a:avLst/>
              <a:gdLst>
                <a:gd name="T0" fmla="*/ 1 h 1"/>
                <a:gd name="T1" fmla="*/ 0 h 1"/>
                <a:gd name="T2" fmla="*/ 0 h 1"/>
                <a:gd name="T3" fmla="*/ 1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1">
                  <a:moveTo>
                    <a:pt x="0" y="1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1"/>
                    <a:pt x="0" y="1"/>
                  </a:cubicBezTo>
                  <a:close/>
                </a:path>
              </a:pathLst>
            </a:custGeom>
            <a:solidFill>
              <a:srgbClr val="A3BE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0" name="Freeform 27">
              <a:extLst>
                <a:ext uri="{FF2B5EF4-FFF2-40B4-BE49-F238E27FC236}">
                  <a16:creationId xmlns:a16="http://schemas.microsoft.com/office/drawing/2014/main" xmlns="" id="{2033A09F-F4FE-47A6-AC65-E5946AFD4E3A}"/>
                </a:ext>
              </a:extLst>
            </p:cNvPr>
            <p:cNvSpPr>
              <a:spLocks/>
            </p:cNvSpPr>
            <p:nvPr/>
          </p:nvSpPr>
          <p:spPr bwMode="auto">
            <a:xfrm>
              <a:off x="2333" y="1969"/>
              <a:ext cx="5" cy="8"/>
            </a:xfrm>
            <a:custGeom>
              <a:avLst/>
              <a:gdLst>
                <a:gd name="T0" fmla="*/ 2 w 2"/>
                <a:gd name="T1" fmla="*/ 0 h 3"/>
                <a:gd name="T2" fmla="*/ 0 w 2"/>
                <a:gd name="T3" fmla="*/ 3 h 3"/>
                <a:gd name="T4" fmla="*/ 1 w 2"/>
                <a:gd name="T5" fmla="*/ 0 h 3"/>
                <a:gd name="T6" fmla="*/ 2 w 2"/>
                <a:gd name="T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3">
                  <a:moveTo>
                    <a:pt x="2" y="0"/>
                  </a:moveTo>
                  <a:cubicBezTo>
                    <a:pt x="0" y="3"/>
                    <a:pt x="0" y="3"/>
                    <a:pt x="0" y="3"/>
                  </a:cubicBezTo>
                  <a:cubicBezTo>
                    <a:pt x="1" y="2"/>
                    <a:pt x="1" y="1"/>
                    <a:pt x="1" y="0"/>
                  </a:cubicBezTo>
                  <a:lnTo>
                    <a:pt x="2" y="0"/>
                  </a:lnTo>
                  <a:close/>
                </a:path>
              </a:pathLst>
            </a:custGeom>
            <a:solidFill>
              <a:srgbClr val="A3BE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1" name="Rectangle 28">
              <a:extLst>
                <a:ext uri="{FF2B5EF4-FFF2-40B4-BE49-F238E27FC236}">
                  <a16:creationId xmlns:a16="http://schemas.microsoft.com/office/drawing/2014/main" xmlns="" id="{B5625BB4-8971-4F60-BEE9-53EBDE3AA8E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11" y="1969"/>
              <a:ext cx="1" cy="1"/>
            </a:xfrm>
            <a:prstGeom prst="rect">
              <a:avLst/>
            </a:prstGeom>
            <a:solidFill>
              <a:srgbClr val="A3BE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2" name="Freeform 29">
              <a:extLst>
                <a:ext uri="{FF2B5EF4-FFF2-40B4-BE49-F238E27FC236}">
                  <a16:creationId xmlns:a16="http://schemas.microsoft.com/office/drawing/2014/main" xmlns="" id="{F72517EF-6631-4589-A0B0-13EEBA883FB3}"/>
                </a:ext>
              </a:extLst>
            </p:cNvPr>
            <p:cNvSpPr>
              <a:spLocks/>
            </p:cNvSpPr>
            <p:nvPr/>
          </p:nvSpPr>
          <p:spPr bwMode="auto">
            <a:xfrm>
              <a:off x="2338" y="1969"/>
              <a:ext cx="2" cy="3"/>
            </a:xfrm>
            <a:custGeom>
              <a:avLst/>
              <a:gdLst>
                <a:gd name="T0" fmla="*/ 1 w 1"/>
                <a:gd name="T1" fmla="*/ 1 h 1"/>
                <a:gd name="T2" fmla="*/ 0 w 1"/>
                <a:gd name="T3" fmla="*/ 0 h 1"/>
                <a:gd name="T4" fmla="*/ 0 w 1"/>
                <a:gd name="T5" fmla="*/ 0 h 1"/>
                <a:gd name="T6" fmla="*/ 1 w 1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1">
                  <a:moveTo>
                    <a:pt x="1" y="1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1" y="1"/>
                    <a:pt x="1" y="1"/>
                  </a:cubicBezTo>
                  <a:close/>
                </a:path>
              </a:pathLst>
            </a:custGeom>
            <a:solidFill>
              <a:srgbClr val="A3BE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3" name="Freeform 30">
              <a:extLst>
                <a:ext uri="{FF2B5EF4-FFF2-40B4-BE49-F238E27FC236}">
                  <a16:creationId xmlns:a16="http://schemas.microsoft.com/office/drawing/2014/main" xmlns="" id="{7AE8FAB5-7CA8-4411-83CA-DFB8C4397DF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50" y="1466"/>
              <a:ext cx="863" cy="919"/>
            </a:xfrm>
            <a:custGeom>
              <a:avLst/>
              <a:gdLst>
                <a:gd name="T0" fmla="*/ 182 w 365"/>
                <a:gd name="T1" fmla="*/ 246 h 389"/>
                <a:gd name="T2" fmla="*/ 282 w 365"/>
                <a:gd name="T3" fmla="*/ 143 h 389"/>
                <a:gd name="T4" fmla="*/ 280 w 365"/>
                <a:gd name="T5" fmla="*/ 111 h 389"/>
                <a:gd name="T6" fmla="*/ 226 w 365"/>
                <a:gd name="T7" fmla="*/ 17 h 389"/>
                <a:gd name="T8" fmla="*/ 218 w 365"/>
                <a:gd name="T9" fmla="*/ 9 h 389"/>
                <a:gd name="T10" fmla="*/ 147 w 365"/>
                <a:gd name="T11" fmla="*/ 9 h 389"/>
                <a:gd name="T12" fmla="*/ 139 w 365"/>
                <a:gd name="T13" fmla="*/ 17 h 389"/>
                <a:gd name="T14" fmla="*/ 85 w 365"/>
                <a:gd name="T15" fmla="*/ 111 h 389"/>
                <a:gd name="T16" fmla="*/ 84 w 365"/>
                <a:gd name="T17" fmla="*/ 143 h 389"/>
                <a:gd name="T18" fmla="*/ 93 w 365"/>
                <a:gd name="T19" fmla="*/ 118 h 389"/>
                <a:gd name="T20" fmla="*/ 100 w 365"/>
                <a:gd name="T21" fmla="*/ 121 h 389"/>
                <a:gd name="T22" fmla="*/ 103 w 365"/>
                <a:gd name="T23" fmla="*/ 123 h 389"/>
                <a:gd name="T24" fmla="*/ 262 w 365"/>
                <a:gd name="T25" fmla="*/ 123 h 389"/>
                <a:gd name="T26" fmla="*/ 265 w 365"/>
                <a:gd name="T27" fmla="*/ 121 h 389"/>
                <a:gd name="T28" fmla="*/ 272 w 365"/>
                <a:gd name="T29" fmla="*/ 118 h 389"/>
                <a:gd name="T30" fmla="*/ 264 w 365"/>
                <a:gd name="T31" fmla="*/ 163 h 389"/>
                <a:gd name="T32" fmla="*/ 260 w 365"/>
                <a:gd name="T33" fmla="*/ 165 h 389"/>
                <a:gd name="T34" fmla="*/ 105 w 365"/>
                <a:gd name="T35" fmla="*/ 165 h 389"/>
                <a:gd name="T36" fmla="*/ 101 w 365"/>
                <a:gd name="T37" fmla="*/ 163 h 389"/>
                <a:gd name="T38" fmla="*/ 93 w 365"/>
                <a:gd name="T39" fmla="*/ 118 h 389"/>
                <a:gd name="T40" fmla="*/ 305 w 365"/>
                <a:gd name="T41" fmla="*/ 264 h 389"/>
                <a:gd name="T42" fmla="*/ 182 w 365"/>
                <a:gd name="T43" fmla="*/ 252 h 389"/>
                <a:gd name="T44" fmla="*/ 60 w 365"/>
                <a:gd name="T45" fmla="*/ 264 h 389"/>
                <a:gd name="T46" fmla="*/ 0 w 365"/>
                <a:gd name="T47" fmla="*/ 389 h 389"/>
                <a:gd name="T48" fmla="*/ 360 w 365"/>
                <a:gd name="T49" fmla="*/ 318 h 389"/>
                <a:gd name="T50" fmla="*/ 92 w 365"/>
                <a:gd name="T51" fmla="*/ 267 h 389"/>
                <a:gd name="T52" fmla="*/ 63 w 365"/>
                <a:gd name="T53" fmla="*/ 339 h 389"/>
                <a:gd name="T54" fmla="*/ 301 w 365"/>
                <a:gd name="T55" fmla="*/ 374 h 389"/>
                <a:gd name="T56" fmla="*/ 64 w 365"/>
                <a:gd name="T57" fmla="*/ 346 h 389"/>
                <a:gd name="T58" fmla="*/ 301 w 365"/>
                <a:gd name="T59" fmla="*/ 374 h 389"/>
                <a:gd name="T60" fmla="*/ 273 w 365"/>
                <a:gd name="T61" fmla="*/ 339 h 389"/>
                <a:gd name="T62" fmla="*/ 302 w 365"/>
                <a:gd name="T63" fmla="*/ 277 h 389"/>
                <a:gd name="T64" fmla="*/ 73 w 365"/>
                <a:gd name="T65" fmla="*/ 360 h 389"/>
                <a:gd name="T66" fmla="*/ 83 w 365"/>
                <a:gd name="T67" fmla="*/ 360 h 389"/>
                <a:gd name="T68" fmla="*/ 73 w 365"/>
                <a:gd name="T69" fmla="*/ 360 h 389"/>
                <a:gd name="T70" fmla="*/ 287 w 365"/>
                <a:gd name="T71" fmla="*/ 355 h 389"/>
                <a:gd name="T72" fmla="*/ 287 w 365"/>
                <a:gd name="T73" fmla="*/ 365 h 3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65" h="389">
                  <a:moveTo>
                    <a:pt x="99" y="169"/>
                  </a:moveTo>
                  <a:cubicBezTo>
                    <a:pt x="114" y="217"/>
                    <a:pt x="146" y="246"/>
                    <a:pt x="182" y="246"/>
                  </a:cubicBezTo>
                  <a:cubicBezTo>
                    <a:pt x="219" y="246"/>
                    <a:pt x="251" y="217"/>
                    <a:pt x="266" y="169"/>
                  </a:cubicBezTo>
                  <a:cubicBezTo>
                    <a:pt x="274" y="167"/>
                    <a:pt x="279" y="155"/>
                    <a:pt x="282" y="143"/>
                  </a:cubicBezTo>
                  <a:cubicBezTo>
                    <a:pt x="283" y="134"/>
                    <a:pt x="283" y="124"/>
                    <a:pt x="280" y="117"/>
                  </a:cubicBezTo>
                  <a:cubicBezTo>
                    <a:pt x="280" y="111"/>
                    <a:pt x="280" y="111"/>
                    <a:pt x="280" y="111"/>
                  </a:cubicBezTo>
                  <a:cubicBezTo>
                    <a:pt x="280" y="107"/>
                    <a:pt x="277" y="103"/>
                    <a:pt x="274" y="102"/>
                  </a:cubicBezTo>
                  <a:cubicBezTo>
                    <a:pt x="272" y="59"/>
                    <a:pt x="255" y="35"/>
                    <a:pt x="226" y="17"/>
                  </a:cubicBezTo>
                  <a:cubicBezTo>
                    <a:pt x="212" y="75"/>
                    <a:pt x="212" y="75"/>
                    <a:pt x="212" y="75"/>
                  </a:cubicBezTo>
                  <a:cubicBezTo>
                    <a:pt x="218" y="9"/>
                    <a:pt x="218" y="9"/>
                    <a:pt x="218" y="9"/>
                  </a:cubicBezTo>
                  <a:cubicBezTo>
                    <a:pt x="207" y="3"/>
                    <a:pt x="195" y="0"/>
                    <a:pt x="182" y="0"/>
                  </a:cubicBezTo>
                  <a:cubicBezTo>
                    <a:pt x="170" y="0"/>
                    <a:pt x="158" y="3"/>
                    <a:pt x="147" y="9"/>
                  </a:cubicBezTo>
                  <a:cubicBezTo>
                    <a:pt x="153" y="75"/>
                    <a:pt x="153" y="75"/>
                    <a:pt x="153" y="75"/>
                  </a:cubicBezTo>
                  <a:cubicBezTo>
                    <a:pt x="139" y="17"/>
                    <a:pt x="139" y="17"/>
                    <a:pt x="139" y="17"/>
                  </a:cubicBezTo>
                  <a:cubicBezTo>
                    <a:pt x="110" y="35"/>
                    <a:pt x="93" y="59"/>
                    <a:pt x="91" y="102"/>
                  </a:cubicBezTo>
                  <a:cubicBezTo>
                    <a:pt x="88" y="103"/>
                    <a:pt x="85" y="107"/>
                    <a:pt x="85" y="111"/>
                  </a:cubicBezTo>
                  <a:cubicBezTo>
                    <a:pt x="85" y="117"/>
                    <a:pt x="85" y="117"/>
                    <a:pt x="85" y="117"/>
                  </a:cubicBezTo>
                  <a:cubicBezTo>
                    <a:pt x="82" y="124"/>
                    <a:pt x="82" y="134"/>
                    <a:pt x="84" y="143"/>
                  </a:cubicBezTo>
                  <a:cubicBezTo>
                    <a:pt x="86" y="155"/>
                    <a:pt x="91" y="167"/>
                    <a:pt x="99" y="169"/>
                  </a:cubicBezTo>
                  <a:close/>
                  <a:moveTo>
                    <a:pt x="93" y="118"/>
                  </a:moveTo>
                  <a:cubicBezTo>
                    <a:pt x="94" y="118"/>
                    <a:pt x="95" y="117"/>
                    <a:pt x="96" y="117"/>
                  </a:cubicBezTo>
                  <a:cubicBezTo>
                    <a:pt x="97" y="117"/>
                    <a:pt x="99" y="117"/>
                    <a:pt x="100" y="121"/>
                  </a:cubicBezTo>
                  <a:cubicBezTo>
                    <a:pt x="101" y="122"/>
                    <a:pt x="101" y="122"/>
                    <a:pt x="101" y="122"/>
                  </a:cubicBezTo>
                  <a:cubicBezTo>
                    <a:pt x="103" y="123"/>
                    <a:pt x="103" y="123"/>
                    <a:pt x="103" y="123"/>
                  </a:cubicBezTo>
                  <a:cubicBezTo>
                    <a:pt x="120" y="126"/>
                    <a:pt x="149" y="127"/>
                    <a:pt x="182" y="127"/>
                  </a:cubicBezTo>
                  <a:cubicBezTo>
                    <a:pt x="216" y="127"/>
                    <a:pt x="245" y="126"/>
                    <a:pt x="262" y="123"/>
                  </a:cubicBezTo>
                  <a:cubicBezTo>
                    <a:pt x="264" y="122"/>
                    <a:pt x="264" y="122"/>
                    <a:pt x="264" y="122"/>
                  </a:cubicBezTo>
                  <a:cubicBezTo>
                    <a:pt x="265" y="121"/>
                    <a:pt x="265" y="121"/>
                    <a:pt x="265" y="121"/>
                  </a:cubicBezTo>
                  <a:cubicBezTo>
                    <a:pt x="266" y="117"/>
                    <a:pt x="268" y="117"/>
                    <a:pt x="269" y="117"/>
                  </a:cubicBezTo>
                  <a:cubicBezTo>
                    <a:pt x="270" y="117"/>
                    <a:pt x="271" y="118"/>
                    <a:pt x="272" y="118"/>
                  </a:cubicBezTo>
                  <a:cubicBezTo>
                    <a:pt x="274" y="118"/>
                    <a:pt x="277" y="128"/>
                    <a:pt x="275" y="142"/>
                  </a:cubicBezTo>
                  <a:cubicBezTo>
                    <a:pt x="272" y="156"/>
                    <a:pt x="266" y="163"/>
                    <a:pt x="264" y="163"/>
                  </a:cubicBezTo>
                  <a:cubicBezTo>
                    <a:pt x="261" y="163"/>
                    <a:pt x="261" y="163"/>
                    <a:pt x="261" y="163"/>
                  </a:cubicBezTo>
                  <a:cubicBezTo>
                    <a:pt x="260" y="165"/>
                    <a:pt x="260" y="165"/>
                    <a:pt x="260" y="165"/>
                  </a:cubicBezTo>
                  <a:cubicBezTo>
                    <a:pt x="246" y="211"/>
                    <a:pt x="217" y="239"/>
                    <a:pt x="182" y="239"/>
                  </a:cubicBezTo>
                  <a:cubicBezTo>
                    <a:pt x="148" y="239"/>
                    <a:pt x="119" y="211"/>
                    <a:pt x="105" y="165"/>
                  </a:cubicBezTo>
                  <a:cubicBezTo>
                    <a:pt x="104" y="163"/>
                    <a:pt x="104" y="163"/>
                    <a:pt x="104" y="163"/>
                  </a:cubicBezTo>
                  <a:cubicBezTo>
                    <a:pt x="101" y="163"/>
                    <a:pt x="101" y="163"/>
                    <a:pt x="101" y="163"/>
                  </a:cubicBezTo>
                  <a:cubicBezTo>
                    <a:pt x="99" y="163"/>
                    <a:pt x="93" y="156"/>
                    <a:pt x="90" y="142"/>
                  </a:cubicBezTo>
                  <a:cubicBezTo>
                    <a:pt x="88" y="128"/>
                    <a:pt x="91" y="118"/>
                    <a:pt x="93" y="118"/>
                  </a:cubicBezTo>
                  <a:close/>
                  <a:moveTo>
                    <a:pt x="360" y="318"/>
                  </a:moveTo>
                  <a:cubicBezTo>
                    <a:pt x="360" y="288"/>
                    <a:pt x="336" y="264"/>
                    <a:pt x="305" y="264"/>
                  </a:cubicBezTo>
                  <a:cubicBezTo>
                    <a:pt x="230" y="238"/>
                    <a:pt x="230" y="238"/>
                    <a:pt x="230" y="238"/>
                  </a:cubicBezTo>
                  <a:cubicBezTo>
                    <a:pt x="216" y="247"/>
                    <a:pt x="200" y="252"/>
                    <a:pt x="182" y="252"/>
                  </a:cubicBezTo>
                  <a:cubicBezTo>
                    <a:pt x="165" y="252"/>
                    <a:pt x="149" y="247"/>
                    <a:pt x="135" y="238"/>
                  </a:cubicBezTo>
                  <a:cubicBezTo>
                    <a:pt x="60" y="264"/>
                    <a:pt x="60" y="264"/>
                    <a:pt x="60" y="264"/>
                  </a:cubicBezTo>
                  <a:cubicBezTo>
                    <a:pt x="29" y="264"/>
                    <a:pt x="5" y="288"/>
                    <a:pt x="5" y="318"/>
                  </a:cubicBezTo>
                  <a:cubicBezTo>
                    <a:pt x="0" y="389"/>
                    <a:pt x="0" y="389"/>
                    <a:pt x="0" y="389"/>
                  </a:cubicBezTo>
                  <a:cubicBezTo>
                    <a:pt x="365" y="389"/>
                    <a:pt x="365" y="389"/>
                    <a:pt x="365" y="389"/>
                  </a:cubicBezTo>
                  <a:lnTo>
                    <a:pt x="360" y="318"/>
                  </a:lnTo>
                  <a:close/>
                  <a:moveTo>
                    <a:pt x="63" y="277"/>
                  </a:moveTo>
                  <a:cubicBezTo>
                    <a:pt x="92" y="267"/>
                    <a:pt x="92" y="267"/>
                    <a:pt x="92" y="267"/>
                  </a:cubicBezTo>
                  <a:cubicBezTo>
                    <a:pt x="92" y="339"/>
                    <a:pt x="92" y="339"/>
                    <a:pt x="92" y="339"/>
                  </a:cubicBezTo>
                  <a:cubicBezTo>
                    <a:pt x="63" y="339"/>
                    <a:pt x="63" y="339"/>
                    <a:pt x="63" y="339"/>
                  </a:cubicBezTo>
                  <a:lnTo>
                    <a:pt x="63" y="277"/>
                  </a:lnTo>
                  <a:close/>
                  <a:moveTo>
                    <a:pt x="301" y="374"/>
                  </a:moveTo>
                  <a:cubicBezTo>
                    <a:pt x="64" y="374"/>
                    <a:pt x="64" y="374"/>
                    <a:pt x="64" y="374"/>
                  </a:cubicBezTo>
                  <a:cubicBezTo>
                    <a:pt x="64" y="346"/>
                    <a:pt x="64" y="346"/>
                    <a:pt x="64" y="346"/>
                  </a:cubicBezTo>
                  <a:cubicBezTo>
                    <a:pt x="301" y="346"/>
                    <a:pt x="301" y="346"/>
                    <a:pt x="301" y="346"/>
                  </a:cubicBezTo>
                  <a:lnTo>
                    <a:pt x="301" y="374"/>
                  </a:lnTo>
                  <a:close/>
                  <a:moveTo>
                    <a:pt x="302" y="339"/>
                  </a:moveTo>
                  <a:cubicBezTo>
                    <a:pt x="273" y="339"/>
                    <a:pt x="273" y="339"/>
                    <a:pt x="273" y="339"/>
                  </a:cubicBezTo>
                  <a:cubicBezTo>
                    <a:pt x="273" y="267"/>
                    <a:pt x="273" y="267"/>
                    <a:pt x="273" y="267"/>
                  </a:cubicBezTo>
                  <a:cubicBezTo>
                    <a:pt x="302" y="277"/>
                    <a:pt x="302" y="277"/>
                    <a:pt x="302" y="277"/>
                  </a:cubicBezTo>
                  <a:lnTo>
                    <a:pt x="302" y="339"/>
                  </a:lnTo>
                  <a:close/>
                  <a:moveTo>
                    <a:pt x="73" y="360"/>
                  </a:moveTo>
                  <a:cubicBezTo>
                    <a:pt x="73" y="357"/>
                    <a:pt x="75" y="355"/>
                    <a:pt x="78" y="355"/>
                  </a:cubicBezTo>
                  <a:cubicBezTo>
                    <a:pt x="81" y="355"/>
                    <a:pt x="83" y="357"/>
                    <a:pt x="83" y="360"/>
                  </a:cubicBezTo>
                  <a:cubicBezTo>
                    <a:pt x="83" y="363"/>
                    <a:pt x="81" y="365"/>
                    <a:pt x="78" y="365"/>
                  </a:cubicBezTo>
                  <a:cubicBezTo>
                    <a:pt x="75" y="365"/>
                    <a:pt x="73" y="363"/>
                    <a:pt x="73" y="360"/>
                  </a:cubicBezTo>
                  <a:close/>
                  <a:moveTo>
                    <a:pt x="282" y="360"/>
                  </a:moveTo>
                  <a:cubicBezTo>
                    <a:pt x="282" y="357"/>
                    <a:pt x="285" y="355"/>
                    <a:pt x="287" y="355"/>
                  </a:cubicBezTo>
                  <a:cubicBezTo>
                    <a:pt x="290" y="355"/>
                    <a:pt x="293" y="357"/>
                    <a:pt x="293" y="360"/>
                  </a:cubicBezTo>
                  <a:cubicBezTo>
                    <a:pt x="293" y="363"/>
                    <a:pt x="290" y="365"/>
                    <a:pt x="287" y="365"/>
                  </a:cubicBezTo>
                  <a:cubicBezTo>
                    <a:pt x="285" y="365"/>
                    <a:pt x="282" y="363"/>
                    <a:pt x="282" y="360"/>
                  </a:cubicBez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234" name="Group 41">
            <a:extLst>
              <a:ext uri="{FF2B5EF4-FFF2-40B4-BE49-F238E27FC236}">
                <a16:creationId xmlns:a16="http://schemas.microsoft.com/office/drawing/2014/main" xmlns="" id="{9AF87BE8-9CAD-41E1-956F-DA5302367D7F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834914" y="4094974"/>
            <a:ext cx="448732" cy="464512"/>
            <a:chOff x="2453" y="919"/>
            <a:chExt cx="455" cy="471"/>
          </a:xfrm>
          <a:effectLst>
            <a:outerShdw blurRad="101600" dist="76200" dir="2700000" algn="ctr" rotWithShape="0">
              <a:srgbClr val="000000">
                <a:alpha val="29000"/>
              </a:srgbClr>
            </a:outerShdw>
          </a:effectLst>
        </p:grpSpPr>
        <p:sp>
          <p:nvSpPr>
            <p:cNvPr id="235" name="AutoShape 40">
              <a:extLst>
                <a:ext uri="{FF2B5EF4-FFF2-40B4-BE49-F238E27FC236}">
                  <a16:creationId xmlns:a16="http://schemas.microsoft.com/office/drawing/2014/main" xmlns="" id="{06F9814C-3820-42B6-AC81-5734BA5B0C61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453" y="919"/>
              <a:ext cx="455" cy="47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6" name="Freeform 42">
              <a:extLst>
                <a:ext uri="{FF2B5EF4-FFF2-40B4-BE49-F238E27FC236}">
                  <a16:creationId xmlns:a16="http://schemas.microsoft.com/office/drawing/2014/main" xmlns="" id="{9CD248C4-6767-4FFF-B173-86AA98D3C1FD}"/>
                </a:ext>
              </a:extLst>
            </p:cNvPr>
            <p:cNvSpPr>
              <a:spLocks/>
            </p:cNvSpPr>
            <p:nvPr/>
          </p:nvSpPr>
          <p:spPr bwMode="auto">
            <a:xfrm>
              <a:off x="2454" y="916"/>
              <a:ext cx="455" cy="473"/>
            </a:xfrm>
            <a:custGeom>
              <a:avLst/>
              <a:gdLst>
                <a:gd name="T0" fmla="*/ 411 w 417"/>
                <a:gd name="T1" fmla="*/ 338 h 434"/>
                <a:gd name="T2" fmla="*/ 417 w 417"/>
                <a:gd name="T3" fmla="*/ 434 h 434"/>
                <a:gd name="T4" fmla="*/ 0 w 417"/>
                <a:gd name="T5" fmla="*/ 434 h 434"/>
                <a:gd name="T6" fmla="*/ 7 w 417"/>
                <a:gd name="T7" fmla="*/ 338 h 434"/>
                <a:gd name="T8" fmla="*/ 81 w 417"/>
                <a:gd name="T9" fmla="*/ 260 h 434"/>
                <a:gd name="T10" fmla="*/ 115 w 417"/>
                <a:gd name="T11" fmla="*/ 248 h 434"/>
                <a:gd name="T12" fmla="*/ 111 w 417"/>
                <a:gd name="T13" fmla="*/ 243 h 434"/>
                <a:gd name="T14" fmla="*/ 101 w 417"/>
                <a:gd name="T15" fmla="*/ 229 h 434"/>
                <a:gd name="T16" fmla="*/ 92 w 417"/>
                <a:gd name="T17" fmla="*/ 222 h 434"/>
                <a:gd name="T18" fmla="*/ 75 w 417"/>
                <a:gd name="T19" fmla="*/ 202 h 434"/>
                <a:gd name="T20" fmla="*/ 65 w 417"/>
                <a:gd name="T21" fmla="*/ 178 h 434"/>
                <a:gd name="T22" fmla="*/ 65 w 417"/>
                <a:gd name="T23" fmla="*/ 153 h 434"/>
                <a:gd name="T24" fmla="*/ 66 w 417"/>
                <a:gd name="T25" fmla="*/ 144 h 434"/>
                <a:gd name="T26" fmla="*/ 68 w 417"/>
                <a:gd name="T27" fmla="*/ 135 h 434"/>
                <a:gd name="T28" fmla="*/ 69 w 417"/>
                <a:gd name="T29" fmla="*/ 131 h 434"/>
                <a:gd name="T30" fmla="*/ 79 w 417"/>
                <a:gd name="T31" fmla="*/ 103 h 434"/>
                <a:gd name="T32" fmla="*/ 85 w 417"/>
                <a:gd name="T33" fmla="*/ 95 h 434"/>
                <a:gd name="T34" fmla="*/ 84 w 417"/>
                <a:gd name="T35" fmla="*/ 94 h 434"/>
                <a:gd name="T36" fmla="*/ 97 w 417"/>
                <a:gd name="T37" fmla="*/ 76 h 434"/>
                <a:gd name="T38" fmla="*/ 111 w 417"/>
                <a:gd name="T39" fmla="*/ 57 h 434"/>
                <a:gd name="T40" fmla="*/ 117 w 417"/>
                <a:gd name="T41" fmla="*/ 49 h 434"/>
                <a:gd name="T42" fmla="*/ 190 w 417"/>
                <a:gd name="T43" fmla="*/ 14 h 434"/>
                <a:gd name="T44" fmla="*/ 276 w 417"/>
                <a:gd name="T45" fmla="*/ 17 h 434"/>
                <a:gd name="T46" fmla="*/ 323 w 417"/>
                <a:gd name="T47" fmla="*/ 57 h 434"/>
                <a:gd name="T48" fmla="*/ 327 w 417"/>
                <a:gd name="T49" fmla="*/ 64 h 434"/>
                <a:gd name="T50" fmla="*/ 336 w 417"/>
                <a:gd name="T51" fmla="*/ 87 h 434"/>
                <a:gd name="T52" fmla="*/ 345 w 417"/>
                <a:gd name="T53" fmla="*/ 105 h 434"/>
                <a:gd name="T54" fmla="*/ 357 w 417"/>
                <a:gd name="T55" fmla="*/ 120 h 434"/>
                <a:gd name="T56" fmla="*/ 353 w 417"/>
                <a:gd name="T57" fmla="*/ 132 h 434"/>
                <a:gd name="T58" fmla="*/ 353 w 417"/>
                <a:gd name="T59" fmla="*/ 147 h 434"/>
                <a:gd name="T60" fmla="*/ 349 w 417"/>
                <a:gd name="T61" fmla="*/ 177 h 434"/>
                <a:gd name="T62" fmla="*/ 343 w 417"/>
                <a:gd name="T63" fmla="*/ 181 h 434"/>
                <a:gd name="T64" fmla="*/ 331 w 417"/>
                <a:gd name="T65" fmla="*/ 189 h 434"/>
                <a:gd name="T66" fmla="*/ 331 w 417"/>
                <a:gd name="T67" fmla="*/ 192 h 434"/>
                <a:gd name="T68" fmla="*/ 320 w 417"/>
                <a:gd name="T69" fmla="*/ 230 h 434"/>
                <a:gd name="T70" fmla="*/ 310 w 417"/>
                <a:gd name="T71" fmla="*/ 251 h 434"/>
                <a:gd name="T72" fmla="*/ 336 w 417"/>
                <a:gd name="T73" fmla="*/ 260 h 434"/>
                <a:gd name="T74" fmla="*/ 411 w 417"/>
                <a:gd name="T75" fmla="*/ 338 h 4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417" h="434">
                  <a:moveTo>
                    <a:pt x="411" y="338"/>
                  </a:moveTo>
                  <a:cubicBezTo>
                    <a:pt x="417" y="434"/>
                    <a:pt x="417" y="434"/>
                    <a:pt x="417" y="434"/>
                  </a:cubicBezTo>
                  <a:cubicBezTo>
                    <a:pt x="0" y="434"/>
                    <a:pt x="0" y="434"/>
                    <a:pt x="0" y="434"/>
                  </a:cubicBezTo>
                  <a:cubicBezTo>
                    <a:pt x="7" y="338"/>
                    <a:pt x="7" y="338"/>
                    <a:pt x="7" y="338"/>
                  </a:cubicBezTo>
                  <a:cubicBezTo>
                    <a:pt x="7" y="296"/>
                    <a:pt x="40" y="262"/>
                    <a:pt x="81" y="260"/>
                  </a:cubicBezTo>
                  <a:cubicBezTo>
                    <a:pt x="115" y="248"/>
                    <a:pt x="115" y="248"/>
                    <a:pt x="115" y="248"/>
                  </a:cubicBezTo>
                  <a:cubicBezTo>
                    <a:pt x="110" y="245"/>
                    <a:pt x="112" y="245"/>
                    <a:pt x="111" y="243"/>
                  </a:cubicBezTo>
                  <a:cubicBezTo>
                    <a:pt x="107" y="239"/>
                    <a:pt x="102" y="234"/>
                    <a:pt x="101" y="229"/>
                  </a:cubicBezTo>
                  <a:cubicBezTo>
                    <a:pt x="98" y="229"/>
                    <a:pt x="93" y="224"/>
                    <a:pt x="92" y="222"/>
                  </a:cubicBezTo>
                  <a:cubicBezTo>
                    <a:pt x="79" y="209"/>
                    <a:pt x="76" y="205"/>
                    <a:pt x="75" y="202"/>
                  </a:cubicBezTo>
                  <a:cubicBezTo>
                    <a:pt x="65" y="178"/>
                    <a:pt x="65" y="178"/>
                    <a:pt x="65" y="178"/>
                  </a:cubicBezTo>
                  <a:cubicBezTo>
                    <a:pt x="65" y="153"/>
                    <a:pt x="65" y="153"/>
                    <a:pt x="65" y="153"/>
                  </a:cubicBezTo>
                  <a:cubicBezTo>
                    <a:pt x="66" y="144"/>
                    <a:pt x="66" y="144"/>
                    <a:pt x="66" y="144"/>
                  </a:cubicBezTo>
                  <a:cubicBezTo>
                    <a:pt x="68" y="135"/>
                    <a:pt x="68" y="135"/>
                    <a:pt x="68" y="135"/>
                  </a:cubicBezTo>
                  <a:cubicBezTo>
                    <a:pt x="69" y="131"/>
                    <a:pt x="69" y="131"/>
                    <a:pt x="69" y="131"/>
                  </a:cubicBezTo>
                  <a:cubicBezTo>
                    <a:pt x="70" y="127"/>
                    <a:pt x="73" y="112"/>
                    <a:pt x="79" y="103"/>
                  </a:cubicBezTo>
                  <a:cubicBezTo>
                    <a:pt x="80" y="100"/>
                    <a:pt x="82" y="98"/>
                    <a:pt x="85" y="95"/>
                  </a:cubicBezTo>
                  <a:cubicBezTo>
                    <a:pt x="85" y="95"/>
                    <a:pt x="84" y="95"/>
                    <a:pt x="84" y="94"/>
                  </a:cubicBezTo>
                  <a:cubicBezTo>
                    <a:pt x="97" y="76"/>
                    <a:pt x="97" y="76"/>
                    <a:pt x="97" y="76"/>
                  </a:cubicBezTo>
                  <a:cubicBezTo>
                    <a:pt x="111" y="57"/>
                    <a:pt x="111" y="57"/>
                    <a:pt x="111" y="57"/>
                  </a:cubicBezTo>
                  <a:cubicBezTo>
                    <a:pt x="113" y="55"/>
                    <a:pt x="115" y="53"/>
                    <a:pt x="117" y="49"/>
                  </a:cubicBezTo>
                  <a:cubicBezTo>
                    <a:pt x="130" y="24"/>
                    <a:pt x="169" y="16"/>
                    <a:pt x="190" y="14"/>
                  </a:cubicBezTo>
                  <a:cubicBezTo>
                    <a:pt x="216" y="0"/>
                    <a:pt x="247" y="1"/>
                    <a:pt x="276" y="17"/>
                  </a:cubicBezTo>
                  <a:cubicBezTo>
                    <a:pt x="300" y="30"/>
                    <a:pt x="317" y="49"/>
                    <a:pt x="323" y="57"/>
                  </a:cubicBezTo>
                  <a:cubicBezTo>
                    <a:pt x="324" y="59"/>
                    <a:pt x="325" y="61"/>
                    <a:pt x="327" y="64"/>
                  </a:cubicBezTo>
                  <a:cubicBezTo>
                    <a:pt x="336" y="87"/>
                    <a:pt x="336" y="87"/>
                    <a:pt x="336" y="87"/>
                  </a:cubicBezTo>
                  <a:cubicBezTo>
                    <a:pt x="345" y="105"/>
                    <a:pt x="345" y="105"/>
                    <a:pt x="345" y="105"/>
                  </a:cubicBezTo>
                  <a:cubicBezTo>
                    <a:pt x="357" y="120"/>
                    <a:pt x="357" y="120"/>
                    <a:pt x="357" y="120"/>
                  </a:cubicBezTo>
                  <a:cubicBezTo>
                    <a:pt x="353" y="132"/>
                    <a:pt x="353" y="132"/>
                    <a:pt x="353" y="132"/>
                  </a:cubicBezTo>
                  <a:cubicBezTo>
                    <a:pt x="353" y="147"/>
                    <a:pt x="353" y="147"/>
                    <a:pt x="353" y="147"/>
                  </a:cubicBezTo>
                  <a:cubicBezTo>
                    <a:pt x="349" y="177"/>
                    <a:pt x="349" y="177"/>
                    <a:pt x="349" y="177"/>
                  </a:cubicBezTo>
                  <a:cubicBezTo>
                    <a:pt x="347" y="178"/>
                    <a:pt x="345" y="179"/>
                    <a:pt x="343" y="181"/>
                  </a:cubicBezTo>
                  <a:cubicBezTo>
                    <a:pt x="340" y="183"/>
                    <a:pt x="334" y="186"/>
                    <a:pt x="331" y="189"/>
                  </a:cubicBezTo>
                  <a:cubicBezTo>
                    <a:pt x="331" y="190"/>
                    <a:pt x="331" y="191"/>
                    <a:pt x="331" y="192"/>
                  </a:cubicBezTo>
                  <a:cubicBezTo>
                    <a:pt x="330" y="202"/>
                    <a:pt x="329" y="217"/>
                    <a:pt x="320" y="230"/>
                  </a:cubicBezTo>
                  <a:cubicBezTo>
                    <a:pt x="320" y="236"/>
                    <a:pt x="318" y="244"/>
                    <a:pt x="310" y="251"/>
                  </a:cubicBezTo>
                  <a:cubicBezTo>
                    <a:pt x="336" y="260"/>
                    <a:pt x="336" y="260"/>
                    <a:pt x="336" y="260"/>
                  </a:cubicBezTo>
                  <a:cubicBezTo>
                    <a:pt x="378" y="262"/>
                    <a:pt x="411" y="296"/>
                    <a:pt x="411" y="33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7" name="Freeform 43">
              <a:extLst>
                <a:ext uri="{FF2B5EF4-FFF2-40B4-BE49-F238E27FC236}">
                  <a16:creationId xmlns:a16="http://schemas.microsoft.com/office/drawing/2014/main" xmlns="" id="{4127C204-C67E-4202-BE78-0F0EB734E1A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82" y="923"/>
              <a:ext cx="400" cy="440"/>
            </a:xfrm>
            <a:custGeom>
              <a:avLst/>
              <a:gdLst>
                <a:gd name="T0" fmla="*/ 366 w 366"/>
                <a:gd name="T1" fmla="*/ 403 h 403"/>
                <a:gd name="T2" fmla="*/ 0 w 366"/>
                <a:gd name="T3" fmla="*/ 403 h 403"/>
                <a:gd name="T4" fmla="*/ 5 w 366"/>
                <a:gd name="T5" fmla="*/ 332 h 403"/>
                <a:gd name="T6" fmla="*/ 60 w 366"/>
                <a:gd name="T7" fmla="*/ 277 h 403"/>
                <a:gd name="T8" fmla="*/ 135 w 366"/>
                <a:gd name="T9" fmla="*/ 251 h 403"/>
                <a:gd name="T10" fmla="*/ 183 w 366"/>
                <a:gd name="T11" fmla="*/ 363 h 403"/>
                <a:gd name="T12" fmla="*/ 231 w 366"/>
                <a:gd name="T13" fmla="*/ 251 h 403"/>
                <a:gd name="T14" fmla="*/ 306 w 366"/>
                <a:gd name="T15" fmla="*/ 277 h 403"/>
                <a:gd name="T16" fmla="*/ 361 w 366"/>
                <a:gd name="T17" fmla="*/ 332 h 403"/>
                <a:gd name="T18" fmla="*/ 366 w 366"/>
                <a:gd name="T19" fmla="*/ 403 h 403"/>
                <a:gd name="T20" fmla="*/ 310 w 366"/>
                <a:gd name="T21" fmla="*/ 133 h 403"/>
                <a:gd name="T22" fmla="*/ 294 w 366"/>
                <a:gd name="T23" fmla="*/ 136 h 403"/>
                <a:gd name="T24" fmla="*/ 311 w 366"/>
                <a:gd name="T25" fmla="*/ 123 h 403"/>
                <a:gd name="T26" fmla="*/ 309 w 366"/>
                <a:gd name="T27" fmla="*/ 108 h 403"/>
                <a:gd name="T28" fmla="*/ 300 w 366"/>
                <a:gd name="T29" fmla="*/ 117 h 403"/>
                <a:gd name="T30" fmla="*/ 292 w 366"/>
                <a:gd name="T31" fmla="*/ 104 h 403"/>
                <a:gd name="T32" fmla="*/ 277 w 366"/>
                <a:gd name="T33" fmla="*/ 64 h 403"/>
                <a:gd name="T34" fmla="*/ 172 w 366"/>
                <a:gd name="T35" fmla="*/ 31 h 403"/>
                <a:gd name="T36" fmla="*/ 113 w 366"/>
                <a:gd name="T37" fmla="*/ 52 h 403"/>
                <a:gd name="T38" fmla="*/ 85 w 366"/>
                <a:gd name="T39" fmla="*/ 76 h 403"/>
                <a:gd name="T40" fmla="*/ 78 w 366"/>
                <a:gd name="T41" fmla="*/ 73 h 403"/>
                <a:gd name="T42" fmla="*/ 93 w 366"/>
                <a:gd name="T43" fmla="*/ 86 h 403"/>
                <a:gd name="T44" fmla="*/ 73 w 366"/>
                <a:gd name="T45" fmla="*/ 108 h 403"/>
                <a:gd name="T46" fmla="*/ 67 w 366"/>
                <a:gd name="T47" fmla="*/ 128 h 403"/>
                <a:gd name="T48" fmla="*/ 77 w 366"/>
                <a:gd name="T49" fmla="*/ 129 h 403"/>
                <a:gd name="T50" fmla="*/ 76 w 366"/>
                <a:gd name="T51" fmla="*/ 139 h 403"/>
                <a:gd name="T52" fmla="*/ 61 w 366"/>
                <a:gd name="T53" fmla="*/ 147 h 403"/>
                <a:gd name="T54" fmla="*/ 74 w 366"/>
                <a:gd name="T55" fmla="*/ 178 h 403"/>
                <a:gd name="T56" fmla="*/ 62 w 366"/>
                <a:gd name="T57" fmla="*/ 184 h 403"/>
                <a:gd name="T58" fmla="*/ 74 w 366"/>
                <a:gd name="T59" fmla="*/ 195 h 403"/>
                <a:gd name="T60" fmla="*/ 96 w 366"/>
                <a:gd name="T61" fmla="*/ 197 h 403"/>
                <a:gd name="T62" fmla="*/ 99 w 366"/>
                <a:gd name="T63" fmla="*/ 219 h 403"/>
                <a:gd name="T64" fmla="*/ 132 w 366"/>
                <a:gd name="T65" fmla="*/ 237 h 403"/>
                <a:gd name="T66" fmla="*/ 222 w 366"/>
                <a:gd name="T67" fmla="*/ 244 h 403"/>
                <a:gd name="T68" fmla="*/ 233 w 366"/>
                <a:gd name="T69" fmla="*/ 242 h 403"/>
                <a:gd name="T70" fmla="*/ 270 w 366"/>
                <a:gd name="T71" fmla="*/ 224 h 403"/>
                <a:gd name="T72" fmla="*/ 264 w 366"/>
                <a:gd name="T73" fmla="*/ 218 h 403"/>
                <a:gd name="T74" fmla="*/ 272 w 366"/>
                <a:gd name="T75" fmla="*/ 211 h 403"/>
                <a:gd name="T76" fmla="*/ 283 w 366"/>
                <a:gd name="T77" fmla="*/ 171 h 403"/>
                <a:gd name="T78" fmla="*/ 309 w 366"/>
                <a:gd name="T79" fmla="*/ 150 h 403"/>
                <a:gd name="T80" fmla="*/ 295 w 366"/>
                <a:gd name="T81" fmla="*/ 147 h 403"/>
                <a:gd name="T82" fmla="*/ 310 w 366"/>
                <a:gd name="T83" fmla="*/ 133 h 403"/>
                <a:gd name="T84" fmla="*/ 130 w 366"/>
                <a:gd name="T85" fmla="*/ 222 h 403"/>
                <a:gd name="T86" fmla="*/ 125 w 366"/>
                <a:gd name="T87" fmla="*/ 215 h 403"/>
                <a:gd name="T88" fmla="*/ 121 w 366"/>
                <a:gd name="T89" fmla="*/ 203 h 403"/>
                <a:gd name="T90" fmla="*/ 117 w 366"/>
                <a:gd name="T91" fmla="*/ 139 h 403"/>
                <a:gd name="T92" fmla="*/ 158 w 366"/>
                <a:gd name="T93" fmla="*/ 73 h 403"/>
                <a:gd name="T94" fmla="*/ 184 w 366"/>
                <a:gd name="T95" fmla="*/ 76 h 403"/>
                <a:gd name="T96" fmla="*/ 223 w 366"/>
                <a:gd name="T97" fmla="*/ 131 h 403"/>
                <a:gd name="T98" fmla="*/ 245 w 366"/>
                <a:gd name="T99" fmla="*/ 169 h 403"/>
                <a:gd name="T100" fmla="*/ 257 w 366"/>
                <a:gd name="T101" fmla="*/ 178 h 403"/>
                <a:gd name="T102" fmla="*/ 253 w 366"/>
                <a:gd name="T103" fmla="*/ 199 h 403"/>
                <a:gd name="T104" fmla="*/ 243 w 366"/>
                <a:gd name="T105" fmla="*/ 203 h 403"/>
                <a:gd name="T106" fmla="*/ 234 w 366"/>
                <a:gd name="T107" fmla="*/ 226 h 403"/>
                <a:gd name="T108" fmla="*/ 130 w 366"/>
                <a:gd name="T109" fmla="*/ 222 h 4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366" h="403">
                  <a:moveTo>
                    <a:pt x="366" y="403"/>
                  </a:moveTo>
                  <a:cubicBezTo>
                    <a:pt x="0" y="403"/>
                    <a:pt x="0" y="403"/>
                    <a:pt x="0" y="403"/>
                  </a:cubicBezTo>
                  <a:cubicBezTo>
                    <a:pt x="5" y="332"/>
                    <a:pt x="5" y="332"/>
                    <a:pt x="5" y="332"/>
                  </a:cubicBezTo>
                  <a:cubicBezTo>
                    <a:pt x="5" y="302"/>
                    <a:pt x="29" y="277"/>
                    <a:pt x="60" y="277"/>
                  </a:cubicBezTo>
                  <a:cubicBezTo>
                    <a:pt x="135" y="251"/>
                    <a:pt x="135" y="251"/>
                    <a:pt x="135" y="251"/>
                  </a:cubicBezTo>
                  <a:cubicBezTo>
                    <a:pt x="142" y="273"/>
                    <a:pt x="166" y="363"/>
                    <a:pt x="183" y="363"/>
                  </a:cubicBezTo>
                  <a:cubicBezTo>
                    <a:pt x="200" y="363"/>
                    <a:pt x="223" y="275"/>
                    <a:pt x="231" y="251"/>
                  </a:cubicBezTo>
                  <a:cubicBezTo>
                    <a:pt x="306" y="277"/>
                    <a:pt x="306" y="277"/>
                    <a:pt x="306" y="277"/>
                  </a:cubicBezTo>
                  <a:cubicBezTo>
                    <a:pt x="336" y="277"/>
                    <a:pt x="361" y="302"/>
                    <a:pt x="361" y="332"/>
                  </a:cubicBezTo>
                  <a:lnTo>
                    <a:pt x="366" y="403"/>
                  </a:lnTo>
                  <a:close/>
                  <a:moveTo>
                    <a:pt x="310" y="133"/>
                  </a:moveTo>
                  <a:cubicBezTo>
                    <a:pt x="310" y="133"/>
                    <a:pt x="293" y="139"/>
                    <a:pt x="294" y="136"/>
                  </a:cubicBezTo>
                  <a:cubicBezTo>
                    <a:pt x="295" y="134"/>
                    <a:pt x="309" y="133"/>
                    <a:pt x="311" y="123"/>
                  </a:cubicBezTo>
                  <a:cubicBezTo>
                    <a:pt x="309" y="108"/>
                    <a:pt x="309" y="108"/>
                    <a:pt x="309" y="108"/>
                  </a:cubicBezTo>
                  <a:cubicBezTo>
                    <a:pt x="309" y="108"/>
                    <a:pt x="306" y="116"/>
                    <a:pt x="300" y="117"/>
                  </a:cubicBezTo>
                  <a:cubicBezTo>
                    <a:pt x="293" y="118"/>
                    <a:pt x="291" y="109"/>
                    <a:pt x="292" y="104"/>
                  </a:cubicBezTo>
                  <a:cubicBezTo>
                    <a:pt x="293" y="99"/>
                    <a:pt x="284" y="74"/>
                    <a:pt x="277" y="64"/>
                  </a:cubicBezTo>
                  <a:cubicBezTo>
                    <a:pt x="268" y="51"/>
                    <a:pt x="219" y="0"/>
                    <a:pt x="172" y="31"/>
                  </a:cubicBezTo>
                  <a:cubicBezTo>
                    <a:pt x="172" y="31"/>
                    <a:pt x="122" y="34"/>
                    <a:pt x="113" y="52"/>
                  </a:cubicBezTo>
                  <a:cubicBezTo>
                    <a:pt x="104" y="71"/>
                    <a:pt x="89" y="77"/>
                    <a:pt x="85" y="76"/>
                  </a:cubicBezTo>
                  <a:cubicBezTo>
                    <a:pt x="81" y="75"/>
                    <a:pt x="78" y="73"/>
                    <a:pt x="78" y="73"/>
                  </a:cubicBezTo>
                  <a:cubicBezTo>
                    <a:pt x="78" y="73"/>
                    <a:pt x="87" y="86"/>
                    <a:pt x="93" y="86"/>
                  </a:cubicBezTo>
                  <a:cubicBezTo>
                    <a:pt x="93" y="86"/>
                    <a:pt x="78" y="102"/>
                    <a:pt x="73" y="108"/>
                  </a:cubicBezTo>
                  <a:cubicBezTo>
                    <a:pt x="69" y="115"/>
                    <a:pt x="67" y="128"/>
                    <a:pt x="67" y="128"/>
                  </a:cubicBezTo>
                  <a:cubicBezTo>
                    <a:pt x="67" y="128"/>
                    <a:pt x="73" y="126"/>
                    <a:pt x="77" y="129"/>
                  </a:cubicBezTo>
                  <a:cubicBezTo>
                    <a:pt x="81" y="133"/>
                    <a:pt x="79" y="136"/>
                    <a:pt x="76" y="139"/>
                  </a:cubicBezTo>
                  <a:cubicBezTo>
                    <a:pt x="73" y="143"/>
                    <a:pt x="61" y="147"/>
                    <a:pt x="61" y="147"/>
                  </a:cubicBezTo>
                  <a:cubicBezTo>
                    <a:pt x="62" y="171"/>
                    <a:pt x="78" y="170"/>
                    <a:pt x="74" y="178"/>
                  </a:cubicBezTo>
                  <a:cubicBezTo>
                    <a:pt x="72" y="184"/>
                    <a:pt x="65" y="187"/>
                    <a:pt x="62" y="184"/>
                  </a:cubicBezTo>
                  <a:cubicBezTo>
                    <a:pt x="62" y="184"/>
                    <a:pt x="65" y="192"/>
                    <a:pt x="74" y="195"/>
                  </a:cubicBezTo>
                  <a:cubicBezTo>
                    <a:pt x="81" y="197"/>
                    <a:pt x="96" y="197"/>
                    <a:pt x="96" y="197"/>
                  </a:cubicBezTo>
                  <a:cubicBezTo>
                    <a:pt x="96" y="197"/>
                    <a:pt x="91" y="210"/>
                    <a:pt x="99" y="219"/>
                  </a:cubicBezTo>
                  <a:cubicBezTo>
                    <a:pt x="105" y="226"/>
                    <a:pt x="122" y="233"/>
                    <a:pt x="132" y="237"/>
                  </a:cubicBezTo>
                  <a:cubicBezTo>
                    <a:pt x="158" y="260"/>
                    <a:pt x="194" y="263"/>
                    <a:pt x="222" y="244"/>
                  </a:cubicBezTo>
                  <a:cubicBezTo>
                    <a:pt x="224" y="244"/>
                    <a:pt x="228" y="244"/>
                    <a:pt x="233" y="242"/>
                  </a:cubicBezTo>
                  <a:cubicBezTo>
                    <a:pt x="253" y="237"/>
                    <a:pt x="270" y="227"/>
                    <a:pt x="270" y="224"/>
                  </a:cubicBezTo>
                  <a:cubicBezTo>
                    <a:pt x="269" y="221"/>
                    <a:pt x="264" y="220"/>
                    <a:pt x="264" y="218"/>
                  </a:cubicBezTo>
                  <a:cubicBezTo>
                    <a:pt x="263" y="215"/>
                    <a:pt x="269" y="214"/>
                    <a:pt x="272" y="211"/>
                  </a:cubicBezTo>
                  <a:cubicBezTo>
                    <a:pt x="284" y="199"/>
                    <a:pt x="279" y="178"/>
                    <a:pt x="283" y="171"/>
                  </a:cubicBezTo>
                  <a:cubicBezTo>
                    <a:pt x="287" y="163"/>
                    <a:pt x="303" y="154"/>
                    <a:pt x="309" y="150"/>
                  </a:cubicBezTo>
                  <a:cubicBezTo>
                    <a:pt x="309" y="150"/>
                    <a:pt x="297" y="154"/>
                    <a:pt x="295" y="147"/>
                  </a:cubicBezTo>
                  <a:cubicBezTo>
                    <a:pt x="293" y="143"/>
                    <a:pt x="305" y="141"/>
                    <a:pt x="310" y="133"/>
                  </a:cubicBezTo>
                  <a:close/>
                  <a:moveTo>
                    <a:pt x="130" y="222"/>
                  </a:moveTo>
                  <a:cubicBezTo>
                    <a:pt x="128" y="220"/>
                    <a:pt x="127" y="218"/>
                    <a:pt x="125" y="215"/>
                  </a:cubicBezTo>
                  <a:cubicBezTo>
                    <a:pt x="123" y="211"/>
                    <a:pt x="121" y="207"/>
                    <a:pt x="121" y="203"/>
                  </a:cubicBezTo>
                  <a:cubicBezTo>
                    <a:pt x="119" y="190"/>
                    <a:pt x="113" y="151"/>
                    <a:pt x="117" y="139"/>
                  </a:cubicBezTo>
                  <a:cubicBezTo>
                    <a:pt x="121" y="128"/>
                    <a:pt x="142" y="76"/>
                    <a:pt x="158" y="73"/>
                  </a:cubicBezTo>
                  <a:cubicBezTo>
                    <a:pt x="158" y="73"/>
                    <a:pt x="168" y="68"/>
                    <a:pt x="184" y="76"/>
                  </a:cubicBezTo>
                  <a:cubicBezTo>
                    <a:pt x="200" y="83"/>
                    <a:pt x="216" y="118"/>
                    <a:pt x="223" y="131"/>
                  </a:cubicBezTo>
                  <a:cubicBezTo>
                    <a:pt x="230" y="144"/>
                    <a:pt x="240" y="165"/>
                    <a:pt x="245" y="169"/>
                  </a:cubicBezTo>
                  <a:cubicBezTo>
                    <a:pt x="249" y="173"/>
                    <a:pt x="257" y="178"/>
                    <a:pt x="257" y="178"/>
                  </a:cubicBezTo>
                  <a:cubicBezTo>
                    <a:pt x="257" y="178"/>
                    <a:pt x="260" y="194"/>
                    <a:pt x="253" y="199"/>
                  </a:cubicBezTo>
                  <a:cubicBezTo>
                    <a:pt x="246" y="203"/>
                    <a:pt x="243" y="203"/>
                    <a:pt x="243" y="203"/>
                  </a:cubicBezTo>
                  <a:cubicBezTo>
                    <a:pt x="243" y="203"/>
                    <a:pt x="238" y="217"/>
                    <a:pt x="234" y="226"/>
                  </a:cubicBezTo>
                  <a:cubicBezTo>
                    <a:pt x="204" y="261"/>
                    <a:pt x="158" y="259"/>
                    <a:pt x="130" y="222"/>
                  </a:cubicBez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238" name="Group 47">
            <a:extLst>
              <a:ext uri="{FF2B5EF4-FFF2-40B4-BE49-F238E27FC236}">
                <a16:creationId xmlns:a16="http://schemas.microsoft.com/office/drawing/2014/main" xmlns="" id="{2B2A8F36-79FF-4E58-B005-C865B61E79D8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8384160" y="4101959"/>
            <a:ext cx="455648" cy="458652"/>
            <a:chOff x="2946" y="939"/>
            <a:chExt cx="455" cy="458"/>
          </a:xfrm>
          <a:effectLst>
            <a:outerShdw blurRad="101600" dist="76200" dir="2700000" algn="ctr" rotWithShape="0">
              <a:srgbClr val="000000">
                <a:alpha val="29000"/>
              </a:srgbClr>
            </a:outerShdw>
          </a:effectLst>
        </p:grpSpPr>
        <p:sp>
          <p:nvSpPr>
            <p:cNvPr id="239" name="AutoShape 46">
              <a:extLst>
                <a:ext uri="{FF2B5EF4-FFF2-40B4-BE49-F238E27FC236}">
                  <a16:creationId xmlns:a16="http://schemas.microsoft.com/office/drawing/2014/main" xmlns="" id="{263388D6-CB82-425B-9F0E-1F63C321896A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946" y="939"/>
              <a:ext cx="455" cy="45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0" name="Freeform 48">
              <a:extLst>
                <a:ext uri="{FF2B5EF4-FFF2-40B4-BE49-F238E27FC236}">
                  <a16:creationId xmlns:a16="http://schemas.microsoft.com/office/drawing/2014/main" xmlns="" id="{4F574713-C84B-4B8B-8785-77399A2C6A16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7" y="934"/>
              <a:ext cx="455" cy="463"/>
            </a:xfrm>
            <a:custGeom>
              <a:avLst/>
              <a:gdLst>
                <a:gd name="T0" fmla="*/ 417 w 417"/>
                <a:gd name="T1" fmla="*/ 425 h 425"/>
                <a:gd name="T2" fmla="*/ 0 w 417"/>
                <a:gd name="T3" fmla="*/ 425 h 425"/>
                <a:gd name="T4" fmla="*/ 7 w 417"/>
                <a:gd name="T5" fmla="*/ 329 h 425"/>
                <a:gd name="T6" fmla="*/ 67 w 417"/>
                <a:gd name="T7" fmla="*/ 253 h 425"/>
                <a:gd name="T8" fmla="*/ 76 w 417"/>
                <a:gd name="T9" fmla="*/ 135 h 425"/>
                <a:gd name="T10" fmla="*/ 76 w 417"/>
                <a:gd name="T11" fmla="*/ 133 h 425"/>
                <a:gd name="T12" fmla="*/ 82 w 417"/>
                <a:gd name="T13" fmla="*/ 111 h 425"/>
                <a:gd name="T14" fmla="*/ 180 w 417"/>
                <a:gd name="T15" fmla="*/ 8 h 425"/>
                <a:gd name="T16" fmla="*/ 259 w 417"/>
                <a:gd name="T17" fmla="*/ 20 h 425"/>
                <a:gd name="T18" fmla="*/ 273 w 417"/>
                <a:gd name="T19" fmla="*/ 34 h 425"/>
                <a:gd name="T20" fmla="*/ 317 w 417"/>
                <a:gd name="T21" fmla="*/ 81 h 425"/>
                <a:gd name="T22" fmla="*/ 331 w 417"/>
                <a:gd name="T23" fmla="*/ 174 h 425"/>
                <a:gd name="T24" fmla="*/ 329 w 417"/>
                <a:gd name="T25" fmla="*/ 207 h 425"/>
                <a:gd name="T26" fmla="*/ 328 w 417"/>
                <a:gd name="T27" fmla="*/ 248 h 425"/>
                <a:gd name="T28" fmla="*/ 336 w 417"/>
                <a:gd name="T29" fmla="*/ 251 h 425"/>
                <a:gd name="T30" fmla="*/ 411 w 417"/>
                <a:gd name="T31" fmla="*/ 329 h 425"/>
                <a:gd name="T32" fmla="*/ 417 w 417"/>
                <a:gd name="T33" fmla="*/ 425 h 4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17" h="425">
                  <a:moveTo>
                    <a:pt x="417" y="425"/>
                  </a:moveTo>
                  <a:cubicBezTo>
                    <a:pt x="0" y="425"/>
                    <a:pt x="0" y="425"/>
                    <a:pt x="0" y="425"/>
                  </a:cubicBezTo>
                  <a:cubicBezTo>
                    <a:pt x="7" y="329"/>
                    <a:pt x="7" y="329"/>
                    <a:pt x="7" y="329"/>
                  </a:cubicBezTo>
                  <a:cubicBezTo>
                    <a:pt x="7" y="292"/>
                    <a:pt x="33" y="261"/>
                    <a:pt x="67" y="253"/>
                  </a:cubicBezTo>
                  <a:cubicBezTo>
                    <a:pt x="63" y="219"/>
                    <a:pt x="74" y="149"/>
                    <a:pt x="76" y="135"/>
                  </a:cubicBezTo>
                  <a:cubicBezTo>
                    <a:pt x="76" y="133"/>
                    <a:pt x="76" y="133"/>
                    <a:pt x="76" y="133"/>
                  </a:cubicBezTo>
                  <a:cubicBezTo>
                    <a:pt x="82" y="111"/>
                    <a:pt x="82" y="111"/>
                    <a:pt x="82" y="111"/>
                  </a:cubicBezTo>
                  <a:cubicBezTo>
                    <a:pt x="87" y="90"/>
                    <a:pt x="104" y="24"/>
                    <a:pt x="180" y="8"/>
                  </a:cubicBezTo>
                  <a:cubicBezTo>
                    <a:pt x="220" y="0"/>
                    <a:pt x="245" y="10"/>
                    <a:pt x="259" y="20"/>
                  </a:cubicBezTo>
                  <a:cubicBezTo>
                    <a:pt x="265" y="25"/>
                    <a:pt x="269" y="29"/>
                    <a:pt x="273" y="34"/>
                  </a:cubicBezTo>
                  <a:cubicBezTo>
                    <a:pt x="296" y="40"/>
                    <a:pt x="308" y="64"/>
                    <a:pt x="317" y="81"/>
                  </a:cubicBezTo>
                  <a:cubicBezTo>
                    <a:pt x="327" y="102"/>
                    <a:pt x="336" y="150"/>
                    <a:pt x="331" y="174"/>
                  </a:cubicBezTo>
                  <a:cubicBezTo>
                    <a:pt x="332" y="182"/>
                    <a:pt x="331" y="195"/>
                    <a:pt x="329" y="207"/>
                  </a:cubicBezTo>
                  <a:cubicBezTo>
                    <a:pt x="328" y="211"/>
                    <a:pt x="328" y="227"/>
                    <a:pt x="328" y="248"/>
                  </a:cubicBezTo>
                  <a:cubicBezTo>
                    <a:pt x="336" y="251"/>
                    <a:pt x="336" y="251"/>
                    <a:pt x="336" y="251"/>
                  </a:cubicBezTo>
                  <a:cubicBezTo>
                    <a:pt x="378" y="253"/>
                    <a:pt x="411" y="287"/>
                    <a:pt x="411" y="329"/>
                  </a:cubicBezTo>
                  <a:lnTo>
                    <a:pt x="417" y="42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1" name="Freeform 49">
              <a:extLst>
                <a:ext uri="{FF2B5EF4-FFF2-40B4-BE49-F238E27FC236}">
                  <a16:creationId xmlns:a16="http://schemas.microsoft.com/office/drawing/2014/main" xmlns="" id="{25F91684-E7F5-482F-8DB1-89A80294AB8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75" y="954"/>
              <a:ext cx="400" cy="417"/>
            </a:xfrm>
            <a:custGeom>
              <a:avLst/>
              <a:gdLst>
                <a:gd name="T0" fmla="*/ 361 w 366"/>
                <a:gd name="T1" fmla="*/ 311 h 382"/>
                <a:gd name="T2" fmla="*/ 306 w 366"/>
                <a:gd name="T3" fmla="*/ 255 h 382"/>
                <a:gd name="T4" fmla="*/ 279 w 366"/>
                <a:gd name="T5" fmla="*/ 246 h 382"/>
                <a:gd name="T6" fmla="*/ 279 w 366"/>
                <a:gd name="T7" fmla="*/ 183 h 382"/>
                <a:gd name="T8" fmla="*/ 281 w 366"/>
                <a:gd name="T9" fmla="*/ 152 h 382"/>
                <a:gd name="T10" fmla="*/ 269 w 366"/>
                <a:gd name="T11" fmla="*/ 72 h 382"/>
                <a:gd name="T12" fmla="*/ 233 w 366"/>
                <a:gd name="T13" fmla="*/ 38 h 382"/>
                <a:gd name="T14" fmla="*/ 158 w 366"/>
                <a:gd name="T15" fmla="*/ 13 h 382"/>
                <a:gd name="T16" fmla="*/ 79 w 366"/>
                <a:gd name="T17" fmla="*/ 98 h 382"/>
                <a:gd name="T18" fmla="*/ 74 w 366"/>
                <a:gd name="T19" fmla="*/ 119 h 382"/>
                <a:gd name="T20" fmla="*/ 65 w 366"/>
                <a:gd name="T21" fmla="*/ 235 h 382"/>
                <a:gd name="T22" fmla="*/ 69 w 366"/>
                <a:gd name="T23" fmla="*/ 252 h 382"/>
                <a:gd name="T24" fmla="*/ 60 w 366"/>
                <a:gd name="T25" fmla="*/ 255 h 382"/>
                <a:gd name="T26" fmla="*/ 5 w 366"/>
                <a:gd name="T27" fmla="*/ 311 h 382"/>
                <a:gd name="T28" fmla="*/ 0 w 366"/>
                <a:gd name="T29" fmla="*/ 382 h 382"/>
                <a:gd name="T30" fmla="*/ 366 w 366"/>
                <a:gd name="T31" fmla="*/ 382 h 382"/>
                <a:gd name="T32" fmla="*/ 361 w 366"/>
                <a:gd name="T33" fmla="*/ 311 h 382"/>
                <a:gd name="T34" fmla="*/ 117 w 366"/>
                <a:gd name="T35" fmla="*/ 119 h 382"/>
                <a:gd name="T36" fmla="*/ 159 w 366"/>
                <a:gd name="T37" fmla="*/ 103 h 382"/>
                <a:gd name="T38" fmla="*/ 203 w 366"/>
                <a:gd name="T39" fmla="*/ 73 h 382"/>
                <a:gd name="T40" fmla="*/ 223 w 366"/>
                <a:gd name="T41" fmla="*/ 109 h 382"/>
                <a:gd name="T42" fmla="*/ 245 w 366"/>
                <a:gd name="T43" fmla="*/ 148 h 382"/>
                <a:gd name="T44" fmla="*/ 253 w 366"/>
                <a:gd name="T45" fmla="*/ 154 h 382"/>
                <a:gd name="T46" fmla="*/ 248 w 366"/>
                <a:gd name="T47" fmla="*/ 180 h 382"/>
                <a:gd name="T48" fmla="*/ 243 w 366"/>
                <a:gd name="T49" fmla="*/ 181 h 382"/>
                <a:gd name="T50" fmla="*/ 234 w 366"/>
                <a:gd name="T51" fmla="*/ 204 h 382"/>
                <a:gd name="T52" fmla="*/ 130 w 366"/>
                <a:gd name="T53" fmla="*/ 200 h 382"/>
                <a:gd name="T54" fmla="*/ 125 w 366"/>
                <a:gd name="T55" fmla="*/ 194 h 382"/>
                <a:gd name="T56" fmla="*/ 121 w 366"/>
                <a:gd name="T57" fmla="*/ 181 h 382"/>
                <a:gd name="T58" fmla="*/ 117 w 366"/>
                <a:gd name="T59" fmla="*/ 119 h 382"/>
                <a:gd name="T60" fmla="*/ 183 w 366"/>
                <a:gd name="T61" fmla="*/ 341 h 382"/>
                <a:gd name="T62" fmla="*/ 142 w 366"/>
                <a:gd name="T63" fmla="*/ 254 h 382"/>
                <a:gd name="T64" fmla="*/ 146 w 366"/>
                <a:gd name="T65" fmla="*/ 226 h 382"/>
                <a:gd name="T66" fmla="*/ 215 w 366"/>
                <a:gd name="T67" fmla="*/ 227 h 382"/>
                <a:gd name="T68" fmla="*/ 220 w 366"/>
                <a:gd name="T69" fmla="*/ 251 h 382"/>
                <a:gd name="T70" fmla="*/ 222 w 366"/>
                <a:gd name="T71" fmla="*/ 259 h 382"/>
                <a:gd name="T72" fmla="*/ 183 w 366"/>
                <a:gd name="T73" fmla="*/ 341 h 3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66" h="382">
                  <a:moveTo>
                    <a:pt x="361" y="311"/>
                  </a:moveTo>
                  <a:cubicBezTo>
                    <a:pt x="361" y="280"/>
                    <a:pt x="336" y="255"/>
                    <a:pt x="306" y="255"/>
                  </a:cubicBezTo>
                  <a:cubicBezTo>
                    <a:pt x="279" y="246"/>
                    <a:pt x="279" y="246"/>
                    <a:pt x="279" y="246"/>
                  </a:cubicBezTo>
                  <a:cubicBezTo>
                    <a:pt x="278" y="222"/>
                    <a:pt x="277" y="192"/>
                    <a:pt x="279" y="183"/>
                  </a:cubicBezTo>
                  <a:cubicBezTo>
                    <a:pt x="282" y="172"/>
                    <a:pt x="282" y="158"/>
                    <a:pt x="281" y="152"/>
                  </a:cubicBezTo>
                  <a:cubicBezTo>
                    <a:pt x="286" y="139"/>
                    <a:pt x="279" y="93"/>
                    <a:pt x="269" y="72"/>
                  </a:cubicBezTo>
                  <a:cubicBezTo>
                    <a:pt x="257" y="47"/>
                    <a:pt x="248" y="36"/>
                    <a:pt x="233" y="38"/>
                  </a:cubicBezTo>
                  <a:cubicBezTo>
                    <a:pt x="233" y="38"/>
                    <a:pt x="220" y="0"/>
                    <a:pt x="158" y="13"/>
                  </a:cubicBezTo>
                  <a:cubicBezTo>
                    <a:pt x="97" y="25"/>
                    <a:pt x="84" y="78"/>
                    <a:pt x="79" y="98"/>
                  </a:cubicBezTo>
                  <a:cubicBezTo>
                    <a:pt x="74" y="119"/>
                    <a:pt x="74" y="119"/>
                    <a:pt x="74" y="119"/>
                  </a:cubicBezTo>
                  <a:cubicBezTo>
                    <a:pt x="74" y="119"/>
                    <a:pt x="60" y="207"/>
                    <a:pt x="65" y="235"/>
                  </a:cubicBezTo>
                  <a:cubicBezTo>
                    <a:pt x="66" y="241"/>
                    <a:pt x="68" y="246"/>
                    <a:pt x="69" y="252"/>
                  </a:cubicBezTo>
                  <a:cubicBezTo>
                    <a:pt x="60" y="255"/>
                    <a:pt x="60" y="255"/>
                    <a:pt x="60" y="255"/>
                  </a:cubicBezTo>
                  <a:cubicBezTo>
                    <a:pt x="29" y="255"/>
                    <a:pt x="5" y="280"/>
                    <a:pt x="5" y="311"/>
                  </a:cubicBezTo>
                  <a:cubicBezTo>
                    <a:pt x="0" y="382"/>
                    <a:pt x="0" y="382"/>
                    <a:pt x="0" y="382"/>
                  </a:cubicBezTo>
                  <a:cubicBezTo>
                    <a:pt x="366" y="382"/>
                    <a:pt x="366" y="382"/>
                    <a:pt x="366" y="382"/>
                  </a:cubicBezTo>
                  <a:lnTo>
                    <a:pt x="361" y="311"/>
                  </a:lnTo>
                  <a:close/>
                  <a:moveTo>
                    <a:pt x="117" y="119"/>
                  </a:moveTo>
                  <a:cubicBezTo>
                    <a:pt x="126" y="116"/>
                    <a:pt x="140" y="111"/>
                    <a:pt x="159" y="103"/>
                  </a:cubicBezTo>
                  <a:cubicBezTo>
                    <a:pt x="177" y="95"/>
                    <a:pt x="191" y="84"/>
                    <a:pt x="203" y="73"/>
                  </a:cubicBezTo>
                  <a:cubicBezTo>
                    <a:pt x="211" y="86"/>
                    <a:pt x="219" y="101"/>
                    <a:pt x="223" y="109"/>
                  </a:cubicBezTo>
                  <a:cubicBezTo>
                    <a:pt x="230" y="123"/>
                    <a:pt x="240" y="144"/>
                    <a:pt x="245" y="148"/>
                  </a:cubicBezTo>
                  <a:cubicBezTo>
                    <a:pt x="247" y="150"/>
                    <a:pt x="250" y="152"/>
                    <a:pt x="253" y="154"/>
                  </a:cubicBezTo>
                  <a:cubicBezTo>
                    <a:pt x="252" y="164"/>
                    <a:pt x="250" y="172"/>
                    <a:pt x="248" y="180"/>
                  </a:cubicBezTo>
                  <a:cubicBezTo>
                    <a:pt x="245" y="181"/>
                    <a:pt x="243" y="181"/>
                    <a:pt x="243" y="181"/>
                  </a:cubicBezTo>
                  <a:cubicBezTo>
                    <a:pt x="243" y="181"/>
                    <a:pt x="238" y="196"/>
                    <a:pt x="234" y="204"/>
                  </a:cubicBezTo>
                  <a:cubicBezTo>
                    <a:pt x="204" y="239"/>
                    <a:pt x="158" y="238"/>
                    <a:pt x="130" y="200"/>
                  </a:cubicBezTo>
                  <a:cubicBezTo>
                    <a:pt x="128" y="198"/>
                    <a:pt x="127" y="196"/>
                    <a:pt x="125" y="194"/>
                  </a:cubicBezTo>
                  <a:cubicBezTo>
                    <a:pt x="123" y="190"/>
                    <a:pt x="121" y="185"/>
                    <a:pt x="121" y="181"/>
                  </a:cubicBezTo>
                  <a:cubicBezTo>
                    <a:pt x="119" y="169"/>
                    <a:pt x="113" y="132"/>
                    <a:pt x="117" y="119"/>
                  </a:cubicBezTo>
                  <a:close/>
                  <a:moveTo>
                    <a:pt x="183" y="341"/>
                  </a:moveTo>
                  <a:cubicBezTo>
                    <a:pt x="170" y="341"/>
                    <a:pt x="153" y="288"/>
                    <a:pt x="142" y="254"/>
                  </a:cubicBezTo>
                  <a:cubicBezTo>
                    <a:pt x="143" y="247"/>
                    <a:pt x="145" y="233"/>
                    <a:pt x="146" y="226"/>
                  </a:cubicBezTo>
                  <a:cubicBezTo>
                    <a:pt x="168" y="238"/>
                    <a:pt x="193" y="238"/>
                    <a:pt x="215" y="227"/>
                  </a:cubicBezTo>
                  <a:cubicBezTo>
                    <a:pt x="216" y="232"/>
                    <a:pt x="218" y="243"/>
                    <a:pt x="220" y="251"/>
                  </a:cubicBezTo>
                  <a:cubicBezTo>
                    <a:pt x="220" y="253"/>
                    <a:pt x="221" y="256"/>
                    <a:pt x="222" y="259"/>
                  </a:cubicBezTo>
                  <a:cubicBezTo>
                    <a:pt x="211" y="293"/>
                    <a:pt x="196" y="341"/>
                    <a:pt x="183" y="341"/>
                  </a:cubicBez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242" name="Gruppieren 241">
            <a:extLst>
              <a:ext uri="{FF2B5EF4-FFF2-40B4-BE49-F238E27FC236}">
                <a16:creationId xmlns:a16="http://schemas.microsoft.com/office/drawing/2014/main" xmlns="" id="{6151526C-0124-44F1-A898-9A785B662B40}"/>
              </a:ext>
            </a:extLst>
          </p:cNvPr>
          <p:cNvGrpSpPr/>
          <p:nvPr/>
        </p:nvGrpSpPr>
        <p:grpSpPr>
          <a:xfrm>
            <a:off x="5082260" y="322910"/>
            <a:ext cx="403471" cy="431946"/>
            <a:chOff x="671479" y="1379540"/>
            <a:chExt cx="1070483" cy="1146030"/>
          </a:xfrm>
        </p:grpSpPr>
        <p:sp>
          <p:nvSpPr>
            <p:cNvPr id="243" name="AutoShape 5">
              <a:extLst>
                <a:ext uri="{FF2B5EF4-FFF2-40B4-BE49-F238E27FC236}">
                  <a16:creationId xmlns:a16="http://schemas.microsoft.com/office/drawing/2014/main" xmlns="" id="{328199FD-2B6A-4DCD-899F-277482A1881C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671479" y="1379540"/>
              <a:ext cx="1070483" cy="1146030"/>
            </a:xfrm>
            <a:prstGeom prst="rect">
              <a:avLst/>
            </a:prstGeom>
            <a:noFill/>
            <a:ln>
              <a:noFill/>
            </a:ln>
            <a:effectLst>
              <a:outerShdw blurRad="101600" dist="76200" dir="2700000" algn="ctr" rotWithShape="0">
                <a:srgbClr val="000000">
                  <a:alpha val="29000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44" name="Freeform 8">
              <a:extLst>
                <a:ext uri="{FF2B5EF4-FFF2-40B4-BE49-F238E27FC236}">
                  <a16:creationId xmlns:a16="http://schemas.microsoft.com/office/drawing/2014/main" xmlns="" id="{449CF52B-003C-43C4-8843-4B3B1C17A13A}"/>
                </a:ext>
              </a:extLst>
            </p:cNvPr>
            <p:cNvSpPr>
              <a:spLocks/>
            </p:cNvSpPr>
            <p:nvPr/>
          </p:nvSpPr>
          <p:spPr bwMode="auto">
            <a:xfrm>
              <a:off x="722081" y="1440120"/>
              <a:ext cx="937207" cy="1006340"/>
            </a:xfrm>
            <a:custGeom>
              <a:avLst/>
              <a:gdLst>
                <a:gd name="T0" fmla="*/ 86 w 557"/>
                <a:gd name="T1" fmla="*/ 598 h 598"/>
                <a:gd name="T2" fmla="*/ 61 w 557"/>
                <a:gd name="T3" fmla="*/ 593 h 598"/>
                <a:gd name="T4" fmla="*/ 43 w 557"/>
                <a:gd name="T5" fmla="*/ 585 h 598"/>
                <a:gd name="T6" fmla="*/ 9 w 557"/>
                <a:gd name="T7" fmla="*/ 543 h 598"/>
                <a:gd name="T8" fmla="*/ 35 w 557"/>
                <a:gd name="T9" fmla="*/ 467 h 598"/>
                <a:gd name="T10" fmla="*/ 97 w 557"/>
                <a:gd name="T11" fmla="*/ 396 h 598"/>
                <a:gd name="T12" fmla="*/ 118 w 557"/>
                <a:gd name="T13" fmla="*/ 372 h 598"/>
                <a:gd name="T14" fmla="*/ 231 w 557"/>
                <a:gd name="T15" fmla="*/ 244 h 598"/>
                <a:gd name="T16" fmla="*/ 252 w 557"/>
                <a:gd name="T17" fmla="*/ 220 h 598"/>
                <a:gd name="T18" fmla="*/ 288 w 557"/>
                <a:gd name="T19" fmla="*/ 180 h 598"/>
                <a:gd name="T20" fmla="*/ 338 w 557"/>
                <a:gd name="T21" fmla="*/ 26 h 598"/>
                <a:gd name="T22" fmla="*/ 426 w 557"/>
                <a:gd name="T23" fmla="*/ 0 h 598"/>
                <a:gd name="T24" fmla="*/ 434 w 557"/>
                <a:gd name="T25" fmla="*/ 0 h 598"/>
                <a:gd name="T26" fmla="*/ 445 w 557"/>
                <a:gd name="T27" fmla="*/ 3 h 598"/>
                <a:gd name="T28" fmla="*/ 447 w 557"/>
                <a:gd name="T29" fmla="*/ 4 h 598"/>
                <a:gd name="T30" fmla="*/ 470 w 557"/>
                <a:gd name="T31" fmla="*/ 12 h 598"/>
                <a:gd name="T32" fmla="*/ 451 w 557"/>
                <a:gd name="T33" fmla="*/ 34 h 598"/>
                <a:gd name="T34" fmla="*/ 442 w 557"/>
                <a:gd name="T35" fmla="*/ 44 h 598"/>
                <a:gd name="T36" fmla="*/ 429 w 557"/>
                <a:gd name="T37" fmla="*/ 59 h 598"/>
                <a:gd name="T38" fmla="*/ 397 w 557"/>
                <a:gd name="T39" fmla="*/ 96 h 598"/>
                <a:gd name="T40" fmla="*/ 406 w 557"/>
                <a:gd name="T41" fmla="*/ 123 h 598"/>
                <a:gd name="T42" fmla="*/ 414 w 557"/>
                <a:gd name="T43" fmla="*/ 144 h 598"/>
                <a:gd name="T44" fmla="*/ 438 w 557"/>
                <a:gd name="T45" fmla="*/ 149 h 598"/>
                <a:gd name="T46" fmla="*/ 464 w 557"/>
                <a:gd name="T47" fmla="*/ 155 h 598"/>
                <a:gd name="T48" fmla="*/ 504 w 557"/>
                <a:gd name="T49" fmla="*/ 109 h 598"/>
                <a:gd name="T50" fmla="*/ 516 w 557"/>
                <a:gd name="T51" fmla="*/ 95 h 598"/>
                <a:gd name="T52" fmla="*/ 520 w 557"/>
                <a:gd name="T53" fmla="*/ 91 h 598"/>
                <a:gd name="T54" fmla="*/ 541 w 557"/>
                <a:gd name="T55" fmla="*/ 68 h 598"/>
                <a:gd name="T56" fmla="*/ 549 w 557"/>
                <a:gd name="T57" fmla="*/ 94 h 598"/>
                <a:gd name="T58" fmla="*/ 551 w 557"/>
                <a:gd name="T59" fmla="*/ 98 h 598"/>
                <a:gd name="T60" fmla="*/ 554 w 557"/>
                <a:gd name="T61" fmla="*/ 111 h 598"/>
                <a:gd name="T62" fmla="*/ 555 w 557"/>
                <a:gd name="T63" fmla="*/ 120 h 598"/>
                <a:gd name="T64" fmla="*/ 556 w 557"/>
                <a:gd name="T65" fmla="*/ 153 h 598"/>
                <a:gd name="T66" fmla="*/ 525 w 557"/>
                <a:gd name="T67" fmla="*/ 227 h 598"/>
                <a:gd name="T68" fmla="*/ 419 w 557"/>
                <a:gd name="T69" fmla="*/ 276 h 598"/>
                <a:gd name="T70" fmla="*/ 400 w 557"/>
                <a:gd name="T71" fmla="*/ 275 h 598"/>
                <a:gd name="T72" fmla="*/ 346 w 557"/>
                <a:gd name="T73" fmla="*/ 336 h 598"/>
                <a:gd name="T74" fmla="*/ 287 w 557"/>
                <a:gd name="T75" fmla="*/ 403 h 598"/>
                <a:gd name="T76" fmla="*/ 185 w 557"/>
                <a:gd name="T77" fmla="*/ 520 h 598"/>
                <a:gd name="T78" fmla="*/ 141 w 557"/>
                <a:gd name="T79" fmla="*/ 569 h 598"/>
                <a:gd name="T80" fmla="*/ 135 w 557"/>
                <a:gd name="T81" fmla="*/ 576 h 598"/>
                <a:gd name="T82" fmla="*/ 135 w 557"/>
                <a:gd name="T83" fmla="*/ 576 h 598"/>
                <a:gd name="T84" fmla="*/ 86 w 557"/>
                <a:gd name="T85" fmla="*/ 598 h 5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557" h="598">
                  <a:moveTo>
                    <a:pt x="86" y="598"/>
                  </a:moveTo>
                  <a:cubicBezTo>
                    <a:pt x="73" y="598"/>
                    <a:pt x="64" y="595"/>
                    <a:pt x="61" y="593"/>
                  </a:cubicBezTo>
                  <a:cubicBezTo>
                    <a:pt x="54" y="591"/>
                    <a:pt x="48" y="588"/>
                    <a:pt x="43" y="585"/>
                  </a:cubicBezTo>
                  <a:cubicBezTo>
                    <a:pt x="32" y="578"/>
                    <a:pt x="13" y="563"/>
                    <a:pt x="9" y="543"/>
                  </a:cubicBezTo>
                  <a:cubicBezTo>
                    <a:pt x="7" y="535"/>
                    <a:pt x="0" y="500"/>
                    <a:pt x="35" y="467"/>
                  </a:cubicBezTo>
                  <a:cubicBezTo>
                    <a:pt x="56" y="443"/>
                    <a:pt x="77" y="419"/>
                    <a:pt x="97" y="396"/>
                  </a:cubicBezTo>
                  <a:cubicBezTo>
                    <a:pt x="118" y="372"/>
                    <a:pt x="118" y="372"/>
                    <a:pt x="118" y="372"/>
                  </a:cubicBezTo>
                  <a:cubicBezTo>
                    <a:pt x="156" y="330"/>
                    <a:pt x="194" y="287"/>
                    <a:pt x="231" y="244"/>
                  </a:cubicBezTo>
                  <a:cubicBezTo>
                    <a:pt x="238" y="236"/>
                    <a:pt x="245" y="228"/>
                    <a:pt x="252" y="220"/>
                  </a:cubicBezTo>
                  <a:cubicBezTo>
                    <a:pt x="264" y="206"/>
                    <a:pt x="276" y="193"/>
                    <a:pt x="288" y="180"/>
                  </a:cubicBezTo>
                  <a:cubicBezTo>
                    <a:pt x="269" y="123"/>
                    <a:pt x="289" y="62"/>
                    <a:pt x="338" y="26"/>
                  </a:cubicBezTo>
                  <a:cubicBezTo>
                    <a:pt x="362" y="8"/>
                    <a:pt x="390" y="0"/>
                    <a:pt x="426" y="0"/>
                  </a:cubicBezTo>
                  <a:cubicBezTo>
                    <a:pt x="428" y="0"/>
                    <a:pt x="431" y="0"/>
                    <a:pt x="434" y="0"/>
                  </a:cubicBezTo>
                  <a:cubicBezTo>
                    <a:pt x="438" y="1"/>
                    <a:pt x="442" y="2"/>
                    <a:pt x="445" y="3"/>
                  </a:cubicBezTo>
                  <a:cubicBezTo>
                    <a:pt x="446" y="3"/>
                    <a:pt x="446" y="4"/>
                    <a:pt x="447" y="4"/>
                  </a:cubicBezTo>
                  <a:cubicBezTo>
                    <a:pt x="470" y="12"/>
                    <a:pt x="470" y="12"/>
                    <a:pt x="470" y="12"/>
                  </a:cubicBezTo>
                  <a:cubicBezTo>
                    <a:pt x="451" y="34"/>
                    <a:pt x="451" y="34"/>
                    <a:pt x="451" y="34"/>
                  </a:cubicBezTo>
                  <a:cubicBezTo>
                    <a:pt x="448" y="37"/>
                    <a:pt x="445" y="41"/>
                    <a:pt x="442" y="44"/>
                  </a:cubicBezTo>
                  <a:cubicBezTo>
                    <a:pt x="429" y="59"/>
                    <a:pt x="429" y="59"/>
                    <a:pt x="429" y="59"/>
                  </a:cubicBezTo>
                  <a:cubicBezTo>
                    <a:pt x="419" y="71"/>
                    <a:pt x="408" y="83"/>
                    <a:pt x="397" y="96"/>
                  </a:cubicBezTo>
                  <a:cubicBezTo>
                    <a:pt x="400" y="105"/>
                    <a:pt x="403" y="114"/>
                    <a:pt x="406" y="123"/>
                  </a:cubicBezTo>
                  <a:cubicBezTo>
                    <a:pt x="409" y="130"/>
                    <a:pt x="411" y="137"/>
                    <a:pt x="414" y="144"/>
                  </a:cubicBezTo>
                  <a:cubicBezTo>
                    <a:pt x="422" y="146"/>
                    <a:pt x="430" y="148"/>
                    <a:pt x="438" y="149"/>
                  </a:cubicBezTo>
                  <a:cubicBezTo>
                    <a:pt x="447" y="151"/>
                    <a:pt x="455" y="153"/>
                    <a:pt x="464" y="155"/>
                  </a:cubicBezTo>
                  <a:cubicBezTo>
                    <a:pt x="477" y="139"/>
                    <a:pt x="491" y="124"/>
                    <a:pt x="504" y="109"/>
                  </a:cubicBezTo>
                  <a:cubicBezTo>
                    <a:pt x="516" y="95"/>
                    <a:pt x="516" y="95"/>
                    <a:pt x="516" y="95"/>
                  </a:cubicBezTo>
                  <a:cubicBezTo>
                    <a:pt x="518" y="94"/>
                    <a:pt x="519" y="92"/>
                    <a:pt x="520" y="91"/>
                  </a:cubicBezTo>
                  <a:cubicBezTo>
                    <a:pt x="541" y="68"/>
                    <a:pt x="541" y="68"/>
                    <a:pt x="541" y="68"/>
                  </a:cubicBezTo>
                  <a:cubicBezTo>
                    <a:pt x="549" y="94"/>
                    <a:pt x="549" y="94"/>
                    <a:pt x="549" y="94"/>
                  </a:cubicBezTo>
                  <a:cubicBezTo>
                    <a:pt x="550" y="96"/>
                    <a:pt x="550" y="97"/>
                    <a:pt x="551" y="98"/>
                  </a:cubicBezTo>
                  <a:cubicBezTo>
                    <a:pt x="552" y="102"/>
                    <a:pt x="554" y="106"/>
                    <a:pt x="554" y="111"/>
                  </a:cubicBezTo>
                  <a:cubicBezTo>
                    <a:pt x="554" y="114"/>
                    <a:pt x="555" y="117"/>
                    <a:pt x="555" y="120"/>
                  </a:cubicBezTo>
                  <a:cubicBezTo>
                    <a:pt x="556" y="130"/>
                    <a:pt x="557" y="142"/>
                    <a:pt x="556" y="153"/>
                  </a:cubicBezTo>
                  <a:cubicBezTo>
                    <a:pt x="554" y="181"/>
                    <a:pt x="543" y="206"/>
                    <a:pt x="525" y="227"/>
                  </a:cubicBezTo>
                  <a:cubicBezTo>
                    <a:pt x="496" y="259"/>
                    <a:pt x="461" y="276"/>
                    <a:pt x="419" y="276"/>
                  </a:cubicBezTo>
                  <a:cubicBezTo>
                    <a:pt x="413" y="276"/>
                    <a:pt x="407" y="276"/>
                    <a:pt x="400" y="275"/>
                  </a:cubicBezTo>
                  <a:cubicBezTo>
                    <a:pt x="382" y="295"/>
                    <a:pt x="364" y="316"/>
                    <a:pt x="346" y="336"/>
                  </a:cubicBezTo>
                  <a:cubicBezTo>
                    <a:pt x="287" y="403"/>
                    <a:pt x="287" y="403"/>
                    <a:pt x="287" y="403"/>
                  </a:cubicBezTo>
                  <a:cubicBezTo>
                    <a:pt x="253" y="442"/>
                    <a:pt x="219" y="481"/>
                    <a:pt x="185" y="520"/>
                  </a:cubicBezTo>
                  <a:cubicBezTo>
                    <a:pt x="170" y="536"/>
                    <a:pt x="156" y="553"/>
                    <a:pt x="141" y="569"/>
                  </a:cubicBezTo>
                  <a:cubicBezTo>
                    <a:pt x="135" y="576"/>
                    <a:pt x="135" y="576"/>
                    <a:pt x="135" y="576"/>
                  </a:cubicBezTo>
                  <a:cubicBezTo>
                    <a:pt x="135" y="576"/>
                    <a:pt x="135" y="576"/>
                    <a:pt x="135" y="576"/>
                  </a:cubicBezTo>
                  <a:cubicBezTo>
                    <a:pt x="117" y="594"/>
                    <a:pt x="98" y="598"/>
                    <a:pt x="86" y="598"/>
                  </a:cubicBez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ffectLst>
              <a:outerShdw blurRad="101600" dist="76200" dir="2700000" algn="tl" rotWithShape="0">
                <a:prstClr val="black">
                  <a:alpha val="29000"/>
                </a:prstClr>
              </a:outerShdw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45" name="Freeform 9">
              <a:extLst>
                <a:ext uri="{FF2B5EF4-FFF2-40B4-BE49-F238E27FC236}">
                  <a16:creationId xmlns:a16="http://schemas.microsoft.com/office/drawing/2014/main" xmlns="" id="{84B4EC6B-5CF4-49D9-9DB5-8DFF94C6055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2125" y="1413037"/>
              <a:ext cx="984246" cy="1060505"/>
            </a:xfrm>
            <a:custGeom>
              <a:avLst/>
              <a:gdLst>
                <a:gd name="T0" fmla="*/ 445 w 585"/>
                <a:gd name="T1" fmla="*/ 32 h 630"/>
                <a:gd name="T2" fmla="*/ 442 w 585"/>
                <a:gd name="T3" fmla="*/ 49 h 630"/>
                <a:gd name="T4" fmla="*/ 393 w 585"/>
                <a:gd name="T5" fmla="*/ 113 h 630"/>
                <a:gd name="T6" fmla="*/ 421 w 585"/>
                <a:gd name="T7" fmla="*/ 176 h 630"/>
                <a:gd name="T8" fmla="*/ 478 w 585"/>
                <a:gd name="T9" fmla="*/ 187 h 630"/>
                <a:gd name="T10" fmla="*/ 540 w 585"/>
                <a:gd name="T11" fmla="*/ 121 h 630"/>
                <a:gd name="T12" fmla="*/ 550 w 585"/>
                <a:gd name="T13" fmla="*/ 129 h 630"/>
                <a:gd name="T14" fmla="*/ 525 w 585"/>
                <a:gd name="T15" fmla="*/ 232 h 630"/>
                <a:gd name="T16" fmla="*/ 409 w 585"/>
                <a:gd name="T17" fmla="*/ 274 h 630"/>
                <a:gd name="T18" fmla="*/ 402 w 585"/>
                <a:gd name="T19" fmla="*/ 278 h 630"/>
                <a:gd name="T20" fmla="*/ 185 w 585"/>
                <a:gd name="T21" fmla="*/ 525 h 630"/>
                <a:gd name="T22" fmla="*/ 98 w 585"/>
                <a:gd name="T23" fmla="*/ 598 h 630"/>
                <a:gd name="T24" fmla="*/ 64 w 585"/>
                <a:gd name="T25" fmla="*/ 588 h 630"/>
                <a:gd name="T26" fmla="*/ 58 w 585"/>
                <a:gd name="T27" fmla="*/ 494 h 630"/>
                <a:gd name="T28" fmla="*/ 255 w 585"/>
                <a:gd name="T29" fmla="*/ 271 h 630"/>
                <a:gd name="T30" fmla="*/ 315 w 585"/>
                <a:gd name="T31" fmla="*/ 192 h 630"/>
                <a:gd name="T32" fmla="*/ 438 w 585"/>
                <a:gd name="T33" fmla="*/ 32 h 630"/>
                <a:gd name="T34" fmla="*/ 84 w 585"/>
                <a:gd name="T35" fmla="*/ 524 h 630"/>
                <a:gd name="T36" fmla="*/ 87 w 585"/>
                <a:gd name="T37" fmla="*/ 567 h 630"/>
                <a:gd name="T38" fmla="*/ 108 w 585"/>
                <a:gd name="T39" fmla="*/ 544 h 630"/>
                <a:gd name="T40" fmla="*/ 85 w 585"/>
                <a:gd name="T41" fmla="*/ 524 h 630"/>
                <a:gd name="T42" fmla="*/ 340 w 585"/>
                <a:gd name="T43" fmla="*/ 29 h 630"/>
                <a:gd name="T44" fmla="*/ 252 w 585"/>
                <a:gd name="T45" fmla="*/ 225 h 630"/>
                <a:gd name="T46" fmla="*/ 118 w 585"/>
                <a:gd name="T47" fmla="*/ 378 h 630"/>
                <a:gd name="T48" fmla="*/ 35 w 585"/>
                <a:gd name="T49" fmla="*/ 472 h 630"/>
                <a:gd name="T50" fmla="*/ 46 w 585"/>
                <a:gd name="T51" fmla="*/ 614 h 630"/>
                <a:gd name="T52" fmla="*/ 98 w 585"/>
                <a:gd name="T53" fmla="*/ 630 h 630"/>
                <a:gd name="T54" fmla="*/ 159 w 585"/>
                <a:gd name="T55" fmla="*/ 602 h 630"/>
                <a:gd name="T56" fmla="*/ 165 w 585"/>
                <a:gd name="T57" fmla="*/ 596 h 630"/>
                <a:gd name="T58" fmla="*/ 311 w 585"/>
                <a:gd name="T59" fmla="*/ 430 h 630"/>
                <a:gd name="T60" fmla="*/ 370 w 585"/>
                <a:gd name="T61" fmla="*/ 362 h 630"/>
                <a:gd name="T62" fmla="*/ 431 w 585"/>
                <a:gd name="T63" fmla="*/ 308 h 630"/>
                <a:gd name="T64" fmla="*/ 584 w 585"/>
                <a:gd name="T65" fmla="*/ 171 h 630"/>
                <a:gd name="T66" fmla="*/ 582 w 585"/>
                <a:gd name="T67" fmla="*/ 126 h 630"/>
                <a:gd name="T68" fmla="*/ 577 w 585"/>
                <a:gd name="T69" fmla="*/ 106 h 630"/>
                <a:gd name="T70" fmla="*/ 523 w 585"/>
                <a:gd name="T71" fmla="*/ 93 h 630"/>
                <a:gd name="T72" fmla="*/ 516 w 585"/>
                <a:gd name="T73" fmla="*/ 100 h 630"/>
                <a:gd name="T74" fmla="*/ 470 w 585"/>
                <a:gd name="T75" fmla="*/ 153 h 630"/>
                <a:gd name="T76" fmla="*/ 438 w 585"/>
                <a:gd name="T77" fmla="*/ 147 h 630"/>
                <a:gd name="T78" fmla="*/ 427 w 585"/>
                <a:gd name="T79" fmla="*/ 115 h 630"/>
                <a:gd name="T80" fmla="*/ 466 w 585"/>
                <a:gd name="T81" fmla="*/ 71 h 630"/>
                <a:gd name="T82" fmla="*/ 479 w 585"/>
                <a:gd name="T83" fmla="*/ 56 h 630"/>
                <a:gd name="T84" fmla="*/ 465 w 585"/>
                <a:gd name="T85" fmla="*/ 5 h 630"/>
                <a:gd name="T86" fmla="*/ 446 w 585"/>
                <a:gd name="T87" fmla="*/ 0 h 6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85" h="630">
                  <a:moveTo>
                    <a:pt x="438" y="32"/>
                  </a:moveTo>
                  <a:cubicBezTo>
                    <a:pt x="440" y="32"/>
                    <a:pt x="443" y="32"/>
                    <a:pt x="445" y="32"/>
                  </a:cubicBezTo>
                  <a:cubicBezTo>
                    <a:pt x="448" y="32"/>
                    <a:pt x="451" y="34"/>
                    <a:pt x="454" y="35"/>
                  </a:cubicBezTo>
                  <a:cubicBezTo>
                    <a:pt x="450" y="41"/>
                    <a:pt x="446" y="45"/>
                    <a:pt x="442" y="49"/>
                  </a:cubicBezTo>
                  <a:cubicBezTo>
                    <a:pt x="426" y="67"/>
                    <a:pt x="410" y="85"/>
                    <a:pt x="395" y="104"/>
                  </a:cubicBezTo>
                  <a:cubicBezTo>
                    <a:pt x="393" y="106"/>
                    <a:pt x="392" y="110"/>
                    <a:pt x="393" y="113"/>
                  </a:cubicBezTo>
                  <a:cubicBezTo>
                    <a:pt x="399" y="131"/>
                    <a:pt x="405" y="150"/>
                    <a:pt x="411" y="168"/>
                  </a:cubicBezTo>
                  <a:cubicBezTo>
                    <a:pt x="413" y="173"/>
                    <a:pt x="417" y="175"/>
                    <a:pt x="421" y="176"/>
                  </a:cubicBezTo>
                  <a:cubicBezTo>
                    <a:pt x="439" y="179"/>
                    <a:pt x="457" y="183"/>
                    <a:pt x="476" y="187"/>
                  </a:cubicBezTo>
                  <a:cubicBezTo>
                    <a:pt x="476" y="187"/>
                    <a:pt x="477" y="187"/>
                    <a:pt x="478" y="187"/>
                  </a:cubicBezTo>
                  <a:cubicBezTo>
                    <a:pt x="482" y="187"/>
                    <a:pt x="484" y="185"/>
                    <a:pt x="487" y="182"/>
                  </a:cubicBezTo>
                  <a:cubicBezTo>
                    <a:pt x="505" y="162"/>
                    <a:pt x="523" y="142"/>
                    <a:pt x="540" y="121"/>
                  </a:cubicBezTo>
                  <a:cubicBezTo>
                    <a:pt x="542" y="120"/>
                    <a:pt x="543" y="118"/>
                    <a:pt x="546" y="115"/>
                  </a:cubicBezTo>
                  <a:cubicBezTo>
                    <a:pt x="548" y="120"/>
                    <a:pt x="550" y="124"/>
                    <a:pt x="550" y="129"/>
                  </a:cubicBezTo>
                  <a:cubicBezTo>
                    <a:pt x="551" y="142"/>
                    <a:pt x="553" y="155"/>
                    <a:pt x="552" y="168"/>
                  </a:cubicBezTo>
                  <a:cubicBezTo>
                    <a:pt x="550" y="192"/>
                    <a:pt x="541" y="214"/>
                    <a:pt x="525" y="232"/>
                  </a:cubicBezTo>
                  <a:cubicBezTo>
                    <a:pt x="499" y="262"/>
                    <a:pt x="468" y="276"/>
                    <a:pt x="431" y="276"/>
                  </a:cubicBezTo>
                  <a:cubicBezTo>
                    <a:pt x="424" y="276"/>
                    <a:pt x="417" y="275"/>
                    <a:pt x="409" y="274"/>
                  </a:cubicBezTo>
                  <a:cubicBezTo>
                    <a:pt x="409" y="274"/>
                    <a:pt x="409" y="274"/>
                    <a:pt x="409" y="274"/>
                  </a:cubicBezTo>
                  <a:cubicBezTo>
                    <a:pt x="407" y="274"/>
                    <a:pt x="404" y="276"/>
                    <a:pt x="402" y="278"/>
                  </a:cubicBezTo>
                  <a:cubicBezTo>
                    <a:pt x="379" y="304"/>
                    <a:pt x="356" y="330"/>
                    <a:pt x="333" y="356"/>
                  </a:cubicBezTo>
                  <a:cubicBezTo>
                    <a:pt x="284" y="413"/>
                    <a:pt x="234" y="469"/>
                    <a:pt x="185" y="525"/>
                  </a:cubicBezTo>
                  <a:cubicBezTo>
                    <a:pt x="169" y="544"/>
                    <a:pt x="152" y="562"/>
                    <a:pt x="136" y="581"/>
                  </a:cubicBezTo>
                  <a:cubicBezTo>
                    <a:pt x="122" y="594"/>
                    <a:pt x="108" y="598"/>
                    <a:pt x="98" y="598"/>
                  </a:cubicBezTo>
                  <a:cubicBezTo>
                    <a:pt x="86" y="598"/>
                    <a:pt x="78" y="594"/>
                    <a:pt x="78" y="594"/>
                  </a:cubicBezTo>
                  <a:cubicBezTo>
                    <a:pt x="74" y="592"/>
                    <a:pt x="68" y="590"/>
                    <a:pt x="64" y="588"/>
                  </a:cubicBezTo>
                  <a:cubicBezTo>
                    <a:pt x="50" y="579"/>
                    <a:pt x="39" y="567"/>
                    <a:pt x="37" y="555"/>
                  </a:cubicBezTo>
                  <a:cubicBezTo>
                    <a:pt x="37" y="555"/>
                    <a:pt x="25" y="525"/>
                    <a:pt x="58" y="494"/>
                  </a:cubicBezTo>
                  <a:cubicBezTo>
                    <a:pt x="86" y="463"/>
                    <a:pt x="114" y="431"/>
                    <a:pt x="142" y="399"/>
                  </a:cubicBezTo>
                  <a:cubicBezTo>
                    <a:pt x="180" y="356"/>
                    <a:pt x="218" y="313"/>
                    <a:pt x="255" y="271"/>
                  </a:cubicBezTo>
                  <a:cubicBezTo>
                    <a:pt x="274" y="249"/>
                    <a:pt x="294" y="227"/>
                    <a:pt x="313" y="205"/>
                  </a:cubicBezTo>
                  <a:cubicBezTo>
                    <a:pt x="317" y="201"/>
                    <a:pt x="317" y="197"/>
                    <a:pt x="315" y="192"/>
                  </a:cubicBezTo>
                  <a:cubicBezTo>
                    <a:pt x="298" y="142"/>
                    <a:pt x="317" y="86"/>
                    <a:pt x="359" y="55"/>
                  </a:cubicBezTo>
                  <a:cubicBezTo>
                    <a:pt x="383" y="38"/>
                    <a:pt x="410" y="32"/>
                    <a:pt x="438" y="32"/>
                  </a:cubicBezTo>
                  <a:moveTo>
                    <a:pt x="85" y="524"/>
                  </a:moveTo>
                  <a:cubicBezTo>
                    <a:pt x="84" y="524"/>
                    <a:pt x="84" y="524"/>
                    <a:pt x="84" y="524"/>
                  </a:cubicBezTo>
                  <a:cubicBezTo>
                    <a:pt x="72" y="524"/>
                    <a:pt x="64" y="537"/>
                    <a:pt x="65" y="547"/>
                  </a:cubicBezTo>
                  <a:cubicBezTo>
                    <a:pt x="66" y="558"/>
                    <a:pt x="76" y="567"/>
                    <a:pt x="87" y="567"/>
                  </a:cubicBezTo>
                  <a:cubicBezTo>
                    <a:pt x="87" y="567"/>
                    <a:pt x="88" y="567"/>
                    <a:pt x="88" y="567"/>
                  </a:cubicBezTo>
                  <a:cubicBezTo>
                    <a:pt x="100" y="566"/>
                    <a:pt x="109" y="556"/>
                    <a:pt x="108" y="544"/>
                  </a:cubicBezTo>
                  <a:cubicBezTo>
                    <a:pt x="108" y="535"/>
                    <a:pt x="98" y="524"/>
                    <a:pt x="88" y="524"/>
                  </a:cubicBezTo>
                  <a:cubicBezTo>
                    <a:pt x="87" y="524"/>
                    <a:pt x="86" y="524"/>
                    <a:pt x="85" y="524"/>
                  </a:cubicBezTo>
                  <a:moveTo>
                    <a:pt x="438" y="0"/>
                  </a:moveTo>
                  <a:cubicBezTo>
                    <a:pt x="399" y="0"/>
                    <a:pt x="367" y="10"/>
                    <a:pt x="340" y="29"/>
                  </a:cubicBezTo>
                  <a:cubicBezTo>
                    <a:pt x="289" y="67"/>
                    <a:pt x="266" y="131"/>
                    <a:pt x="282" y="192"/>
                  </a:cubicBezTo>
                  <a:cubicBezTo>
                    <a:pt x="272" y="203"/>
                    <a:pt x="262" y="214"/>
                    <a:pt x="252" y="225"/>
                  </a:cubicBezTo>
                  <a:cubicBezTo>
                    <a:pt x="245" y="233"/>
                    <a:pt x="238" y="242"/>
                    <a:pt x="231" y="250"/>
                  </a:cubicBezTo>
                  <a:cubicBezTo>
                    <a:pt x="194" y="292"/>
                    <a:pt x="156" y="335"/>
                    <a:pt x="118" y="378"/>
                  </a:cubicBezTo>
                  <a:cubicBezTo>
                    <a:pt x="111" y="386"/>
                    <a:pt x="104" y="394"/>
                    <a:pt x="97" y="402"/>
                  </a:cubicBezTo>
                  <a:cubicBezTo>
                    <a:pt x="77" y="425"/>
                    <a:pt x="56" y="449"/>
                    <a:pt x="35" y="472"/>
                  </a:cubicBezTo>
                  <a:cubicBezTo>
                    <a:pt x="0" y="505"/>
                    <a:pt x="0" y="544"/>
                    <a:pt x="6" y="563"/>
                  </a:cubicBezTo>
                  <a:cubicBezTo>
                    <a:pt x="11" y="588"/>
                    <a:pt x="33" y="606"/>
                    <a:pt x="46" y="614"/>
                  </a:cubicBezTo>
                  <a:cubicBezTo>
                    <a:pt x="52" y="618"/>
                    <a:pt x="59" y="621"/>
                    <a:pt x="67" y="624"/>
                  </a:cubicBezTo>
                  <a:cubicBezTo>
                    <a:pt x="72" y="626"/>
                    <a:pt x="83" y="630"/>
                    <a:pt x="98" y="630"/>
                  </a:cubicBezTo>
                  <a:cubicBezTo>
                    <a:pt x="113" y="630"/>
                    <a:pt x="137" y="625"/>
                    <a:pt x="159" y="603"/>
                  </a:cubicBezTo>
                  <a:cubicBezTo>
                    <a:pt x="159" y="602"/>
                    <a:pt x="159" y="602"/>
                    <a:pt x="159" y="602"/>
                  </a:cubicBezTo>
                  <a:cubicBezTo>
                    <a:pt x="160" y="602"/>
                    <a:pt x="160" y="602"/>
                    <a:pt x="160" y="602"/>
                  </a:cubicBezTo>
                  <a:cubicBezTo>
                    <a:pt x="165" y="596"/>
                    <a:pt x="165" y="596"/>
                    <a:pt x="165" y="596"/>
                  </a:cubicBezTo>
                  <a:cubicBezTo>
                    <a:pt x="179" y="580"/>
                    <a:pt x="194" y="563"/>
                    <a:pt x="209" y="546"/>
                  </a:cubicBezTo>
                  <a:cubicBezTo>
                    <a:pt x="243" y="507"/>
                    <a:pt x="277" y="469"/>
                    <a:pt x="311" y="430"/>
                  </a:cubicBezTo>
                  <a:cubicBezTo>
                    <a:pt x="357" y="378"/>
                    <a:pt x="357" y="378"/>
                    <a:pt x="357" y="378"/>
                  </a:cubicBezTo>
                  <a:cubicBezTo>
                    <a:pt x="370" y="362"/>
                    <a:pt x="370" y="362"/>
                    <a:pt x="370" y="362"/>
                  </a:cubicBezTo>
                  <a:cubicBezTo>
                    <a:pt x="386" y="344"/>
                    <a:pt x="402" y="326"/>
                    <a:pt x="419" y="307"/>
                  </a:cubicBezTo>
                  <a:cubicBezTo>
                    <a:pt x="423" y="308"/>
                    <a:pt x="427" y="308"/>
                    <a:pt x="431" y="308"/>
                  </a:cubicBezTo>
                  <a:cubicBezTo>
                    <a:pt x="478" y="308"/>
                    <a:pt x="517" y="290"/>
                    <a:pt x="549" y="253"/>
                  </a:cubicBezTo>
                  <a:cubicBezTo>
                    <a:pt x="569" y="230"/>
                    <a:pt x="581" y="202"/>
                    <a:pt x="584" y="171"/>
                  </a:cubicBezTo>
                  <a:cubicBezTo>
                    <a:pt x="585" y="158"/>
                    <a:pt x="584" y="145"/>
                    <a:pt x="583" y="134"/>
                  </a:cubicBezTo>
                  <a:cubicBezTo>
                    <a:pt x="583" y="131"/>
                    <a:pt x="582" y="128"/>
                    <a:pt x="582" y="126"/>
                  </a:cubicBezTo>
                  <a:cubicBezTo>
                    <a:pt x="581" y="119"/>
                    <a:pt x="579" y="113"/>
                    <a:pt x="578" y="109"/>
                  </a:cubicBezTo>
                  <a:cubicBezTo>
                    <a:pt x="577" y="108"/>
                    <a:pt x="577" y="107"/>
                    <a:pt x="577" y="106"/>
                  </a:cubicBezTo>
                  <a:cubicBezTo>
                    <a:pt x="560" y="53"/>
                    <a:pt x="560" y="53"/>
                    <a:pt x="560" y="53"/>
                  </a:cubicBezTo>
                  <a:cubicBezTo>
                    <a:pt x="523" y="93"/>
                    <a:pt x="523" y="93"/>
                    <a:pt x="523" y="93"/>
                  </a:cubicBezTo>
                  <a:cubicBezTo>
                    <a:pt x="521" y="96"/>
                    <a:pt x="521" y="96"/>
                    <a:pt x="521" y="96"/>
                  </a:cubicBezTo>
                  <a:cubicBezTo>
                    <a:pt x="519" y="98"/>
                    <a:pt x="518" y="99"/>
                    <a:pt x="516" y="100"/>
                  </a:cubicBezTo>
                  <a:cubicBezTo>
                    <a:pt x="512" y="105"/>
                    <a:pt x="508" y="110"/>
                    <a:pt x="504" y="114"/>
                  </a:cubicBezTo>
                  <a:cubicBezTo>
                    <a:pt x="493" y="127"/>
                    <a:pt x="481" y="140"/>
                    <a:pt x="470" y="153"/>
                  </a:cubicBezTo>
                  <a:cubicBezTo>
                    <a:pt x="465" y="152"/>
                    <a:pt x="459" y="151"/>
                    <a:pt x="453" y="150"/>
                  </a:cubicBezTo>
                  <a:cubicBezTo>
                    <a:pt x="448" y="149"/>
                    <a:pt x="443" y="148"/>
                    <a:pt x="438" y="147"/>
                  </a:cubicBezTo>
                  <a:cubicBezTo>
                    <a:pt x="436" y="142"/>
                    <a:pt x="435" y="138"/>
                    <a:pt x="433" y="134"/>
                  </a:cubicBezTo>
                  <a:cubicBezTo>
                    <a:pt x="431" y="128"/>
                    <a:pt x="429" y="121"/>
                    <a:pt x="427" y="115"/>
                  </a:cubicBezTo>
                  <a:cubicBezTo>
                    <a:pt x="436" y="105"/>
                    <a:pt x="445" y="95"/>
                    <a:pt x="453" y="85"/>
                  </a:cubicBezTo>
                  <a:cubicBezTo>
                    <a:pt x="458" y="80"/>
                    <a:pt x="462" y="75"/>
                    <a:pt x="466" y="71"/>
                  </a:cubicBezTo>
                  <a:cubicBezTo>
                    <a:pt x="469" y="67"/>
                    <a:pt x="472" y="64"/>
                    <a:pt x="475" y="60"/>
                  </a:cubicBezTo>
                  <a:cubicBezTo>
                    <a:pt x="479" y="56"/>
                    <a:pt x="479" y="56"/>
                    <a:pt x="479" y="56"/>
                  </a:cubicBezTo>
                  <a:cubicBezTo>
                    <a:pt x="509" y="20"/>
                    <a:pt x="509" y="20"/>
                    <a:pt x="509" y="20"/>
                  </a:cubicBezTo>
                  <a:cubicBezTo>
                    <a:pt x="465" y="5"/>
                    <a:pt x="465" y="5"/>
                    <a:pt x="465" y="5"/>
                  </a:cubicBezTo>
                  <a:cubicBezTo>
                    <a:pt x="464" y="5"/>
                    <a:pt x="463" y="5"/>
                    <a:pt x="463" y="4"/>
                  </a:cubicBezTo>
                  <a:cubicBezTo>
                    <a:pt x="459" y="3"/>
                    <a:pt x="454" y="1"/>
                    <a:pt x="446" y="0"/>
                  </a:cubicBezTo>
                  <a:cubicBezTo>
                    <a:pt x="443" y="0"/>
                    <a:pt x="441" y="0"/>
                    <a:pt x="438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grpSp>
        <p:nvGrpSpPr>
          <p:cNvPr id="246" name="Group 81">
            <a:extLst>
              <a:ext uri="{FF2B5EF4-FFF2-40B4-BE49-F238E27FC236}">
                <a16:creationId xmlns:a16="http://schemas.microsoft.com/office/drawing/2014/main" xmlns="" id="{773A5841-69EA-4D2F-A737-4588AEF977D1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669695" y="436289"/>
            <a:ext cx="520917" cy="366742"/>
            <a:chOff x="1863" y="1444"/>
            <a:chExt cx="2034" cy="1432"/>
          </a:xfrm>
          <a:effectLst>
            <a:outerShdw blurRad="101600" dist="76200" dir="2700000" algn="ctr" rotWithShape="0">
              <a:srgbClr val="000000">
                <a:alpha val="29000"/>
              </a:srgbClr>
            </a:outerShdw>
          </a:effectLst>
        </p:grpSpPr>
        <p:sp>
          <p:nvSpPr>
            <p:cNvPr id="247" name="AutoShape 80">
              <a:extLst>
                <a:ext uri="{FF2B5EF4-FFF2-40B4-BE49-F238E27FC236}">
                  <a16:creationId xmlns:a16="http://schemas.microsoft.com/office/drawing/2014/main" xmlns="" id="{21435813-2C35-4399-AD27-6DCAB71A32A9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863" y="1444"/>
              <a:ext cx="2034" cy="14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48" name="Freeform 83">
              <a:extLst>
                <a:ext uri="{FF2B5EF4-FFF2-40B4-BE49-F238E27FC236}">
                  <a16:creationId xmlns:a16="http://schemas.microsoft.com/office/drawing/2014/main" xmlns="" id="{86703AFE-2A5D-4D0A-A6A9-E9653E6A1B9E}"/>
                </a:ext>
              </a:extLst>
            </p:cNvPr>
            <p:cNvSpPr>
              <a:spLocks/>
            </p:cNvSpPr>
            <p:nvPr/>
          </p:nvSpPr>
          <p:spPr bwMode="auto">
            <a:xfrm>
              <a:off x="1903" y="1456"/>
              <a:ext cx="1918" cy="1358"/>
            </a:xfrm>
            <a:custGeom>
              <a:avLst/>
              <a:gdLst>
                <a:gd name="T0" fmla="*/ 812 w 812"/>
                <a:gd name="T1" fmla="*/ 54 h 575"/>
                <a:gd name="T2" fmla="*/ 812 w 812"/>
                <a:gd name="T3" fmla="*/ 32 h 575"/>
                <a:gd name="T4" fmla="*/ 791 w 812"/>
                <a:gd name="T5" fmla="*/ 26 h 575"/>
                <a:gd name="T6" fmla="*/ 656 w 812"/>
                <a:gd name="T7" fmla="*/ 26 h 575"/>
                <a:gd name="T8" fmla="*/ 622 w 812"/>
                <a:gd name="T9" fmla="*/ 66 h 575"/>
                <a:gd name="T10" fmla="*/ 619 w 812"/>
                <a:gd name="T11" fmla="*/ 73 h 575"/>
                <a:gd name="T12" fmla="*/ 617 w 812"/>
                <a:gd name="T13" fmla="*/ 77 h 575"/>
                <a:gd name="T14" fmla="*/ 616 w 812"/>
                <a:gd name="T15" fmla="*/ 77 h 575"/>
                <a:gd name="T16" fmla="*/ 76 w 812"/>
                <a:gd name="T17" fmla="*/ 77 h 575"/>
                <a:gd name="T18" fmla="*/ 72 w 812"/>
                <a:gd name="T19" fmla="*/ 77 h 575"/>
                <a:gd name="T20" fmla="*/ 60 w 812"/>
                <a:gd name="T21" fmla="*/ 77 h 575"/>
                <a:gd name="T22" fmla="*/ 9 w 812"/>
                <a:gd name="T23" fmla="*/ 107 h 575"/>
                <a:gd name="T24" fmla="*/ 12 w 812"/>
                <a:gd name="T25" fmla="*/ 165 h 575"/>
                <a:gd name="T26" fmla="*/ 69 w 812"/>
                <a:gd name="T27" fmla="*/ 260 h 575"/>
                <a:gd name="T28" fmla="*/ 90 w 812"/>
                <a:gd name="T29" fmla="*/ 296 h 575"/>
                <a:gd name="T30" fmla="*/ 99 w 812"/>
                <a:gd name="T31" fmla="*/ 311 h 575"/>
                <a:gd name="T32" fmla="*/ 117 w 812"/>
                <a:gd name="T33" fmla="*/ 342 h 575"/>
                <a:gd name="T34" fmla="*/ 185 w 812"/>
                <a:gd name="T35" fmla="*/ 381 h 575"/>
                <a:gd name="T36" fmla="*/ 185 w 812"/>
                <a:gd name="T37" fmla="*/ 381 h 575"/>
                <a:gd name="T38" fmla="*/ 425 w 812"/>
                <a:gd name="T39" fmla="*/ 381 h 575"/>
                <a:gd name="T40" fmla="*/ 479 w 812"/>
                <a:gd name="T41" fmla="*/ 381 h 575"/>
                <a:gd name="T42" fmla="*/ 475 w 812"/>
                <a:gd name="T43" fmla="*/ 390 h 575"/>
                <a:gd name="T44" fmla="*/ 418 w 812"/>
                <a:gd name="T45" fmla="*/ 427 h 575"/>
                <a:gd name="T46" fmla="*/ 345 w 812"/>
                <a:gd name="T47" fmla="*/ 427 h 575"/>
                <a:gd name="T48" fmla="*/ 273 w 812"/>
                <a:gd name="T49" fmla="*/ 427 h 575"/>
                <a:gd name="T50" fmla="*/ 176 w 812"/>
                <a:gd name="T51" fmla="*/ 392 h 575"/>
                <a:gd name="T52" fmla="*/ 111 w 812"/>
                <a:gd name="T53" fmla="*/ 478 h 575"/>
                <a:gd name="T54" fmla="*/ 176 w 812"/>
                <a:gd name="T55" fmla="*/ 564 h 575"/>
                <a:gd name="T56" fmla="*/ 273 w 812"/>
                <a:gd name="T57" fmla="*/ 529 h 575"/>
                <a:gd name="T58" fmla="*/ 419 w 812"/>
                <a:gd name="T59" fmla="*/ 529 h 575"/>
                <a:gd name="T60" fmla="*/ 472 w 812"/>
                <a:gd name="T61" fmla="*/ 565 h 575"/>
                <a:gd name="T62" fmla="*/ 491 w 812"/>
                <a:gd name="T63" fmla="*/ 568 h 575"/>
                <a:gd name="T64" fmla="*/ 540 w 812"/>
                <a:gd name="T65" fmla="*/ 553 h 575"/>
                <a:gd name="T66" fmla="*/ 579 w 812"/>
                <a:gd name="T67" fmla="*/ 495 h 575"/>
                <a:gd name="T68" fmla="*/ 567 w 812"/>
                <a:gd name="T69" fmla="*/ 432 h 575"/>
                <a:gd name="T70" fmla="*/ 709 w 812"/>
                <a:gd name="T71" fmla="*/ 121 h 575"/>
                <a:gd name="T72" fmla="*/ 741 w 812"/>
                <a:gd name="T73" fmla="*/ 121 h 575"/>
                <a:gd name="T74" fmla="*/ 749 w 812"/>
                <a:gd name="T75" fmla="*/ 121 h 575"/>
                <a:gd name="T76" fmla="*/ 797 w 812"/>
                <a:gd name="T77" fmla="*/ 96 h 575"/>
                <a:gd name="T78" fmla="*/ 799 w 812"/>
                <a:gd name="T79" fmla="*/ 93 h 575"/>
                <a:gd name="T80" fmla="*/ 801 w 812"/>
                <a:gd name="T81" fmla="*/ 91 h 575"/>
                <a:gd name="T82" fmla="*/ 812 w 812"/>
                <a:gd name="T83" fmla="*/ 54 h 5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812" h="575">
                  <a:moveTo>
                    <a:pt x="812" y="54"/>
                  </a:moveTo>
                  <a:cubicBezTo>
                    <a:pt x="812" y="32"/>
                    <a:pt x="812" y="32"/>
                    <a:pt x="812" y="32"/>
                  </a:cubicBezTo>
                  <a:cubicBezTo>
                    <a:pt x="791" y="26"/>
                    <a:pt x="791" y="26"/>
                    <a:pt x="791" y="26"/>
                  </a:cubicBezTo>
                  <a:cubicBezTo>
                    <a:pt x="782" y="23"/>
                    <a:pt x="704" y="0"/>
                    <a:pt x="656" y="26"/>
                  </a:cubicBezTo>
                  <a:cubicBezTo>
                    <a:pt x="640" y="35"/>
                    <a:pt x="628" y="48"/>
                    <a:pt x="622" y="66"/>
                  </a:cubicBezTo>
                  <a:cubicBezTo>
                    <a:pt x="621" y="68"/>
                    <a:pt x="620" y="70"/>
                    <a:pt x="619" y="73"/>
                  </a:cubicBezTo>
                  <a:cubicBezTo>
                    <a:pt x="618" y="74"/>
                    <a:pt x="618" y="76"/>
                    <a:pt x="617" y="77"/>
                  </a:cubicBezTo>
                  <a:cubicBezTo>
                    <a:pt x="616" y="77"/>
                    <a:pt x="616" y="77"/>
                    <a:pt x="616" y="77"/>
                  </a:cubicBezTo>
                  <a:cubicBezTo>
                    <a:pt x="76" y="77"/>
                    <a:pt x="76" y="77"/>
                    <a:pt x="76" y="77"/>
                  </a:cubicBezTo>
                  <a:cubicBezTo>
                    <a:pt x="72" y="77"/>
                    <a:pt x="72" y="77"/>
                    <a:pt x="72" y="77"/>
                  </a:cubicBezTo>
                  <a:cubicBezTo>
                    <a:pt x="69" y="77"/>
                    <a:pt x="64" y="77"/>
                    <a:pt x="60" y="77"/>
                  </a:cubicBezTo>
                  <a:cubicBezTo>
                    <a:pt x="37" y="79"/>
                    <a:pt x="19" y="89"/>
                    <a:pt x="9" y="107"/>
                  </a:cubicBezTo>
                  <a:cubicBezTo>
                    <a:pt x="0" y="124"/>
                    <a:pt x="1" y="145"/>
                    <a:pt x="12" y="165"/>
                  </a:cubicBezTo>
                  <a:cubicBezTo>
                    <a:pt x="31" y="197"/>
                    <a:pt x="50" y="228"/>
                    <a:pt x="69" y="260"/>
                  </a:cubicBezTo>
                  <a:cubicBezTo>
                    <a:pt x="90" y="296"/>
                    <a:pt x="90" y="296"/>
                    <a:pt x="90" y="296"/>
                  </a:cubicBezTo>
                  <a:cubicBezTo>
                    <a:pt x="93" y="301"/>
                    <a:pt x="96" y="306"/>
                    <a:pt x="99" y="311"/>
                  </a:cubicBezTo>
                  <a:cubicBezTo>
                    <a:pt x="105" y="321"/>
                    <a:pt x="111" y="331"/>
                    <a:pt x="117" y="342"/>
                  </a:cubicBezTo>
                  <a:cubicBezTo>
                    <a:pt x="131" y="367"/>
                    <a:pt x="155" y="381"/>
                    <a:pt x="185" y="381"/>
                  </a:cubicBezTo>
                  <a:cubicBezTo>
                    <a:pt x="185" y="381"/>
                    <a:pt x="185" y="381"/>
                    <a:pt x="185" y="381"/>
                  </a:cubicBezTo>
                  <a:cubicBezTo>
                    <a:pt x="265" y="381"/>
                    <a:pt x="346" y="381"/>
                    <a:pt x="425" y="381"/>
                  </a:cubicBezTo>
                  <a:cubicBezTo>
                    <a:pt x="443" y="381"/>
                    <a:pt x="461" y="381"/>
                    <a:pt x="479" y="381"/>
                  </a:cubicBezTo>
                  <a:cubicBezTo>
                    <a:pt x="478" y="384"/>
                    <a:pt x="476" y="387"/>
                    <a:pt x="475" y="390"/>
                  </a:cubicBezTo>
                  <a:cubicBezTo>
                    <a:pt x="452" y="395"/>
                    <a:pt x="433" y="407"/>
                    <a:pt x="418" y="427"/>
                  </a:cubicBezTo>
                  <a:cubicBezTo>
                    <a:pt x="394" y="427"/>
                    <a:pt x="369" y="427"/>
                    <a:pt x="345" y="427"/>
                  </a:cubicBezTo>
                  <a:cubicBezTo>
                    <a:pt x="322" y="427"/>
                    <a:pt x="298" y="427"/>
                    <a:pt x="273" y="427"/>
                  </a:cubicBezTo>
                  <a:cubicBezTo>
                    <a:pt x="252" y="396"/>
                    <a:pt x="213" y="381"/>
                    <a:pt x="176" y="392"/>
                  </a:cubicBezTo>
                  <a:cubicBezTo>
                    <a:pt x="137" y="403"/>
                    <a:pt x="111" y="438"/>
                    <a:pt x="111" y="478"/>
                  </a:cubicBezTo>
                  <a:cubicBezTo>
                    <a:pt x="111" y="518"/>
                    <a:pt x="137" y="553"/>
                    <a:pt x="176" y="564"/>
                  </a:cubicBezTo>
                  <a:cubicBezTo>
                    <a:pt x="212" y="575"/>
                    <a:pt x="252" y="560"/>
                    <a:pt x="273" y="529"/>
                  </a:cubicBezTo>
                  <a:cubicBezTo>
                    <a:pt x="320" y="529"/>
                    <a:pt x="368" y="529"/>
                    <a:pt x="419" y="529"/>
                  </a:cubicBezTo>
                  <a:cubicBezTo>
                    <a:pt x="432" y="548"/>
                    <a:pt x="450" y="561"/>
                    <a:pt x="472" y="565"/>
                  </a:cubicBezTo>
                  <a:cubicBezTo>
                    <a:pt x="478" y="567"/>
                    <a:pt x="485" y="568"/>
                    <a:pt x="491" y="568"/>
                  </a:cubicBezTo>
                  <a:cubicBezTo>
                    <a:pt x="508" y="568"/>
                    <a:pt x="525" y="562"/>
                    <a:pt x="540" y="553"/>
                  </a:cubicBezTo>
                  <a:cubicBezTo>
                    <a:pt x="561" y="539"/>
                    <a:pt x="575" y="518"/>
                    <a:pt x="579" y="495"/>
                  </a:cubicBezTo>
                  <a:cubicBezTo>
                    <a:pt x="583" y="473"/>
                    <a:pt x="579" y="451"/>
                    <a:pt x="567" y="432"/>
                  </a:cubicBezTo>
                  <a:cubicBezTo>
                    <a:pt x="622" y="312"/>
                    <a:pt x="667" y="213"/>
                    <a:pt x="709" y="121"/>
                  </a:cubicBezTo>
                  <a:cubicBezTo>
                    <a:pt x="720" y="122"/>
                    <a:pt x="730" y="122"/>
                    <a:pt x="741" y="121"/>
                  </a:cubicBezTo>
                  <a:cubicBezTo>
                    <a:pt x="749" y="121"/>
                    <a:pt x="749" y="121"/>
                    <a:pt x="749" y="121"/>
                  </a:cubicBezTo>
                  <a:cubicBezTo>
                    <a:pt x="778" y="121"/>
                    <a:pt x="790" y="104"/>
                    <a:pt x="797" y="96"/>
                  </a:cubicBezTo>
                  <a:cubicBezTo>
                    <a:pt x="797" y="95"/>
                    <a:pt x="798" y="93"/>
                    <a:pt x="799" y="93"/>
                  </a:cubicBezTo>
                  <a:cubicBezTo>
                    <a:pt x="801" y="91"/>
                    <a:pt x="801" y="91"/>
                    <a:pt x="801" y="91"/>
                  </a:cubicBezTo>
                  <a:cubicBezTo>
                    <a:pt x="812" y="76"/>
                    <a:pt x="812" y="59"/>
                    <a:pt x="812" y="5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49" name="Freeform 84">
              <a:extLst>
                <a:ext uri="{FF2B5EF4-FFF2-40B4-BE49-F238E27FC236}">
                  <a16:creationId xmlns:a16="http://schemas.microsoft.com/office/drawing/2014/main" xmlns="" id="{8C86CD48-3616-4BC7-9563-0B275BC8FF6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65" y="1498"/>
              <a:ext cx="1788" cy="1246"/>
            </a:xfrm>
            <a:custGeom>
              <a:avLst/>
              <a:gdLst>
                <a:gd name="T0" fmla="*/ 723 w 757"/>
                <a:gd name="T1" fmla="*/ 72 h 527"/>
                <a:gd name="T2" fmla="*/ 658 w 757"/>
                <a:gd name="T3" fmla="*/ 85 h 527"/>
                <a:gd name="T4" fmla="*/ 512 w 757"/>
                <a:gd name="T5" fmla="*/ 424 h 527"/>
                <a:gd name="T6" fmla="*/ 415 w 757"/>
                <a:gd name="T7" fmla="*/ 489 h 527"/>
                <a:gd name="T8" fmla="*/ 243 w 757"/>
                <a:gd name="T9" fmla="*/ 480 h 527"/>
                <a:gd name="T10" fmla="*/ 158 w 757"/>
                <a:gd name="T11" fmla="*/ 516 h 527"/>
                <a:gd name="T12" fmla="*/ 158 w 757"/>
                <a:gd name="T13" fmla="*/ 402 h 527"/>
                <a:gd name="T14" fmla="*/ 243 w 757"/>
                <a:gd name="T15" fmla="*/ 439 h 527"/>
                <a:gd name="T16" fmla="*/ 413 w 757"/>
                <a:gd name="T17" fmla="*/ 430 h 527"/>
                <a:gd name="T18" fmla="*/ 470 w 757"/>
                <a:gd name="T19" fmla="*/ 395 h 527"/>
                <a:gd name="T20" fmla="*/ 482 w 757"/>
                <a:gd name="T21" fmla="*/ 332 h 527"/>
                <a:gd name="T22" fmla="*/ 117 w 757"/>
                <a:gd name="T23" fmla="*/ 308 h 527"/>
                <a:gd name="T24" fmla="*/ 12 w 757"/>
                <a:gd name="T25" fmla="*/ 131 h 527"/>
                <a:gd name="T26" fmla="*/ 50 w 757"/>
                <a:gd name="T27" fmla="*/ 88 h 527"/>
                <a:gd name="T28" fmla="*/ 603 w 757"/>
                <a:gd name="T29" fmla="*/ 88 h 527"/>
                <a:gd name="T30" fmla="*/ 624 w 757"/>
                <a:gd name="T31" fmla="*/ 58 h 527"/>
                <a:gd name="T32" fmla="*/ 751 w 757"/>
                <a:gd name="T33" fmla="*/ 53 h 527"/>
                <a:gd name="T34" fmla="*/ 314 w 757"/>
                <a:gd name="T35" fmla="*/ 191 h 527"/>
                <a:gd name="T36" fmla="*/ 193 w 757"/>
                <a:gd name="T37" fmla="*/ 132 h 527"/>
                <a:gd name="T38" fmla="*/ 439 w 757"/>
                <a:gd name="T39" fmla="*/ 187 h 527"/>
                <a:gd name="T40" fmla="*/ 351 w 757"/>
                <a:gd name="T41" fmla="*/ 132 h 527"/>
                <a:gd name="T42" fmla="*/ 439 w 757"/>
                <a:gd name="T43" fmla="*/ 187 h 527"/>
                <a:gd name="T44" fmla="*/ 60 w 757"/>
                <a:gd name="T45" fmla="*/ 131 h 527"/>
                <a:gd name="T46" fmla="*/ 99 w 757"/>
                <a:gd name="T47" fmla="*/ 192 h 527"/>
                <a:gd name="T48" fmla="*/ 141 w 757"/>
                <a:gd name="T49" fmla="*/ 131 h 527"/>
                <a:gd name="T50" fmla="*/ 516 w 757"/>
                <a:gd name="T51" fmla="*/ 131 h 527"/>
                <a:gd name="T52" fmla="*/ 558 w 757"/>
                <a:gd name="T53" fmla="*/ 192 h 527"/>
                <a:gd name="T54" fmla="*/ 461 w 757"/>
                <a:gd name="T55" fmla="*/ 235 h 527"/>
                <a:gd name="T56" fmla="*/ 519 w 757"/>
                <a:gd name="T57" fmla="*/ 290 h 527"/>
                <a:gd name="T58" fmla="*/ 461 w 757"/>
                <a:gd name="T59" fmla="*/ 235 h 527"/>
                <a:gd name="T60" fmla="*/ 122 w 757"/>
                <a:gd name="T61" fmla="*/ 234 h 527"/>
                <a:gd name="T62" fmla="*/ 222 w 757"/>
                <a:gd name="T63" fmla="*/ 290 h 527"/>
                <a:gd name="T64" fmla="*/ 313 w 757"/>
                <a:gd name="T65" fmla="*/ 290 h 527"/>
                <a:gd name="T66" fmla="*/ 239 w 757"/>
                <a:gd name="T67" fmla="*/ 235 h 527"/>
                <a:gd name="T68" fmla="*/ 313 w 757"/>
                <a:gd name="T69" fmla="*/ 290 h 527"/>
                <a:gd name="T70" fmla="*/ 496 w 757"/>
                <a:gd name="T71" fmla="*/ 460 h 527"/>
                <a:gd name="T72" fmla="*/ 435 w 757"/>
                <a:gd name="T73" fmla="*/ 459 h 527"/>
                <a:gd name="T74" fmla="*/ 144 w 757"/>
                <a:gd name="T75" fmla="*/ 460 h 527"/>
                <a:gd name="T76" fmla="*/ 205 w 757"/>
                <a:gd name="T77" fmla="*/ 459 h 527"/>
                <a:gd name="T78" fmla="*/ 144 w 757"/>
                <a:gd name="T79" fmla="*/ 460 h 527"/>
                <a:gd name="T80" fmla="*/ 420 w 757"/>
                <a:gd name="T81" fmla="*/ 235 h 527"/>
                <a:gd name="T82" fmla="*/ 352 w 757"/>
                <a:gd name="T83" fmla="*/ 290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757" h="527">
                  <a:moveTo>
                    <a:pt x="751" y="53"/>
                  </a:moveTo>
                  <a:cubicBezTo>
                    <a:pt x="744" y="61"/>
                    <a:pt x="740" y="72"/>
                    <a:pt x="723" y="72"/>
                  </a:cubicBezTo>
                  <a:cubicBezTo>
                    <a:pt x="708" y="73"/>
                    <a:pt x="692" y="73"/>
                    <a:pt x="677" y="72"/>
                  </a:cubicBezTo>
                  <a:cubicBezTo>
                    <a:pt x="667" y="72"/>
                    <a:pt x="662" y="75"/>
                    <a:pt x="658" y="85"/>
                  </a:cubicBezTo>
                  <a:cubicBezTo>
                    <a:pt x="609" y="192"/>
                    <a:pt x="560" y="299"/>
                    <a:pt x="511" y="407"/>
                  </a:cubicBezTo>
                  <a:cubicBezTo>
                    <a:pt x="508" y="413"/>
                    <a:pt x="508" y="417"/>
                    <a:pt x="512" y="424"/>
                  </a:cubicBezTo>
                  <a:cubicBezTo>
                    <a:pt x="534" y="453"/>
                    <a:pt x="527" y="490"/>
                    <a:pt x="498" y="509"/>
                  </a:cubicBezTo>
                  <a:cubicBezTo>
                    <a:pt x="469" y="527"/>
                    <a:pt x="433" y="519"/>
                    <a:pt x="415" y="489"/>
                  </a:cubicBezTo>
                  <a:cubicBezTo>
                    <a:pt x="410" y="482"/>
                    <a:pt x="406" y="480"/>
                    <a:pt x="398" y="480"/>
                  </a:cubicBezTo>
                  <a:cubicBezTo>
                    <a:pt x="346" y="480"/>
                    <a:pt x="294" y="480"/>
                    <a:pt x="243" y="480"/>
                  </a:cubicBezTo>
                  <a:cubicBezTo>
                    <a:pt x="234" y="480"/>
                    <a:pt x="229" y="482"/>
                    <a:pt x="225" y="490"/>
                  </a:cubicBezTo>
                  <a:cubicBezTo>
                    <a:pt x="210" y="513"/>
                    <a:pt x="183" y="524"/>
                    <a:pt x="158" y="516"/>
                  </a:cubicBezTo>
                  <a:cubicBezTo>
                    <a:pt x="132" y="508"/>
                    <a:pt x="115" y="486"/>
                    <a:pt x="115" y="459"/>
                  </a:cubicBezTo>
                  <a:cubicBezTo>
                    <a:pt x="115" y="432"/>
                    <a:pt x="133" y="409"/>
                    <a:pt x="158" y="402"/>
                  </a:cubicBezTo>
                  <a:cubicBezTo>
                    <a:pt x="183" y="395"/>
                    <a:pt x="210" y="405"/>
                    <a:pt x="224" y="427"/>
                  </a:cubicBezTo>
                  <a:cubicBezTo>
                    <a:pt x="229" y="435"/>
                    <a:pt x="233" y="439"/>
                    <a:pt x="243" y="439"/>
                  </a:cubicBezTo>
                  <a:cubicBezTo>
                    <a:pt x="295" y="438"/>
                    <a:pt x="347" y="438"/>
                    <a:pt x="399" y="438"/>
                  </a:cubicBezTo>
                  <a:cubicBezTo>
                    <a:pt x="404" y="438"/>
                    <a:pt x="411" y="434"/>
                    <a:pt x="413" y="430"/>
                  </a:cubicBezTo>
                  <a:cubicBezTo>
                    <a:pt x="425" y="413"/>
                    <a:pt x="440" y="402"/>
                    <a:pt x="461" y="400"/>
                  </a:cubicBezTo>
                  <a:cubicBezTo>
                    <a:pt x="464" y="400"/>
                    <a:pt x="469" y="398"/>
                    <a:pt x="470" y="395"/>
                  </a:cubicBezTo>
                  <a:cubicBezTo>
                    <a:pt x="480" y="375"/>
                    <a:pt x="489" y="354"/>
                    <a:pt x="500" y="332"/>
                  </a:cubicBezTo>
                  <a:cubicBezTo>
                    <a:pt x="492" y="332"/>
                    <a:pt x="487" y="332"/>
                    <a:pt x="482" y="332"/>
                  </a:cubicBezTo>
                  <a:cubicBezTo>
                    <a:pt x="375" y="332"/>
                    <a:pt x="267" y="332"/>
                    <a:pt x="159" y="332"/>
                  </a:cubicBezTo>
                  <a:cubicBezTo>
                    <a:pt x="140" y="332"/>
                    <a:pt x="126" y="325"/>
                    <a:pt x="117" y="308"/>
                  </a:cubicBezTo>
                  <a:cubicBezTo>
                    <a:pt x="108" y="292"/>
                    <a:pt x="99" y="277"/>
                    <a:pt x="90" y="262"/>
                  </a:cubicBezTo>
                  <a:cubicBezTo>
                    <a:pt x="64" y="218"/>
                    <a:pt x="38" y="174"/>
                    <a:pt x="12" y="131"/>
                  </a:cubicBezTo>
                  <a:cubicBezTo>
                    <a:pt x="0" y="109"/>
                    <a:pt x="10" y="90"/>
                    <a:pt x="35" y="88"/>
                  </a:cubicBezTo>
                  <a:cubicBezTo>
                    <a:pt x="40" y="88"/>
                    <a:pt x="45" y="88"/>
                    <a:pt x="50" y="88"/>
                  </a:cubicBezTo>
                  <a:cubicBezTo>
                    <a:pt x="230" y="88"/>
                    <a:pt x="410" y="88"/>
                    <a:pt x="590" y="88"/>
                  </a:cubicBezTo>
                  <a:cubicBezTo>
                    <a:pt x="594" y="88"/>
                    <a:pt x="599" y="89"/>
                    <a:pt x="603" y="88"/>
                  </a:cubicBezTo>
                  <a:cubicBezTo>
                    <a:pt x="606" y="87"/>
                    <a:pt x="611" y="85"/>
                    <a:pt x="612" y="82"/>
                  </a:cubicBezTo>
                  <a:cubicBezTo>
                    <a:pt x="617" y="75"/>
                    <a:pt x="620" y="67"/>
                    <a:pt x="624" y="58"/>
                  </a:cubicBezTo>
                  <a:cubicBezTo>
                    <a:pt x="641" y="0"/>
                    <a:pt x="756" y="35"/>
                    <a:pt x="756" y="35"/>
                  </a:cubicBezTo>
                  <a:cubicBezTo>
                    <a:pt x="756" y="35"/>
                    <a:pt x="757" y="46"/>
                    <a:pt x="751" y="53"/>
                  </a:cubicBezTo>
                  <a:close/>
                  <a:moveTo>
                    <a:pt x="223" y="192"/>
                  </a:moveTo>
                  <a:cubicBezTo>
                    <a:pt x="246" y="193"/>
                    <a:pt x="291" y="192"/>
                    <a:pt x="314" y="191"/>
                  </a:cubicBezTo>
                  <a:cubicBezTo>
                    <a:pt x="314" y="132"/>
                    <a:pt x="314" y="132"/>
                    <a:pt x="314" y="132"/>
                  </a:cubicBezTo>
                  <a:cubicBezTo>
                    <a:pt x="275" y="132"/>
                    <a:pt x="232" y="132"/>
                    <a:pt x="193" y="132"/>
                  </a:cubicBezTo>
                  <a:lnTo>
                    <a:pt x="223" y="192"/>
                  </a:lnTo>
                  <a:close/>
                  <a:moveTo>
                    <a:pt x="439" y="187"/>
                  </a:moveTo>
                  <a:cubicBezTo>
                    <a:pt x="448" y="169"/>
                    <a:pt x="456" y="151"/>
                    <a:pt x="465" y="132"/>
                  </a:cubicBezTo>
                  <a:cubicBezTo>
                    <a:pt x="426" y="132"/>
                    <a:pt x="389" y="132"/>
                    <a:pt x="351" y="132"/>
                  </a:cubicBezTo>
                  <a:cubicBezTo>
                    <a:pt x="351" y="149"/>
                    <a:pt x="351" y="169"/>
                    <a:pt x="352" y="187"/>
                  </a:cubicBezTo>
                  <a:lnTo>
                    <a:pt x="439" y="187"/>
                  </a:lnTo>
                  <a:close/>
                  <a:moveTo>
                    <a:pt x="141" y="131"/>
                  </a:moveTo>
                  <a:cubicBezTo>
                    <a:pt x="115" y="131"/>
                    <a:pt x="89" y="131"/>
                    <a:pt x="60" y="131"/>
                  </a:cubicBezTo>
                  <a:cubicBezTo>
                    <a:pt x="73" y="151"/>
                    <a:pt x="84" y="170"/>
                    <a:pt x="95" y="189"/>
                  </a:cubicBezTo>
                  <a:cubicBezTo>
                    <a:pt x="97" y="191"/>
                    <a:pt x="97" y="192"/>
                    <a:pt x="99" y="192"/>
                  </a:cubicBezTo>
                  <a:cubicBezTo>
                    <a:pt x="123" y="192"/>
                    <a:pt x="151" y="192"/>
                    <a:pt x="177" y="192"/>
                  </a:cubicBezTo>
                  <a:lnTo>
                    <a:pt x="141" y="131"/>
                  </a:lnTo>
                  <a:close/>
                  <a:moveTo>
                    <a:pt x="591" y="131"/>
                  </a:moveTo>
                  <a:cubicBezTo>
                    <a:pt x="565" y="131"/>
                    <a:pt x="541" y="131"/>
                    <a:pt x="516" y="131"/>
                  </a:cubicBezTo>
                  <a:cubicBezTo>
                    <a:pt x="483" y="192"/>
                    <a:pt x="483" y="192"/>
                    <a:pt x="483" y="192"/>
                  </a:cubicBezTo>
                  <a:cubicBezTo>
                    <a:pt x="509" y="192"/>
                    <a:pt x="534" y="193"/>
                    <a:pt x="558" y="192"/>
                  </a:cubicBezTo>
                  <a:lnTo>
                    <a:pt x="591" y="131"/>
                  </a:lnTo>
                  <a:close/>
                  <a:moveTo>
                    <a:pt x="461" y="235"/>
                  </a:moveTo>
                  <a:cubicBezTo>
                    <a:pt x="453" y="251"/>
                    <a:pt x="446" y="272"/>
                    <a:pt x="437" y="290"/>
                  </a:cubicBezTo>
                  <a:cubicBezTo>
                    <a:pt x="519" y="290"/>
                    <a:pt x="519" y="290"/>
                    <a:pt x="519" y="290"/>
                  </a:cubicBezTo>
                  <a:cubicBezTo>
                    <a:pt x="526" y="273"/>
                    <a:pt x="536" y="252"/>
                    <a:pt x="544" y="234"/>
                  </a:cubicBezTo>
                  <a:lnTo>
                    <a:pt x="461" y="235"/>
                  </a:lnTo>
                  <a:close/>
                  <a:moveTo>
                    <a:pt x="190" y="234"/>
                  </a:moveTo>
                  <a:cubicBezTo>
                    <a:pt x="169" y="234"/>
                    <a:pt x="147" y="234"/>
                    <a:pt x="122" y="234"/>
                  </a:cubicBezTo>
                  <a:cubicBezTo>
                    <a:pt x="154" y="290"/>
                    <a:pt x="154" y="290"/>
                    <a:pt x="154" y="290"/>
                  </a:cubicBezTo>
                  <a:cubicBezTo>
                    <a:pt x="173" y="290"/>
                    <a:pt x="200" y="290"/>
                    <a:pt x="222" y="290"/>
                  </a:cubicBezTo>
                  <a:lnTo>
                    <a:pt x="190" y="234"/>
                  </a:lnTo>
                  <a:close/>
                  <a:moveTo>
                    <a:pt x="313" y="290"/>
                  </a:moveTo>
                  <a:cubicBezTo>
                    <a:pt x="313" y="271"/>
                    <a:pt x="313" y="254"/>
                    <a:pt x="313" y="235"/>
                  </a:cubicBezTo>
                  <a:cubicBezTo>
                    <a:pt x="290" y="235"/>
                    <a:pt x="262" y="235"/>
                    <a:pt x="239" y="235"/>
                  </a:cubicBezTo>
                  <a:cubicBezTo>
                    <a:pt x="248" y="253"/>
                    <a:pt x="257" y="274"/>
                    <a:pt x="265" y="290"/>
                  </a:cubicBezTo>
                  <a:lnTo>
                    <a:pt x="313" y="290"/>
                  </a:lnTo>
                  <a:close/>
                  <a:moveTo>
                    <a:pt x="466" y="490"/>
                  </a:moveTo>
                  <a:cubicBezTo>
                    <a:pt x="483" y="489"/>
                    <a:pt x="496" y="476"/>
                    <a:pt x="496" y="460"/>
                  </a:cubicBezTo>
                  <a:cubicBezTo>
                    <a:pt x="496" y="443"/>
                    <a:pt x="483" y="429"/>
                    <a:pt x="466" y="429"/>
                  </a:cubicBezTo>
                  <a:cubicBezTo>
                    <a:pt x="448" y="429"/>
                    <a:pt x="435" y="442"/>
                    <a:pt x="435" y="459"/>
                  </a:cubicBezTo>
                  <a:cubicBezTo>
                    <a:pt x="435" y="477"/>
                    <a:pt x="449" y="490"/>
                    <a:pt x="466" y="490"/>
                  </a:cubicBezTo>
                  <a:close/>
                  <a:moveTo>
                    <a:pt x="144" y="460"/>
                  </a:moveTo>
                  <a:cubicBezTo>
                    <a:pt x="144" y="476"/>
                    <a:pt x="157" y="489"/>
                    <a:pt x="174" y="490"/>
                  </a:cubicBezTo>
                  <a:cubicBezTo>
                    <a:pt x="191" y="490"/>
                    <a:pt x="205" y="476"/>
                    <a:pt x="205" y="459"/>
                  </a:cubicBezTo>
                  <a:cubicBezTo>
                    <a:pt x="205" y="442"/>
                    <a:pt x="191" y="429"/>
                    <a:pt x="174" y="429"/>
                  </a:cubicBezTo>
                  <a:cubicBezTo>
                    <a:pt x="157" y="429"/>
                    <a:pt x="144" y="442"/>
                    <a:pt x="144" y="460"/>
                  </a:cubicBezTo>
                  <a:close/>
                  <a:moveTo>
                    <a:pt x="399" y="290"/>
                  </a:moveTo>
                  <a:cubicBezTo>
                    <a:pt x="400" y="285"/>
                    <a:pt x="419" y="237"/>
                    <a:pt x="420" y="235"/>
                  </a:cubicBezTo>
                  <a:cubicBezTo>
                    <a:pt x="397" y="235"/>
                    <a:pt x="374" y="235"/>
                    <a:pt x="352" y="235"/>
                  </a:cubicBezTo>
                  <a:cubicBezTo>
                    <a:pt x="352" y="250"/>
                    <a:pt x="352" y="265"/>
                    <a:pt x="352" y="290"/>
                  </a:cubicBezTo>
                  <a:lnTo>
                    <a:pt x="399" y="290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grpSp>
        <p:nvGrpSpPr>
          <p:cNvPr id="250" name="Group 20">
            <a:extLst>
              <a:ext uri="{FF2B5EF4-FFF2-40B4-BE49-F238E27FC236}">
                <a16:creationId xmlns:a16="http://schemas.microsoft.com/office/drawing/2014/main" xmlns="" id="{D511D02E-83E2-449D-B47E-FB25BAC87701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714671" y="345075"/>
            <a:ext cx="403819" cy="486426"/>
            <a:chOff x="2245" y="1394"/>
            <a:chExt cx="1271" cy="1531"/>
          </a:xfrm>
          <a:effectLst>
            <a:outerShdw blurRad="101600" dist="76200" dir="2700000" algn="ctr" rotWithShape="0">
              <a:srgbClr val="000000">
                <a:alpha val="29000"/>
              </a:srgbClr>
            </a:outerShdw>
          </a:effectLst>
        </p:grpSpPr>
        <p:sp>
          <p:nvSpPr>
            <p:cNvPr id="251" name="AutoShape 19">
              <a:extLst>
                <a:ext uri="{FF2B5EF4-FFF2-40B4-BE49-F238E27FC236}">
                  <a16:creationId xmlns:a16="http://schemas.microsoft.com/office/drawing/2014/main" xmlns="" id="{A19CE007-7CA0-4BFF-AF1D-70D302C7ED29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245" y="1394"/>
              <a:ext cx="1269" cy="153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2" name="Freeform 21">
              <a:extLst>
                <a:ext uri="{FF2B5EF4-FFF2-40B4-BE49-F238E27FC236}">
                  <a16:creationId xmlns:a16="http://schemas.microsoft.com/office/drawing/2014/main" xmlns="" id="{C37242D2-31EE-4AAD-B80D-3A1BEC8C3FF7}"/>
                </a:ext>
              </a:extLst>
            </p:cNvPr>
            <p:cNvSpPr>
              <a:spLocks/>
            </p:cNvSpPr>
            <p:nvPr/>
          </p:nvSpPr>
          <p:spPr bwMode="auto">
            <a:xfrm>
              <a:off x="2247" y="1394"/>
              <a:ext cx="1269" cy="1531"/>
            </a:xfrm>
            <a:custGeom>
              <a:avLst/>
              <a:gdLst>
                <a:gd name="T0" fmla="*/ 537 w 537"/>
                <a:gd name="T1" fmla="*/ 539 h 648"/>
                <a:gd name="T2" fmla="*/ 263 w 537"/>
                <a:gd name="T3" fmla="*/ 539 h 648"/>
                <a:gd name="T4" fmla="*/ 288 w 537"/>
                <a:gd name="T5" fmla="*/ 592 h 648"/>
                <a:gd name="T6" fmla="*/ 294 w 537"/>
                <a:gd name="T7" fmla="*/ 608 h 648"/>
                <a:gd name="T8" fmla="*/ 279 w 537"/>
                <a:gd name="T9" fmla="*/ 616 h 648"/>
                <a:gd name="T10" fmla="*/ 149 w 537"/>
                <a:gd name="T11" fmla="*/ 648 h 648"/>
                <a:gd name="T12" fmla="*/ 13 w 537"/>
                <a:gd name="T13" fmla="*/ 616 h 648"/>
                <a:gd name="T14" fmla="*/ 0 w 537"/>
                <a:gd name="T15" fmla="*/ 608 h 648"/>
                <a:gd name="T16" fmla="*/ 4 w 537"/>
                <a:gd name="T17" fmla="*/ 593 h 648"/>
                <a:gd name="T18" fmla="*/ 76 w 537"/>
                <a:gd name="T19" fmla="*/ 479 h 648"/>
                <a:gd name="T20" fmla="*/ 51 w 537"/>
                <a:gd name="T21" fmla="*/ 414 h 648"/>
                <a:gd name="T22" fmla="*/ 68 w 537"/>
                <a:gd name="T23" fmla="*/ 355 h 648"/>
                <a:gd name="T24" fmla="*/ 68 w 537"/>
                <a:gd name="T25" fmla="*/ 355 h 648"/>
                <a:gd name="T26" fmla="*/ 72 w 537"/>
                <a:gd name="T27" fmla="*/ 335 h 648"/>
                <a:gd name="T28" fmla="*/ 88 w 537"/>
                <a:gd name="T29" fmla="*/ 241 h 648"/>
                <a:gd name="T30" fmla="*/ 98 w 537"/>
                <a:gd name="T31" fmla="*/ 186 h 648"/>
                <a:gd name="T32" fmla="*/ 102 w 537"/>
                <a:gd name="T33" fmla="*/ 166 h 648"/>
                <a:gd name="T34" fmla="*/ 102 w 537"/>
                <a:gd name="T35" fmla="*/ 20 h 648"/>
                <a:gd name="T36" fmla="*/ 102 w 537"/>
                <a:gd name="T37" fmla="*/ 0 h 648"/>
                <a:gd name="T38" fmla="*/ 537 w 537"/>
                <a:gd name="T39" fmla="*/ 0 h 648"/>
                <a:gd name="T40" fmla="*/ 537 w 537"/>
                <a:gd name="T41" fmla="*/ 539 h 6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37" h="648">
                  <a:moveTo>
                    <a:pt x="537" y="539"/>
                  </a:moveTo>
                  <a:cubicBezTo>
                    <a:pt x="263" y="539"/>
                    <a:pt x="263" y="539"/>
                    <a:pt x="263" y="539"/>
                  </a:cubicBezTo>
                  <a:cubicBezTo>
                    <a:pt x="280" y="568"/>
                    <a:pt x="288" y="590"/>
                    <a:pt x="288" y="592"/>
                  </a:cubicBezTo>
                  <a:cubicBezTo>
                    <a:pt x="294" y="608"/>
                    <a:pt x="294" y="608"/>
                    <a:pt x="294" y="608"/>
                  </a:cubicBezTo>
                  <a:cubicBezTo>
                    <a:pt x="279" y="616"/>
                    <a:pt x="279" y="616"/>
                    <a:pt x="279" y="616"/>
                  </a:cubicBezTo>
                  <a:cubicBezTo>
                    <a:pt x="238" y="637"/>
                    <a:pt x="195" y="648"/>
                    <a:pt x="149" y="648"/>
                  </a:cubicBezTo>
                  <a:cubicBezTo>
                    <a:pt x="72" y="648"/>
                    <a:pt x="16" y="617"/>
                    <a:pt x="13" y="616"/>
                  </a:cubicBezTo>
                  <a:cubicBezTo>
                    <a:pt x="0" y="608"/>
                    <a:pt x="0" y="608"/>
                    <a:pt x="0" y="608"/>
                  </a:cubicBezTo>
                  <a:cubicBezTo>
                    <a:pt x="4" y="593"/>
                    <a:pt x="4" y="593"/>
                    <a:pt x="4" y="593"/>
                  </a:cubicBezTo>
                  <a:cubicBezTo>
                    <a:pt x="17" y="540"/>
                    <a:pt x="48" y="503"/>
                    <a:pt x="76" y="479"/>
                  </a:cubicBezTo>
                  <a:cubicBezTo>
                    <a:pt x="60" y="461"/>
                    <a:pt x="51" y="439"/>
                    <a:pt x="51" y="414"/>
                  </a:cubicBezTo>
                  <a:cubicBezTo>
                    <a:pt x="51" y="393"/>
                    <a:pt x="54" y="372"/>
                    <a:pt x="68" y="355"/>
                  </a:cubicBezTo>
                  <a:cubicBezTo>
                    <a:pt x="68" y="355"/>
                    <a:pt x="68" y="355"/>
                    <a:pt x="68" y="355"/>
                  </a:cubicBezTo>
                  <a:cubicBezTo>
                    <a:pt x="72" y="335"/>
                    <a:pt x="72" y="335"/>
                    <a:pt x="72" y="335"/>
                  </a:cubicBezTo>
                  <a:cubicBezTo>
                    <a:pt x="88" y="241"/>
                    <a:pt x="88" y="241"/>
                    <a:pt x="88" y="241"/>
                  </a:cubicBezTo>
                  <a:cubicBezTo>
                    <a:pt x="98" y="186"/>
                    <a:pt x="98" y="186"/>
                    <a:pt x="98" y="186"/>
                  </a:cubicBezTo>
                  <a:cubicBezTo>
                    <a:pt x="102" y="166"/>
                    <a:pt x="102" y="166"/>
                    <a:pt x="102" y="166"/>
                  </a:cubicBezTo>
                  <a:cubicBezTo>
                    <a:pt x="102" y="20"/>
                    <a:pt x="102" y="20"/>
                    <a:pt x="102" y="20"/>
                  </a:cubicBezTo>
                  <a:cubicBezTo>
                    <a:pt x="102" y="0"/>
                    <a:pt x="102" y="0"/>
                    <a:pt x="102" y="0"/>
                  </a:cubicBezTo>
                  <a:cubicBezTo>
                    <a:pt x="537" y="0"/>
                    <a:pt x="537" y="0"/>
                    <a:pt x="537" y="0"/>
                  </a:cubicBezTo>
                  <a:lnTo>
                    <a:pt x="537" y="53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3" name="Freeform 22">
              <a:extLst>
                <a:ext uri="{FF2B5EF4-FFF2-40B4-BE49-F238E27FC236}">
                  <a16:creationId xmlns:a16="http://schemas.microsoft.com/office/drawing/2014/main" xmlns="" id="{7F9062AB-DD39-4E3A-A181-CC3B415BA68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02" y="1441"/>
              <a:ext cx="1167" cy="1437"/>
            </a:xfrm>
            <a:custGeom>
              <a:avLst/>
              <a:gdLst>
                <a:gd name="T0" fmla="*/ 126 w 494"/>
                <a:gd name="T1" fmla="*/ 608 h 608"/>
                <a:gd name="T2" fmla="*/ 85 w 494"/>
                <a:gd name="T3" fmla="*/ 459 h 608"/>
                <a:gd name="T4" fmla="*/ 72 w 494"/>
                <a:gd name="T5" fmla="*/ 340 h 608"/>
                <a:gd name="T6" fmla="*/ 199 w 494"/>
                <a:gd name="T7" fmla="*/ 394 h 608"/>
                <a:gd name="T8" fmla="*/ 246 w 494"/>
                <a:gd name="T9" fmla="*/ 578 h 608"/>
                <a:gd name="T10" fmla="*/ 68 w 494"/>
                <a:gd name="T11" fmla="*/ 319 h 608"/>
                <a:gd name="T12" fmla="*/ 213 w 494"/>
                <a:gd name="T13" fmla="*/ 247 h 608"/>
                <a:gd name="T14" fmla="*/ 149 w 494"/>
                <a:gd name="T15" fmla="*/ 236 h 608"/>
                <a:gd name="T16" fmla="*/ 85 w 494"/>
                <a:gd name="T17" fmla="*/ 225 h 608"/>
                <a:gd name="T18" fmla="*/ 99 w 494"/>
                <a:gd name="T19" fmla="*/ 209 h 608"/>
                <a:gd name="T20" fmla="*/ 119 w 494"/>
                <a:gd name="T21" fmla="*/ 236 h 608"/>
                <a:gd name="T22" fmla="*/ 474 w 494"/>
                <a:gd name="T23" fmla="*/ 20 h 608"/>
                <a:gd name="T24" fmla="*/ 220 w 494"/>
                <a:gd name="T25" fmla="*/ 479 h 608"/>
                <a:gd name="T26" fmla="*/ 494 w 494"/>
                <a:gd name="T27" fmla="*/ 499 h 608"/>
                <a:gd name="T28" fmla="*/ 99 w 494"/>
                <a:gd name="T29" fmla="*/ 0 h 608"/>
                <a:gd name="T30" fmla="*/ 155 w 494"/>
                <a:gd name="T31" fmla="*/ 99 h 608"/>
                <a:gd name="T32" fmla="*/ 438 w 494"/>
                <a:gd name="T33" fmla="*/ 79 h 608"/>
                <a:gd name="T34" fmla="*/ 438 w 494"/>
                <a:gd name="T35" fmla="*/ 144 h 608"/>
                <a:gd name="T36" fmla="*/ 155 w 494"/>
                <a:gd name="T37" fmla="*/ 123 h 608"/>
                <a:gd name="T38" fmla="*/ 438 w 494"/>
                <a:gd name="T39" fmla="*/ 144 h 608"/>
                <a:gd name="T40" fmla="*/ 155 w 494"/>
                <a:gd name="T41" fmla="*/ 188 h 608"/>
                <a:gd name="T42" fmla="*/ 438 w 494"/>
                <a:gd name="T43" fmla="*/ 168 h 608"/>
                <a:gd name="T44" fmla="*/ 200 w 494"/>
                <a:gd name="T45" fmla="*/ 232 h 608"/>
                <a:gd name="T46" fmla="*/ 160 w 494"/>
                <a:gd name="T47" fmla="*/ 212 h 608"/>
                <a:gd name="T48" fmla="*/ 200 w 494"/>
                <a:gd name="T49" fmla="*/ 232 h 608"/>
                <a:gd name="T50" fmla="*/ 228 w 494"/>
                <a:gd name="T51" fmla="*/ 276 h 608"/>
                <a:gd name="T52" fmla="*/ 438 w 494"/>
                <a:gd name="T53" fmla="*/ 256 h 608"/>
                <a:gd name="T54" fmla="*/ 390 w 494"/>
                <a:gd name="T55" fmla="*/ 342 h 608"/>
                <a:gd name="T56" fmla="*/ 424 w 494"/>
                <a:gd name="T57" fmla="*/ 360 h 608"/>
                <a:gd name="T58" fmla="*/ 377 w 494"/>
                <a:gd name="T59" fmla="*/ 380 h 608"/>
                <a:gd name="T60" fmla="*/ 424 w 494"/>
                <a:gd name="T61" fmla="*/ 389 h 608"/>
                <a:gd name="T62" fmla="*/ 379 w 494"/>
                <a:gd name="T63" fmla="*/ 410 h 608"/>
                <a:gd name="T64" fmla="*/ 429 w 494"/>
                <a:gd name="T65" fmla="*/ 428 h 608"/>
                <a:gd name="T66" fmla="*/ 435 w 494"/>
                <a:gd name="T67" fmla="*/ 448 h 608"/>
                <a:gd name="T68" fmla="*/ 405 w 494"/>
                <a:gd name="T69" fmla="*/ 457 h 608"/>
                <a:gd name="T70" fmla="*/ 344 w 494"/>
                <a:gd name="T71" fmla="*/ 410 h 608"/>
                <a:gd name="T72" fmla="*/ 353 w 494"/>
                <a:gd name="T73" fmla="*/ 389 h 608"/>
                <a:gd name="T74" fmla="*/ 353 w 494"/>
                <a:gd name="T75" fmla="*/ 380 h 608"/>
                <a:gd name="T76" fmla="*/ 344 w 494"/>
                <a:gd name="T77" fmla="*/ 360 h 608"/>
                <a:gd name="T78" fmla="*/ 375 w 494"/>
                <a:gd name="T79" fmla="*/ 326 h 608"/>
                <a:gd name="T80" fmla="*/ 433 w 494"/>
                <a:gd name="T81" fmla="*/ 318 h 608"/>
                <a:gd name="T82" fmla="*/ 435 w 494"/>
                <a:gd name="T83" fmla="*/ 344 h 608"/>
                <a:gd name="T84" fmla="*/ 408 w 494"/>
                <a:gd name="T85" fmla="*/ 334 h 608"/>
                <a:gd name="T86" fmla="*/ 438 w 494"/>
                <a:gd name="T87" fmla="*/ 232 h 608"/>
                <a:gd name="T88" fmla="*/ 240 w 494"/>
                <a:gd name="T89" fmla="*/ 212 h 608"/>
                <a:gd name="T90" fmla="*/ 438 w 494"/>
                <a:gd name="T91" fmla="*/ 232 h 6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494" h="608">
                  <a:moveTo>
                    <a:pt x="246" y="578"/>
                  </a:moveTo>
                  <a:cubicBezTo>
                    <a:pt x="204" y="600"/>
                    <a:pt x="163" y="608"/>
                    <a:pt x="126" y="608"/>
                  </a:cubicBezTo>
                  <a:cubicBezTo>
                    <a:pt x="53" y="608"/>
                    <a:pt x="0" y="578"/>
                    <a:pt x="0" y="578"/>
                  </a:cubicBezTo>
                  <a:cubicBezTo>
                    <a:pt x="16" y="518"/>
                    <a:pt x="55" y="480"/>
                    <a:pt x="85" y="459"/>
                  </a:cubicBezTo>
                  <a:cubicBezTo>
                    <a:pt x="63" y="446"/>
                    <a:pt x="48" y="422"/>
                    <a:pt x="48" y="394"/>
                  </a:cubicBezTo>
                  <a:cubicBezTo>
                    <a:pt x="48" y="373"/>
                    <a:pt x="57" y="353"/>
                    <a:pt x="72" y="340"/>
                  </a:cubicBezTo>
                  <a:cubicBezTo>
                    <a:pt x="191" y="361"/>
                    <a:pt x="191" y="361"/>
                    <a:pt x="191" y="361"/>
                  </a:cubicBezTo>
                  <a:cubicBezTo>
                    <a:pt x="196" y="371"/>
                    <a:pt x="199" y="382"/>
                    <a:pt x="199" y="394"/>
                  </a:cubicBezTo>
                  <a:cubicBezTo>
                    <a:pt x="199" y="423"/>
                    <a:pt x="183" y="447"/>
                    <a:pt x="160" y="460"/>
                  </a:cubicBezTo>
                  <a:cubicBezTo>
                    <a:pt x="223" y="506"/>
                    <a:pt x="246" y="578"/>
                    <a:pt x="246" y="578"/>
                  </a:cubicBezTo>
                  <a:close/>
                  <a:moveTo>
                    <a:pt x="85" y="225"/>
                  </a:moveTo>
                  <a:cubicBezTo>
                    <a:pt x="68" y="319"/>
                    <a:pt x="68" y="319"/>
                    <a:pt x="68" y="319"/>
                  </a:cubicBezTo>
                  <a:cubicBezTo>
                    <a:pt x="196" y="341"/>
                    <a:pt x="196" y="341"/>
                    <a:pt x="196" y="341"/>
                  </a:cubicBezTo>
                  <a:cubicBezTo>
                    <a:pt x="213" y="247"/>
                    <a:pt x="213" y="247"/>
                    <a:pt x="213" y="247"/>
                  </a:cubicBezTo>
                  <a:cubicBezTo>
                    <a:pt x="169" y="282"/>
                    <a:pt x="169" y="282"/>
                    <a:pt x="169" y="282"/>
                  </a:cubicBezTo>
                  <a:cubicBezTo>
                    <a:pt x="149" y="236"/>
                    <a:pt x="149" y="236"/>
                    <a:pt x="149" y="236"/>
                  </a:cubicBezTo>
                  <a:cubicBezTo>
                    <a:pt x="111" y="272"/>
                    <a:pt x="111" y="272"/>
                    <a:pt x="111" y="272"/>
                  </a:cubicBezTo>
                  <a:lnTo>
                    <a:pt x="85" y="225"/>
                  </a:lnTo>
                  <a:close/>
                  <a:moveTo>
                    <a:pt x="99" y="0"/>
                  </a:moveTo>
                  <a:cubicBezTo>
                    <a:pt x="99" y="209"/>
                    <a:pt x="99" y="209"/>
                    <a:pt x="99" y="209"/>
                  </a:cubicBezTo>
                  <a:cubicBezTo>
                    <a:pt x="116" y="239"/>
                    <a:pt x="116" y="239"/>
                    <a:pt x="116" y="239"/>
                  </a:cubicBezTo>
                  <a:cubicBezTo>
                    <a:pt x="119" y="236"/>
                    <a:pt x="119" y="236"/>
                    <a:pt x="119" y="236"/>
                  </a:cubicBezTo>
                  <a:cubicBezTo>
                    <a:pt x="119" y="20"/>
                    <a:pt x="119" y="20"/>
                    <a:pt x="119" y="20"/>
                  </a:cubicBezTo>
                  <a:cubicBezTo>
                    <a:pt x="474" y="20"/>
                    <a:pt x="474" y="20"/>
                    <a:pt x="474" y="20"/>
                  </a:cubicBezTo>
                  <a:cubicBezTo>
                    <a:pt x="474" y="479"/>
                    <a:pt x="474" y="479"/>
                    <a:pt x="474" y="479"/>
                  </a:cubicBezTo>
                  <a:cubicBezTo>
                    <a:pt x="220" y="479"/>
                    <a:pt x="220" y="479"/>
                    <a:pt x="220" y="479"/>
                  </a:cubicBezTo>
                  <a:cubicBezTo>
                    <a:pt x="220" y="479"/>
                    <a:pt x="229" y="488"/>
                    <a:pt x="236" y="499"/>
                  </a:cubicBezTo>
                  <a:cubicBezTo>
                    <a:pt x="494" y="499"/>
                    <a:pt x="494" y="499"/>
                    <a:pt x="494" y="499"/>
                  </a:cubicBezTo>
                  <a:cubicBezTo>
                    <a:pt x="494" y="0"/>
                    <a:pt x="494" y="0"/>
                    <a:pt x="494" y="0"/>
                  </a:cubicBezTo>
                  <a:lnTo>
                    <a:pt x="99" y="0"/>
                  </a:lnTo>
                  <a:close/>
                  <a:moveTo>
                    <a:pt x="438" y="99"/>
                  </a:moveTo>
                  <a:cubicBezTo>
                    <a:pt x="155" y="99"/>
                    <a:pt x="155" y="99"/>
                    <a:pt x="155" y="99"/>
                  </a:cubicBezTo>
                  <a:cubicBezTo>
                    <a:pt x="155" y="79"/>
                    <a:pt x="155" y="79"/>
                    <a:pt x="155" y="79"/>
                  </a:cubicBezTo>
                  <a:cubicBezTo>
                    <a:pt x="438" y="79"/>
                    <a:pt x="438" y="79"/>
                    <a:pt x="438" y="79"/>
                  </a:cubicBezTo>
                  <a:lnTo>
                    <a:pt x="438" y="99"/>
                  </a:lnTo>
                  <a:close/>
                  <a:moveTo>
                    <a:pt x="438" y="144"/>
                  </a:moveTo>
                  <a:cubicBezTo>
                    <a:pt x="155" y="144"/>
                    <a:pt x="155" y="144"/>
                    <a:pt x="155" y="144"/>
                  </a:cubicBezTo>
                  <a:cubicBezTo>
                    <a:pt x="155" y="123"/>
                    <a:pt x="155" y="123"/>
                    <a:pt x="155" y="123"/>
                  </a:cubicBezTo>
                  <a:cubicBezTo>
                    <a:pt x="438" y="123"/>
                    <a:pt x="438" y="123"/>
                    <a:pt x="438" y="123"/>
                  </a:cubicBezTo>
                  <a:lnTo>
                    <a:pt x="438" y="144"/>
                  </a:lnTo>
                  <a:close/>
                  <a:moveTo>
                    <a:pt x="438" y="188"/>
                  </a:moveTo>
                  <a:cubicBezTo>
                    <a:pt x="155" y="188"/>
                    <a:pt x="155" y="188"/>
                    <a:pt x="155" y="188"/>
                  </a:cubicBezTo>
                  <a:cubicBezTo>
                    <a:pt x="155" y="168"/>
                    <a:pt x="155" y="168"/>
                    <a:pt x="155" y="168"/>
                  </a:cubicBezTo>
                  <a:cubicBezTo>
                    <a:pt x="438" y="168"/>
                    <a:pt x="438" y="168"/>
                    <a:pt x="438" y="168"/>
                  </a:cubicBezTo>
                  <a:lnTo>
                    <a:pt x="438" y="188"/>
                  </a:lnTo>
                  <a:close/>
                  <a:moveTo>
                    <a:pt x="200" y="232"/>
                  </a:moveTo>
                  <a:cubicBezTo>
                    <a:pt x="169" y="232"/>
                    <a:pt x="169" y="232"/>
                    <a:pt x="169" y="232"/>
                  </a:cubicBezTo>
                  <a:cubicBezTo>
                    <a:pt x="160" y="212"/>
                    <a:pt x="160" y="212"/>
                    <a:pt x="160" y="212"/>
                  </a:cubicBezTo>
                  <a:cubicBezTo>
                    <a:pt x="225" y="212"/>
                    <a:pt x="225" y="212"/>
                    <a:pt x="225" y="212"/>
                  </a:cubicBezTo>
                  <a:lnTo>
                    <a:pt x="200" y="232"/>
                  </a:lnTo>
                  <a:close/>
                  <a:moveTo>
                    <a:pt x="438" y="276"/>
                  </a:moveTo>
                  <a:cubicBezTo>
                    <a:pt x="228" y="276"/>
                    <a:pt x="228" y="276"/>
                    <a:pt x="228" y="276"/>
                  </a:cubicBezTo>
                  <a:cubicBezTo>
                    <a:pt x="232" y="256"/>
                    <a:pt x="232" y="256"/>
                    <a:pt x="232" y="256"/>
                  </a:cubicBezTo>
                  <a:cubicBezTo>
                    <a:pt x="438" y="256"/>
                    <a:pt x="438" y="256"/>
                    <a:pt x="438" y="256"/>
                  </a:cubicBezTo>
                  <a:lnTo>
                    <a:pt x="438" y="276"/>
                  </a:lnTo>
                  <a:close/>
                  <a:moveTo>
                    <a:pt x="390" y="342"/>
                  </a:moveTo>
                  <a:cubicBezTo>
                    <a:pt x="386" y="346"/>
                    <a:pt x="382" y="352"/>
                    <a:pt x="380" y="360"/>
                  </a:cubicBezTo>
                  <a:cubicBezTo>
                    <a:pt x="424" y="360"/>
                    <a:pt x="424" y="360"/>
                    <a:pt x="424" y="360"/>
                  </a:cubicBezTo>
                  <a:cubicBezTo>
                    <a:pt x="424" y="380"/>
                    <a:pt x="424" y="380"/>
                    <a:pt x="424" y="380"/>
                  </a:cubicBezTo>
                  <a:cubicBezTo>
                    <a:pt x="377" y="380"/>
                    <a:pt x="377" y="380"/>
                    <a:pt x="377" y="380"/>
                  </a:cubicBezTo>
                  <a:cubicBezTo>
                    <a:pt x="376" y="384"/>
                    <a:pt x="376" y="387"/>
                    <a:pt x="377" y="389"/>
                  </a:cubicBezTo>
                  <a:cubicBezTo>
                    <a:pt x="424" y="389"/>
                    <a:pt x="424" y="389"/>
                    <a:pt x="424" y="389"/>
                  </a:cubicBezTo>
                  <a:cubicBezTo>
                    <a:pt x="424" y="410"/>
                    <a:pt x="424" y="410"/>
                    <a:pt x="424" y="410"/>
                  </a:cubicBezTo>
                  <a:cubicBezTo>
                    <a:pt x="379" y="410"/>
                    <a:pt x="379" y="410"/>
                    <a:pt x="379" y="410"/>
                  </a:cubicBezTo>
                  <a:cubicBezTo>
                    <a:pt x="384" y="427"/>
                    <a:pt x="393" y="436"/>
                    <a:pt x="406" y="436"/>
                  </a:cubicBezTo>
                  <a:cubicBezTo>
                    <a:pt x="413" y="436"/>
                    <a:pt x="421" y="433"/>
                    <a:pt x="429" y="428"/>
                  </a:cubicBezTo>
                  <a:cubicBezTo>
                    <a:pt x="435" y="425"/>
                    <a:pt x="435" y="425"/>
                    <a:pt x="435" y="425"/>
                  </a:cubicBezTo>
                  <a:cubicBezTo>
                    <a:pt x="435" y="448"/>
                    <a:pt x="435" y="448"/>
                    <a:pt x="435" y="448"/>
                  </a:cubicBezTo>
                  <a:cubicBezTo>
                    <a:pt x="433" y="449"/>
                    <a:pt x="433" y="449"/>
                    <a:pt x="433" y="449"/>
                  </a:cubicBezTo>
                  <a:cubicBezTo>
                    <a:pt x="424" y="454"/>
                    <a:pt x="415" y="457"/>
                    <a:pt x="405" y="457"/>
                  </a:cubicBezTo>
                  <a:cubicBezTo>
                    <a:pt x="378" y="457"/>
                    <a:pt x="361" y="441"/>
                    <a:pt x="355" y="410"/>
                  </a:cubicBezTo>
                  <a:cubicBezTo>
                    <a:pt x="344" y="410"/>
                    <a:pt x="344" y="410"/>
                    <a:pt x="344" y="410"/>
                  </a:cubicBezTo>
                  <a:cubicBezTo>
                    <a:pt x="344" y="389"/>
                    <a:pt x="344" y="389"/>
                    <a:pt x="344" y="389"/>
                  </a:cubicBezTo>
                  <a:cubicBezTo>
                    <a:pt x="353" y="389"/>
                    <a:pt x="353" y="389"/>
                    <a:pt x="353" y="389"/>
                  </a:cubicBezTo>
                  <a:cubicBezTo>
                    <a:pt x="353" y="388"/>
                    <a:pt x="353" y="387"/>
                    <a:pt x="353" y="386"/>
                  </a:cubicBezTo>
                  <a:cubicBezTo>
                    <a:pt x="353" y="384"/>
                    <a:pt x="353" y="383"/>
                    <a:pt x="353" y="380"/>
                  </a:cubicBezTo>
                  <a:cubicBezTo>
                    <a:pt x="344" y="380"/>
                    <a:pt x="344" y="380"/>
                    <a:pt x="344" y="380"/>
                  </a:cubicBezTo>
                  <a:cubicBezTo>
                    <a:pt x="344" y="360"/>
                    <a:pt x="344" y="360"/>
                    <a:pt x="344" y="360"/>
                  </a:cubicBezTo>
                  <a:cubicBezTo>
                    <a:pt x="356" y="360"/>
                    <a:pt x="356" y="360"/>
                    <a:pt x="356" y="360"/>
                  </a:cubicBezTo>
                  <a:cubicBezTo>
                    <a:pt x="360" y="346"/>
                    <a:pt x="366" y="335"/>
                    <a:pt x="375" y="326"/>
                  </a:cubicBezTo>
                  <a:cubicBezTo>
                    <a:pt x="384" y="317"/>
                    <a:pt x="395" y="313"/>
                    <a:pt x="409" y="313"/>
                  </a:cubicBezTo>
                  <a:cubicBezTo>
                    <a:pt x="418" y="313"/>
                    <a:pt x="426" y="315"/>
                    <a:pt x="433" y="318"/>
                  </a:cubicBezTo>
                  <a:cubicBezTo>
                    <a:pt x="435" y="319"/>
                    <a:pt x="435" y="319"/>
                    <a:pt x="435" y="319"/>
                  </a:cubicBezTo>
                  <a:cubicBezTo>
                    <a:pt x="435" y="344"/>
                    <a:pt x="435" y="344"/>
                    <a:pt x="435" y="344"/>
                  </a:cubicBezTo>
                  <a:cubicBezTo>
                    <a:pt x="429" y="340"/>
                    <a:pt x="429" y="340"/>
                    <a:pt x="429" y="340"/>
                  </a:cubicBezTo>
                  <a:cubicBezTo>
                    <a:pt x="423" y="336"/>
                    <a:pt x="416" y="334"/>
                    <a:pt x="408" y="334"/>
                  </a:cubicBezTo>
                  <a:cubicBezTo>
                    <a:pt x="401" y="334"/>
                    <a:pt x="395" y="336"/>
                    <a:pt x="390" y="342"/>
                  </a:cubicBezTo>
                  <a:close/>
                  <a:moveTo>
                    <a:pt x="438" y="232"/>
                  </a:moveTo>
                  <a:cubicBezTo>
                    <a:pt x="236" y="232"/>
                    <a:pt x="236" y="232"/>
                    <a:pt x="236" y="232"/>
                  </a:cubicBezTo>
                  <a:cubicBezTo>
                    <a:pt x="240" y="212"/>
                    <a:pt x="240" y="212"/>
                    <a:pt x="240" y="212"/>
                  </a:cubicBezTo>
                  <a:cubicBezTo>
                    <a:pt x="438" y="212"/>
                    <a:pt x="438" y="212"/>
                    <a:pt x="438" y="212"/>
                  </a:cubicBezTo>
                  <a:lnTo>
                    <a:pt x="438" y="232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54" name="Group 26">
            <a:extLst>
              <a:ext uri="{FF2B5EF4-FFF2-40B4-BE49-F238E27FC236}">
                <a16:creationId xmlns:a16="http://schemas.microsoft.com/office/drawing/2014/main" xmlns="" id="{677689A9-2944-4E12-8029-523511FC9D01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939969" y="891061"/>
            <a:ext cx="508339" cy="468591"/>
            <a:chOff x="2061" y="1405"/>
            <a:chExt cx="1637" cy="1509"/>
          </a:xfrm>
          <a:effectLst>
            <a:outerShdw blurRad="101600" dist="76200" dir="2700000" algn="ctr" rotWithShape="0">
              <a:srgbClr val="000000">
                <a:alpha val="29000"/>
              </a:srgbClr>
            </a:outerShdw>
          </a:effectLst>
        </p:grpSpPr>
        <p:sp>
          <p:nvSpPr>
            <p:cNvPr id="255" name="AutoShape 25">
              <a:extLst>
                <a:ext uri="{FF2B5EF4-FFF2-40B4-BE49-F238E27FC236}">
                  <a16:creationId xmlns:a16="http://schemas.microsoft.com/office/drawing/2014/main" xmlns="" id="{9EAF7A6A-5A3E-4D11-984C-CA5C6BA7AAC6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061" y="1405"/>
              <a:ext cx="1637" cy="150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6" name="Freeform 27">
              <a:extLst>
                <a:ext uri="{FF2B5EF4-FFF2-40B4-BE49-F238E27FC236}">
                  <a16:creationId xmlns:a16="http://schemas.microsoft.com/office/drawing/2014/main" xmlns="" id="{F8C61112-6E7A-4510-BE76-92B62F729744}"/>
                </a:ext>
              </a:extLst>
            </p:cNvPr>
            <p:cNvSpPr>
              <a:spLocks/>
            </p:cNvSpPr>
            <p:nvPr/>
          </p:nvSpPr>
          <p:spPr bwMode="auto">
            <a:xfrm>
              <a:off x="2063" y="1405"/>
              <a:ext cx="1644" cy="1509"/>
            </a:xfrm>
            <a:custGeom>
              <a:avLst/>
              <a:gdLst>
                <a:gd name="T0" fmla="*/ 686 w 696"/>
                <a:gd name="T1" fmla="*/ 293 h 639"/>
                <a:gd name="T2" fmla="*/ 680 w 696"/>
                <a:gd name="T3" fmla="*/ 318 h 639"/>
                <a:gd name="T4" fmla="*/ 655 w 696"/>
                <a:gd name="T5" fmla="*/ 312 h 639"/>
                <a:gd name="T6" fmla="*/ 585 w 696"/>
                <a:gd name="T7" fmla="*/ 295 h 639"/>
                <a:gd name="T8" fmla="*/ 555 w 696"/>
                <a:gd name="T9" fmla="*/ 421 h 639"/>
                <a:gd name="T10" fmla="*/ 555 w 696"/>
                <a:gd name="T11" fmla="*/ 422 h 639"/>
                <a:gd name="T12" fmla="*/ 554 w 696"/>
                <a:gd name="T13" fmla="*/ 424 h 639"/>
                <a:gd name="T14" fmla="*/ 511 w 696"/>
                <a:gd name="T15" fmla="*/ 602 h 639"/>
                <a:gd name="T16" fmla="*/ 505 w 696"/>
                <a:gd name="T17" fmla="*/ 626 h 639"/>
                <a:gd name="T18" fmla="*/ 481 w 696"/>
                <a:gd name="T19" fmla="*/ 620 h 639"/>
                <a:gd name="T20" fmla="*/ 350 w 696"/>
                <a:gd name="T21" fmla="*/ 589 h 639"/>
                <a:gd name="T22" fmla="*/ 332 w 696"/>
                <a:gd name="T23" fmla="*/ 584 h 639"/>
                <a:gd name="T24" fmla="*/ 332 w 696"/>
                <a:gd name="T25" fmla="*/ 584 h 639"/>
                <a:gd name="T26" fmla="*/ 256 w 696"/>
                <a:gd name="T27" fmla="*/ 622 h 639"/>
                <a:gd name="T28" fmla="*/ 222 w 696"/>
                <a:gd name="T29" fmla="*/ 639 h 639"/>
                <a:gd name="T30" fmla="*/ 205 w 696"/>
                <a:gd name="T31" fmla="*/ 605 h 639"/>
                <a:gd name="T32" fmla="*/ 13 w 696"/>
                <a:gd name="T33" fmla="*/ 220 h 639"/>
                <a:gd name="T34" fmla="*/ 0 w 696"/>
                <a:gd name="T35" fmla="*/ 194 h 639"/>
                <a:gd name="T36" fmla="*/ 34 w 696"/>
                <a:gd name="T37" fmla="*/ 177 h 639"/>
                <a:gd name="T38" fmla="*/ 364 w 696"/>
                <a:gd name="T39" fmla="*/ 13 h 639"/>
                <a:gd name="T40" fmla="*/ 390 w 696"/>
                <a:gd name="T41" fmla="*/ 0 h 639"/>
                <a:gd name="T42" fmla="*/ 401 w 696"/>
                <a:gd name="T43" fmla="*/ 24 h 639"/>
                <a:gd name="T44" fmla="*/ 427 w 696"/>
                <a:gd name="T45" fmla="*/ 72 h 639"/>
                <a:gd name="T46" fmla="*/ 489 w 696"/>
                <a:gd name="T47" fmla="*/ 59 h 639"/>
                <a:gd name="T48" fmla="*/ 502 w 696"/>
                <a:gd name="T49" fmla="*/ 59 h 639"/>
                <a:gd name="T50" fmla="*/ 531 w 696"/>
                <a:gd name="T51" fmla="*/ 61 h 639"/>
                <a:gd name="T52" fmla="*/ 524 w 696"/>
                <a:gd name="T53" fmla="*/ 90 h 639"/>
                <a:gd name="T54" fmla="*/ 512 w 696"/>
                <a:gd name="T55" fmla="*/ 143 h 639"/>
                <a:gd name="T56" fmla="*/ 541 w 696"/>
                <a:gd name="T57" fmla="*/ 150 h 639"/>
                <a:gd name="T58" fmla="*/ 554 w 696"/>
                <a:gd name="T59" fmla="*/ 97 h 639"/>
                <a:gd name="T60" fmla="*/ 561 w 696"/>
                <a:gd name="T61" fmla="*/ 68 h 639"/>
                <a:gd name="T62" fmla="*/ 588 w 696"/>
                <a:gd name="T63" fmla="*/ 80 h 639"/>
                <a:gd name="T64" fmla="*/ 676 w 696"/>
                <a:gd name="T65" fmla="*/ 167 h 639"/>
                <a:gd name="T66" fmla="*/ 686 w 696"/>
                <a:gd name="T67" fmla="*/ 293 h 6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696" h="639">
                  <a:moveTo>
                    <a:pt x="686" y="293"/>
                  </a:moveTo>
                  <a:cubicBezTo>
                    <a:pt x="680" y="318"/>
                    <a:pt x="680" y="318"/>
                    <a:pt x="680" y="318"/>
                  </a:cubicBezTo>
                  <a:cubicBezTo>
                    <a:pt x="655" y="312"/>
                    <a:pt x="655" y="312"/>
                    <a:pt x="655" y="312"/>
                  </a:cubicBezTo>
                  <a:cubicBezTo>
                    <a:pt x="585" y="295"/>
                    <a:pt x="585" y="295"/>
                    <a:pt x="585" y="295"/>
                  </a:cubicBezTo>
                  <a:cubicBezTo>
                    <a:pt x="555" y="421"/>
                    <a:pt x="555" y="421"/>
                    <a:pt x="555" y="421"/>
                  </a:cubicBezTo>
                  <a:cubicBezTo>
                    <a:pt x="555" y="422"/>
                    <a:pt x="555" y="422"/>
                    <a:pt x="555" y="422"/>
                  </a:cubicBezTo>
                  <a:cubicBezTo>
                    <a:pt x="554" y="424"/>
                    <a:pt x="554" y="424"/>
                    <a:pt x="554" y="424"/>
                  </a:cubicBezTo>
                  <a:cubicBezTo>
                    <a:pt x="511" y="602"/>
                    <a:pt x="511" y="602"/>
                    <a:pt x="511" y="602"/>
                  </a:cubicBezTo>
                  <a:cubicBezTo>
                    <a:pt x="505" y="626"/>
                    <a:pt x="505" y="626"/>
                    <a:pt x="505" y="626"/>
                  </a:cubicBezTo>
                  <a:cubicBezTo>
                    <a:pt x="481" y="620"/>
                    <a:pt x="481" y="620"/>
                    <a:pt x="481" y="620"/>
                  </a:cubicBezTo>
                  <a:cubicBezTo>
                    <a:pt x="350" y="589"/>
                    <a:pt x="350" y="589"/>
                    <a:pt x="350" y="589"/>
                  </a:cubicBezTo>
                  <a:cubicBezTo>
                    <a:pt x="332" y="584"/>
                    <a:pt x="332" y="584"/>
                    <a:pt x="332" y="584"/>
                  </a:cubicBezTo>
                  <a:cubicBezTo>
                    <a:pt x="332" y="584"/>
                    <a:pt x="332" y="584"/>
                    <a:pt x="332" y="584"/>
                  </a:cubicBezTo>
                  <a:cubicBezTo>
                    <a:pt x="256" y="622"/>
                    <a:pt x="256" y="622"/>
                    <a:pt x="256" y="622"/>
                  </a:cubicBezTo>
                  <a:cubicBezTo>
                    <a:pt x="222" y="639"/>
                    <a:pt x="222" y="639"/>
                    <a:pt x="222" y="639"/>
                  </a:cubicBezTo>
                  <a:cubicBezTo>
                    <a:pt x="205" y="605"/>
                    <a:pt x="205" y="605"/>
                    <a:pt x="205" y="605"/>
                  </a:cubicBezTo>
                  <a:cubicBezTo>
                    <a:pt x="13" y="220"/>
                    <a:pt x="13" y="220"/>
                    <a:pt x="13" y="220"/>
                  </a:cubicBezTo>
                  <a:cubicBezTo>
                    <a:pt x="0" y="194"/>
                    <a:pt x="0" y="194"/>
                    <a:pt x="0" y="194"/>
                  </a:cubicBezTo>
                  <a:cubicBezTo>
                    <a:pt x="34" y="177"/>
                    <a:pt x="34" y="177"/>
                    <a:pt x="34" y="177"/>
                  </a:cubicBezTo>
                  <a:cubicBezTo>
                    <a:pt x="364" y="13"/>
                    <a:pt x="364" y="13"/>
                    <a:pt x="364" y="13"/>
                  </a:cubicBezTo>
                  <a:cubicBezTo>
                    <a:pt x="390" y="0"/>
                    <a:pt x="390" y="0"/>
                    <a:pt x="390" y="0"/>
                  </a:cubicBezTo>
                  <a:cubicBezTo>
                    <a:pt x="401" y="24"/>
                    <a:pt x="401" y="24"/>
                    <a:pt x="401" y="24"/>
                  </a:cubicBezTo>
                  <a:cubicBezTo>
                    <a:pt x="427" y="72"/>
                    <a:pt x="427" y="72"/>
                    <a:pt x="427" y="72"/>
                  </a:cubicBezTo>
                  <a:cubicBezTo>
                    <a:pt x="446" y="65"/>
                    <a:pt x="453" y="59"/>
                    <a:pt x="489" y="59"/>
                  </a:cubicBezTo>
                  <a:cubicBezTo>
                    <a:pt x="493" y="59"/>
                    <a:pt x="498" y="59"/>
                    <a:pt x="502" y="59"/>
                  </a:cubicBezTo>
                  <a:cubicBezTo>
                    <a:pt x="531" y="61"/>
                    <a:pt x="531" y="61"/>
                    <a:pt x="531" y="61"/>
                  </a:cubicBezTo>
                  <a:cubicBezTo>
                    <a:pt x="524" y="90"/>
                    <a:pt x="524" y="90"/>
                    <a:pt x="524" y="90"/>
                  </a:cubicBezTo>
                  <a:cubicBezTo>
                    <a:pt x="512" y="143"/>
                    <a:pt x="512" y="143"/>
                    <a:pt x="512" y="143"/>
                  </a:cubicBezTo>
                  <a:cubicBezTo>
                    <a:pt x="541" y="150"/>
                    <a:pt x="541" y="150"/>
                    <a:pt x="541" y="150"/>
                  </a:cubicBezTo>
                  <a:cubicBezTo>
                    <a:pt x="554" y="97"/>
                    <a:pt x="554" y="97"/>
                    <a:pt x="554" y="97"/>
                  </a:cubicBezTo>
                  <a:cubicBezTo>
                    <a:pt x="561" y="68"/>
                    <a:pt x="561" y="68"/>
                    <a:pt x="561" y="68"/>
                  </a:cubicBezTo>
                  <a:cubicBezTo>
                    <a:pt x="588" y="80"/>
                    <a:pt x="588" y="80"/>
                    <a:pt x="588" y="80"/>
                  </a:cubicBezTo>
                  <a:cubicBezTo>
                    <a:pt x="629" y="97"/>
                    <a:pt x="659" y="128"/>
                    <a:pt x="676" y="167"/>
                  </a:cubicBezTo>
                  <a:cubicBezTo>
                    <a:pt x="693" y="205"/>
                    <a:pt x="696" y="249"/>
                    <a:pt x="686" y="29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7" name="Freeform 28">
              <a:extLst>
                <a:ext uri="{FF2B5EF4-FFF2-40B4-BE49-F238E27FC236}">
                  <a16:creationId xmlns:a16="http://schemas.microsoft.com/office/drawing/2014/main" xmlns="" id="{A86388D0-0748-4215-ADC2-DA096A1C076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77" y="1518"/>
              <a:ext cx="1493" cy="1299"/>
            </a:xfrm>
            <a:custGeom>
              <a:avLst/>
              <a:gdLst>
                <a:gd name="T0" fmla="*/ 277 w 632"/>
                <a:gd name="T1" fmla="*/ 131 h 550"/>
                <a:gd name="T2" fmla="*/ 349 w 632"/>
                <a:gd name="T3" fmla="*/ 39 h 550"/>
                <a:gd name="T4" fmla="*/ 0 w 632"/>
                <a:gd name="T5" fmla="*/ 164 h 550"/>
                <a:gd name="T6" fmla="*/ 286 w 632"/>
                <a:gd name="T7" fmla="*/ 502 h 550"/>
                <a:gd name="T8" fmla="*/ 264 w 632"/>
                <a:gd name="T9" fmla="*/ 181 h 550"/>
                <a:gd name="T10" fmla="*/ 316 w 632"/>
                <a:gd name="T11" fmla="*/ 49 h 550"/>
                <a:gd name="T12" fmla="*/ 286 w 632"/>
                <a:gd name="T13" fmla="*/ 65 h 550"/>
                <a:gd name="T14" fmla="*/ 74 w 632"/>
                <a:gd name="T15" fmla="*/ 198 h 550"/>
                <a:gd name="T16" fmla="*/ 59 w 632"/>
                <a:gd name="T17" fmla="*/ 168 h 550"/>
                <a:gd name="T18" fmla="*/ 74 w 632"/>
                <a:gd name="T19" fmla="*/ 198 h 550"/>
                <a:gd name="T20" fmla="*/ 89 w 632"/>
                <a:gd name="T21" fmla="*/ 266 h 550"/>
                <a:gd name="T22" fmla="*/ 120 w 632"/>
                <a:gd name="T23" fmla="*/ 251 h 550"/>
                <a:gd name="T24" fmla="*/ 150 w 632"/>
                <a:gd name="T25" fmla="*/ 349 h 550"/>
                <a:gd name="T26" fmla="*/ 134 w 632"/>
                <a:gd name="T27" fmla="*/ 319 h 550"/>
                <a:gd name="T28" fmla="*/ 150 w 632"/>
                <a:gd name="T29" fmla="*/ 349 h 550"/>
                <a:gd name="T30" fmla="*/ 129 w 632"/>
                <a:gd name="T31" fmla="*/ 152 h 550"/>
                <a:gd name="T32" fmla="*/ 160 w 632"/>
                <a:gd name="T33" fmla="*/ 136 h 550"/>
                <a:gd name="T34" fmla="*/ 187 w 632"/>
                <a:gd name="T35" fmla="*/ 425 h 550"/>
                <a:gd name="T36" fmla="*/ 172 w 632"/>
                <a:gd name="T37" fmla="*/ 394 h 550"/>
                <a:gd name="T38" fmla="*/ 187 w 632"/>
                <a:gd name="T39" fmla="*/ 425 h 550"/>
                <a:gd name="T40" fmla="*/ 201 w 632"/>
                <a:gd name="T41" fmla="*/ 482 h 550"/>
                <a:gd name="T42" fmla="*/ 232 w 632"/>
                <a:gd name="T43" fmla="*/ 466 h 550"/>
                <a:gd name="T44" fmla="*/ 231 w 632"/>
                <a:gd name="T45" fmla="*/ 111 h 550"/>
                <a:gd name="T46" fmla="*/ 215 w 632"/>
                <a:gd name="T47" fmla="*/ 80 h 550"/>
                <a:gd name="T48" fmla="*/ 231 w 632"/>
                <a:gd name="T49" fmla="*/ 111 h 550"/>
                <a:gd name="T50" fmla="*/ 309 w 632"/>
                <a:gd name="T51" fmla="*/ 516 h 550"/>
                <a:gd name="T52" fmla="*/ 464 w 632"/>
                <a:gd name="T53" fmla="*/ 446 h 550"/>
                <a:gd name="T54" fmla="*/ 356 w 632"/>
                <a:gd name="T55" fmla="*/ 323 h 550"/>
                <a:gd name="T56" fmla="*/ 478 w 632"/>
                <a:gd name="T57" fmla="*/ 388 h 550"/>
                <a:gd name="T58" fmla="*/ 356 w 632"/>
                <a:gd name="T59" fmla="*/ 323 h 550"/>
                <a:gd name="T60" fmla="*/ 512 w 632"/>
                <a:gd name="T61" fmla="*/ 132 h 550"/>
                <a:gd name="T62" fmla="*/ 453 w 632"/>
                <a:gd name="T63" fmla="*/ 36 h 550"/>
                <a:gd name="T64" fmla="*/ 295 w 632"/>
                <a:gd name="T65" fmla="*/ 162 h 550"/>
                <a:gd name="T66" fmla="*/ 371 w 632"/>
                <a:gd name="T67" fmla="*/ 261 h 550"/>
                <a:gd name="T68" fmla="*/ 520 w 632"/>
                <a:gd name="T69" fmla="*/ 217 h 550"/>
                <a:gd name="T70" fmla="*/ 531 w 632"/>
                <a:gd name="T71" fmla="*/ 55 h 5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632" h="550">
                  <a:moveTo>
                    <a:pt x="264" y="181"/>
                  </a:moveTo>
                  <a:cubicBezTo>
                    <a:pt x="264" y="181"/>
                    <a:pt x="268" y="156"/>
                    <a:pt x="277" y="131"/>
                  </a:cubicBezTo>
                  <a:cubicBezTo>
                    <a:pt x="284" y="113"/>
                    <a:pt x="303" y="83"/>
                    <a:pt x="311" y="73"/>
                  </a:cubicBezTo>
                  <a:cubicBezTo>
                    <a:pt x="325" y="53"/>
                    <a:pt x="349" y="39"/>
                    <a:pt x="349" y="39"/>
                  </a:cubicBezTo>
                  <a:cubicBezTo>
                    <a:pt x="330" y="0"/>
                    <a:pt x="330" y="0"/>
                    <a:pt x="330" y="0"/>
                  </a:cubicBezTo>
                  <a:cubicBezTo>
                    <a:pt x="0" y="164"/>
                    <a:pt x="0" y="164"/>
                    <a:pt x="0" y="164"/>
                  </a:cubicBezTo>
                  <a:cubicBezTo>
                    <a:pt x="192" y="550"/>
                    <a:pt x="192" y="550"/>
                    <a:pt x="192" y="550"/>
                  </a:cubicBezTo>
                  <a:cubicBezTo>
                    <a:pt x="286" y="502"/>
                    <a:pt x="286" y="502"/>
                    <a:pt x="286" y="502"/>
                  </a:cubicBezTo>
                  <a:cubicBezTo>
                    <a:pt x="359" y="204"/>
                    <a:pt x="359" y="204"/>
                    <a:pt x="359" y="204"/>
                  </a:cubicBezTo>
                  <a:lnTo>
                    <a:pt x="264" y="181"/>
                  </a:lnTo>
                  <a:close/>
                  <a:moveTo>
                    <a:pt x="293" y="42"/>
                  </a:moveTo>
                  <a:cubicBezTo>
                    <a:pt x="302" y="37"/>
                    <a:pt x="312" y="41"/>
                    <a:pt x="316" y="49"/>
                  </a:cubicBezTo>
                  <a:cubicBezTo>
                    <a:pt x="321" y="58"/>
                    <a:pt x="317" y="68"/>
                    <a:pt x="309" y="72"/>
                  </a:cubicBezTo>
                  <a:cubicBezTo>
                    <a:pt x="300" y="77"/>
                    <a:pt x="290" y="73"/>
                    <a:pt x="286" y="65"/>
                  </a:cubicBezTo>
                  <a:cubicBezTo>
                    <a:pt x="281" y="56"/>
                    <a:pt x="285" y="46"/>
                    <a:pt x="293" y="42"/>
                  </a:cubicBezTo>
                  <a:close/>
                  <a:moveTo>
                    <a:pt x="74" y="198"/>
                  </a:moveTo>
                  <a:cubicBezTo>
                    <a:pt x="66" y="203"/>
                    <a:pt x="56" y="199"/>
                    <a:pt x="51" y="191"/>
                  </a:cubicBezTo>
                  <a:cubicBezTo>
                    <a:pt x="47" y="182"/>
                    <a:pt x="51" y="172"/>
                    <a:pt x="59" y="168"/>
                  </a:cubicBezTo>
                  <a:cubicBezTo>
                    <a:pt x="68" y="163"/>
                    <a:pt x="78" y="167"/>
                    <a:pt x="82" y="175"/>
                  </a:cubicBezTo>
                  <a:cubicBezTo>
                    <a:pt x="86" y="184"/>
                    <a:pt x="83" y="194"/>
                    <a:pt x="74" y="198"/>
                  </a:cubicBezTo>
                  <a:close/>
                  <a:moveTo>
                    <a:pt x="112" y="274"/>
                  </a:moveTo>
                  <a:cubicBezTo>
                    <a:pt x="104" y="278"/>
                    <a:pt x="93" y="275"/>
                    <a:pt x="89" y="266"/>
                  </a:cubicBezTo>
                  <a:cubicBezTo>
                    <a:pt x="85" y="258"/>
                    <a:pt x="88" y="247"/>
                    <a:pt x="97" y="243"/>
                  </a:cubicBezTo>
                  <a:cubicBezTo>
                    <a:pt x="105" y="239"/>
                    <a:pt x="116" y="242"/>
                    <a:pt x="120" y="251"/>
                  </a:cubicBezTo>
                  <a:cubicBezTo>
                    <a:pt x="124" y="259"/>
                    <a:pt x="121" y="270"/>
                    <a:pt x="112" y="274"/>
                  </a:cubicBezTo>
                  <a:close/>
                  <a:moveTo>
                    <a:pt x="150" y="349"/>
                  </a:moveTo>
                  <a:cubicBezTo>
                    <a:pt x="141" y="354"/>
                    <a:pt x="131" y="350"/>
                    <a:pt x="127" y="342"/>
                  </a:cubicBezTo>
                  <a:cubicBezTo>
                    <a:pt x="122" y="333"/>
                    <a:pt x="126" y="323"/>
                    <a:pt x="134" y="319"/>
                  </a:cubicBezTo>
                  <a:cubicBezTo>
                    <a:pt x="143" y="314"/>
                    <a:pt x="153" y="318"/>
                    <a:pt x="157" y="326"/>
                  </a:cubicBezTo>
                  <a:cubicBezTo>
                    <a:pt x="162" y="335"/>
                    <a:pt x="158" y="345"/>
                    <a:pt x="150" y="349"/>
                  </a:cubicBezTo>
                  <a:close/>
                  <a:moveTo>
                    <a:pt x="153" y="159"/>
                  </a:moveTo>
                  <a:cubicBezTo>
                    <a:pt x="144" y="164"/>
                    <a:pt x="134" y="160"/>
                    <a:pt x="129" y="152"/>
                  </a:cubicBezTo>
                  <a:cubicBezTo>
                    <a:pt x="125" y="143"/>
                    <a:pt x="129" y="133"/>
                    <a:pt x="137" y="129"/>
                  </a:cubicBezTo>
                  <a:cubicBezTo>
                    <a:pt x="146" y="124"/>
                    <a:pt x="156" y="128"/>
                    <a:pt x="160" y="136"/>
                  </a:cubicBezTo>
                  <a:cubicBezTo>
                    <a:pt x="164" y="145"/>
                    <a:pt x="161" y="155"/>
                    <a:pt x="153" y="159"/>
                  </a:cubicBezTo>
                  <a:close/>
                  <a:moveTo>
                    <a:pt x="187" y="425"/>
                  </a:moveTo>
                  <a:cubicBezTo>
                    <a:pt x="179" y="429"/>
                    <a:pt x="168" y="426"/>
                    <a:pt x="164" y="417"/>
                  </a:cubicBezTo>
                  <a:cubicBezTo>
                    <a:pt x="160" y="409"/>
                    <a:pt x="163" y="398"/>
                    <a:pt x="172" y="394"/>
                  </a:cubicBezTo>
                  <a:cubicBezTo>
                    <a:pt x="180" y="390"/>
                    <a:pt x="191" y="393"/>
                    <a:pt x="195" y="402"/>
                  </a:cubicBezTo>
                  <a:cubicBezTo>
                    <a:pt x="199" y="410"/>
                    <a:pt x="196" y="421"/>
                    <a:pt x="187" y="425"/>
                  </a:cubicBezTo>
                  <a:close/>
                  <a:moveTo>
                    <a:pt x="224" y="489"/>
                  </a:moveTo>
                  <a:cubicBezTo>
                    <a:pt x="216" y="494"/>
                    <a:pt x="205" y="490"/>
                    <a:pt x="201" y="482"/>
                  </a:cubicBezTo>
                  <a:cubicBezTo>
                    <a:pt x="197" y="473"/>
                    <a:pt x="200" y="463"/>
                    <a:pt x="209" y="459"/>
                  </a:cubicBezTo>
                  <a:cubicBezTo>
                    <a:pt x="217" y="454"/>
                    <a:pt x="228" y="458"/>
                    <a:pt x="232" y="466"/>
                  </a:cubicBezTo>
                  <a:cubicBezTo>
                    <a:pt x="236" y="475"/>
                    <a:pt x="233" y="485"/>
                    <a:pt x="224" y="489"/>
                  </a:cubicBezTo>
                  <a:close/>
                  <a:moveTo>
                    <a:pt x="231" y="111"/>
                  </a:moveTo>
                  <a:cubicBezTo>
                    <a:pt x="222" y="115"/>
                    <a:pt x="212" y="112"/>
                    <a:pt x="208" y="103"/>
                  </a:cubicBezTo>
                  <a:cubicBezTo>
                    <a:pt x="203" y="95"/>
                    <a:pt x="207" y="85"/>
                    <a:pt x="215" y="80"/>
                  </a:cubicBezTo>
                  <a:cubicBezTo>
                    <a:pt x="224" y="76"/>
                    <a:pt x="234" y="80"/>
                    <a:pt x="238" y="88"/>
                  </a:cubicBezTo>
                  <a:cubicBezTo>
                    <a:pt x="243" y="97"/>
                    <a:pt x="239" y="107"/>
                    <a:pt x="231" y="111"/>
                  </a:cubicBezTo>
                  <a:close/>
                  <a:moveTo>
                    <a:pt x="323" y="460"/>
                  </a:moveTo>
                  <a:cubicBezTo>
                    <a:pt x="309" y="516"/>
                    <a:pt x="309" y="516"/>
                    <a:pt x="309" y="516"/>
                  </a:cubicBezTo>
                  <a:cubicBezTo>
                    <a:pt x="440" y="548"/>
                    <a:pt x="440" y="548"/>
                    <a:pt x="440" y="548"/>
                  </a:cubicBezTo>
                  <a:cubicBezTo>
                    <a:pt x="464" y="446"/>
                    <a:pt x="464" y="446"/>
                    <a:pt x="464" y="446"/>
                  </a:cubicBezTo>
                  <a:lnTo>
                    <a:pt x="323" y="460"/>
                  </a:lnTo>
                  <a:close/>
                  <a:moveTo>
                    <a:pt x="356" y="323"/>
                  </a:moveTo>
                  <a:cubicBezTo>
                    <a:pt x="338" y="396"/>
                    <a:pt x="338" y="396"/>
                    <a:pt x="338" y="396"/>
                  </a:cubicBezTo>
                  <a:cubicBezTo>
                    <a:pt x="478" y="388"/>
                    <a:pt x="478" y="388"/>
                    <a:pt x="478" y="388"/>
                  </a:cubicBezTo>
                  <a:cubicBezTo>
                    <a:pt x="497" y="313"/>
                    <a:pt x="497" y="313"/>
                    <a:pt x="497" y="313"/>
                  </a:cubicBezTo>
                  <a:lnTo>
                    <a:pt x="356" y="323"/>
                  </a:lnTo>
                  <a:close/>
                  <a:moveTo>
                    <a:pt x="531" y="55"/>
                  </a:moveTo>
                  <a:cubicBezTo>
                    <a:pt x="512" y="132"/>
                    <a:pt x="512" y="132"/>
                    <a:pt x="512" y="132"/>
                  </a:cubicBezTo>
                  <a:cubicBezTo>
                    <a:pt x="434" y="113"/>
                    <a:pt x="434" y="113"/>
                    <a:pt x="434" y="113"/>
                  </a:cubicBezTo>
                  <a:cubicBezTo>
                    <a:pt x="453" y="36"/>
                    <a:pt x="453" y="36"/>
                    <a:pt x="453" y="36"/>
                  </a:cubicBezTo>
                  <a:cubicBezTo>
                    <a:pt x="449" y="36"/>
                    <a:pt x="446" y="36"/>
                    <a:pt x="442" y="36"/>
                  </a:cubicBezTo>
                  <a:cubicBezTo>
                    <a:pt x="370" y="36"/>
                    <a:pt x="314" y="88"/>
                    <a:pt x="295" y="162"/>
                  </a:cubicBezTo>
                  <a:cubicBezTo>
                    <a:pt x="389" y="185"/>
                    <a:pt x="389" y="185"/>
                    <a:pt x="389" y="185"/>
                  </a:cubicBezTo>
                  <a:cubicBezTo>
                    <a:pt x="371" y="261"/>
                    <a:pt x="371" y="261"/>
                    <a:pt x="371" y="261"/>
                  </a:cubicBezTo>
                  <a:cubicBezTo>
                    <a:pt x="511" y="255"/>
                    <a:pt x="511" y="255"/>
                    <a:pt x="511" y="255"/>
                  </a:cubicBezTo>
                  <a:cubicBezTo>
                    <a:pt x="520" y="217"/>
                    <a:pt x="520" y="217"/>
                    <a:pt x="520" y="217"/>
                  </a:cubicBezTo>
                  <a:cubicBezTo>
                    <a:pt x="614" y="239"/>
                    <a:pt x="614" y="239"/>
                    <a:pt x="614" y="239"/>
                  </a:cubicBezTo>
                  <a:cubicBezTo>
                    <a:pt x="632" y="161"/>
                    <a:pt x="603" y="86"/>
                    <a:pt x="531" y="55"/>
                  </a:cubicBez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58" name="Group 32">
            <a:extLst>
              <a:ext uri="{FF2B5EF4-FFF2-40B4-BE49-F238E27FC236}">
                <a16:creationId xmlns:a16="http://schemas.microsoft.com/office/drawing/2014/main" xmlns="" id="{EFA29452-97EE-4449-9AE2-E16D97C944A3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386306" y="278452"/>
            <a:ext cx="551589" cy="488386"/>
            <a:chOff x="2139" y="2305"/>
            <a:chExt cx="576" cy="510"/>
          </a:xfrm>
          <a:effectLst>
            <a:outerShdw blurRad="101600" dist="76200" dir="2700000" algn="ctr" rotWithShape="0">
              <a:srgbClr val="000000">
                <a:alpha val="29000"/>
              </a:srgbClr>
            </a:outerShdw>
          </a:effectLst>
        </p:grpSpPr>
        <p:sp>
          <p:nvSpPr>
            <p:cNvPr id="259" name="AutoShape 31">
              <a:extLst>
                <a:ext uri="{FF2B5EF4-FFF2-40B4-BE49-F238E27FC236}">
                  <a16:creationId xmlns:a16="http://schemas.microsoft.com/office/drawing/2014/main" xmlns="" id="{677B74E1-94BF-4A56-8867-1C4CE5A3237A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139" y="2305"/>
              <a:ext cx="576" cy="5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0" name="Freeform 33">
              <a:extLst>
                <a:ext uri="{FF2B5EF4-FFF2-40B4-BE49-F238E27FC236}">
                  <a16:creationId xmlns:a16="http://schemas.microsoft.com/office/drawing/2014/main" xmlns="" id="{2C6D04A3-77A7-4421-9AE2-893CC74C5792}"/>
                </a:ext>
              </a:extLst>
            </p:cNvPr>
            <p:cNvSpPr>
              <a:spLocks/>
            </p:cNvSpPr>
            <p:nvPr/>
          </p:nvSpPr>
          <p:spPr bwMode="auto">
            <a:xfrm>
              <a:off x="2139" y="2306"/>
              <a:ext cx="577" cy="510"/>
            </a:xfrm>
            <a:custGeom>
              <a:avLst/>
              <a:gdLst>
                <a:gd name="T0" fmla="*/ 627 w 628"/>
                <a:gd name="T1" fmla="*/ 151 h 555"/>
                <a:gd name="T2" fmla="*/ 597 w 628"/>
                <a:gd name="T3" fmla="*/ 222 h 555"/>
                <a:gd name="T4" fmla="*/ 482 w 628"/>
                <a:gd name="T5" fmla="*/ 268 h 555"/>
                <a:gd name="T6" fmla="*/ 440 w 628"/>
                <a:gd name="T7" fmla="*/ 317 h 555"/>
                <a:gd name="T8" fmla="*/ 404 w 628"/>
                <a:gd name="T9" fmla="*/ 358 h 555"/>
                <a:gd name="T10" fmla="*/ 415 w 628"/>
                <a:gd name="T11" fmla="*/ 419 h 555"/>
                <a:gd name="T12" fmla="*/ 339 w 628"/>
                <a:gd name="T13" fmla="*/ 432 h 555"/>
                <a:gd name="T14" fmla="*/ 334 w 628"/>
                <a:gd name="T15" fmla="*/ 437 h 555"/>
                <a:gd name="T16" fmla="*/ 294 w 628"/>
                <a:gd name="T17" fmla="*/ 483 h 555"/>
                <a:gd name="T18" fmla="*/ 256 w 628"/>
                <a:gd name="T19" fmla="*/ 527 h 555"/>
                <a:gd name="T20" fmla="*/ 250 w 628"/>
                <a:gd name="T21" fmla="*/ 532 h 555"/>
                <a:gd name="T22" fmla="*/ 230 w 628"/>
                <a:gd name="T23" fmla="*/ 547 h 555"/>
                <a:gd name="T24" fmla="*/ 228 w 628"/>
                <a:gd name="T25" fmla="*/ 548 h 555"/>
                <a:gd name="T26" fmla="*/ 225 w 628"/>
                <a:gd name="T27" fmla="*/ 550 h 555"/>
                <a:gd name="T28" fmla="*/ 222 w 628"/>
                <a:gd name="T29" fmla="*/ 551 h 555"/>
                <a:gd name="T30" fmla="*/ 198 w 628"/>
                <a:gd name="T31" fmla="*/ 555 h 555"/>
                <a:gd name="T32" fmla="*/ 174 w 628"/>
                <a:gd name="T33" fmla="*/ 551 h 555"/>
                <a:gd name="T34" fmla="*/ 155 w 628"/>
                <a:gd name="T35" fmla="*/ 543 h 555"/>
                <a:gd name="T36" fmla="*/ 121 w 628"/>
                <a:gd name="T37" fmla="*/ 498 h 555"/>
                <a:gd name="T38" fmla="*/ 120 w 628"/>
                <a:gd name="T39" fmla="*/ 495 h 555"/>
                <a:gd name="T40" fmla="*/ 120 w 628"/>
                <a:gd name="T41" fmla="*/ 494 h 555"/>
                <a:gd name="T42" fmla="*/ 123 w 628"/>
                <a:gd name="T43" fmla="*/ 471 h 555"/>
                <a:gd name="T44" fmla="*/ 123 w 628"/>
                <a:gd name="T45" fmla="*/ 471 h 555"/>
                <a:gd name="T46" fmla="*/ 75 w 628"/>
                <a:gd name="T47" fmla="*/ 479 h 555"/>
                <a:gd name="T48" fmla="*/ 0 w 628"/>
                <a:gd name="T49" fmla="*/ 63 h 555"/>
                <a:gd name="T50" fmla="*/ 58 w 628"/>
                <a:gd name="T51" fmla="*/ 53 h 555"/>
                <a:gd name="T52" fmla="*/ 57 w 628"/>
                <a:gd name="T53" fmla="*/ 51 h 555"/>
                <a:gd name="T54" fmla="*/ 95 w 628"/>
                <a:gd name="T55" fmla="*/ 45 h 555"/>
                <a:gd name="T56" fmla="*/ 101 w 628"/>
                <a:gd name="T57" fmla="*/ 37 h 555"/>
                <a:gd name="T58" fmla="*/ 109 w 628"/>
                <a:gd name="T59" fmla="*/ 29 h 555"/>
                <a:gd name="T60" fmla="*/ 114 w 628"/>
                <a:gd name="T61" fmla="*/ 25 h 555"/>
                <a:gd name="T62" fmla="*/ 165 w 628"/>
                <a:gd name="T63" fmla="*/ 2 h 555"/>
                <a:gd name="T64" fmla="*/ 187 w 628"/>
                <a:gd name="T65" fmla="*/ 1 h 555"/>
                <a:gd name="T66" fmla="*/ 215 w 628"/>
                <a:gd name="T67" fmla="*/ 4 h 555"/>
                <a:gd name="T68" fmla="*/ 232 w 628"/>
                <a:gd name="T69" fmla="*/ 10 h 555"/>
                <a:gd name="T70" fmla="*/ 242 w 628"/>
                <a:gd name="T71" fmla="*/ 16 h 555"/>
                <a:gd name="T72" fmla="*/ 244 w 628"/>
                <a:gd name="T73" fmla="*/ 18 h 555"/>
                <a:gd name="T74" fmla="*/ 283 w 628"/>
                <a:gd name="T75" fmla="*/ 11 h 555"/>
                <a:gd name="T76" fmla="*/ 283 w 628"/>
                <a:gd name="T77" fmla="*/ 12 h 555"/>
                <a:gd name="T78" fmla="*/ 340 w 628"/>
                <a:gd name="T79" fmla="*/ 2 h 555"/>
                <a:gd name="T80" fmla="*/ 363 w 628"/>
                <a:gd name="T81" fmla="*/ 129 h 555"/>
                <a:gd name="T82" fmla="*/ 417 w 628"/>
                <a:gd name="T83" fmla="*/ 29 h 555"/>
                <a:gd name="T84" fmla="*/ 509 w 628"/>
                <a:gd name="T85" fmla="*/ 4 h 555"/>
                <a:gd name="T86" fmla="*/ 522 w 628"/>
                <a:gd name="T87" fmla="*/ 7 h 555"/>
                <a:gd name="T88" fmla="*/ 524 w 628"/>
                <a:gd name="T89" fmla="*/ 8 h 555"/>
                <a:gd name="T90" fmla="*/ 557 w 628"/>
                <a:gd name="T91" fmla="*/ 19 h 555"/>
                <a:gd name="T92" fmla="*/ 531 w 628"/>
                <a:gd name="T93" fmla="*/ 50 h 555"/>
                <a:gd name="T94" fmla="*/ 523 w 628"/>
                <a:gd name="T95" fmla="*/ 59 h 555"/>
                <a:gd name="T96" fmla="*/ 512 w 628"/>
                <a:gd name="T97" fmla="*/ 72 h 555"/>
                <a:gd name="T98" fmla="*/ 487 w 628"/>
                <a:gd name="T99" fmla="*/ 101 h 555"/>
                <a:gd name="T100" fmla="*/ 493 w 628"/>
                <a:gd name="T101" fmla="*/ 119 h 555"/>
                <a:gd name="T102" fmla="*/ 498 w 628"/>
                <a:gd name="T103" fmla="*/ 134 h 555"/>
                <a:gd name="T104" fmla="*/ 515 w 628"/>
                <a:gd name="T105" fmla="*/ 137 h 555"/>
                <a:gd name="T106" fmla="*/ 532 w 628"/>
                <a:gd name="T107" fmla="*/ 140 h 555"/>
                <a:gd name="T108" fmla="*/ 563 w 628"/>
                <a:gd name="T109" fmla="*/ 105 h 555"/>
                <a:gd name="T110" fmla="*/ 575 w 628"/>
                <a:gd name="T111" fmla="*/ 92 h 555"/>
                <a:gd name="T112" fmla="*/ 578 w 628"/>
                <a:gd name="T113" fmla="*/ 88 h 555"/>
                <a:gd name="T114" fmla="*/ 608 w 628"/>
                <a:gd name="T115" fmla="*/ 56 h 555"/>
                <a:gd name="T116" fmla="*/ 621 w 628"/>
                <a:gd name="T117" fmla="*/ 95 h 555"/>
                <a:gd name="T118" fmla="*/ 622 w 628"/>
                <a:gd name="T119" fmla="*/ 98 h 555"/>
                <a:gd name="T120" fmla="*/ 625 w 628"/>
                <a:gd name="T121" fmla="*/ 112 h 555"/>
                <a:gd name="T122" fmla="*/ 626 w 628"/>
                <a:gd name="T123" fmla="*/ 119 h 555"/>
                <a:gd name="T124" fmla="*/ 627 w 628"/>
                <a:gd name="T125" fmla="*/ 151 h 5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628" h="555">
                  <a:moveTo>
                    <a:pt x="627" y="151"/>
                  </a:moveTo>
                  <a:cubicBezTo>
                    <a:pt x="625" y="177"/>
                    <a:pt x="614" y="202"/>
                    <a:pt x="597" y="222"/>
                  </a:cubicBezTo>
                  <a:cubicBezTo>
                    <a:pt x="567" y="256"/>
                    <a:pt x="528" y="272"/>
                    <a:pt x="482" y="268"/>
                  </a:cubicBezTo>
                  <a:cubicBezTo>
                    <a:pt x="468" y="285"/>
                    <a:pt x="454" y="301"/>
                    <a:pt x="440" y="317"/>
                  </a:cubicBezTo>
                  <a:cubicBezTo>
                    <a:pt x="404" y="358"/>
                    <a:pt x="404" y="358"/>
                    <a:pt x="404" y="358"/>
                  </a:cubicBezTo>
                  <a:cubicBezTo>
                    <a:pt x="415" y="419"/>
                    <a:pt x="415" y="419"/>
                    <a:pt x="415" y="419"/>
                  </a:cubicBezTo>
                  <a:cubicBezTo>
                    <a:pt x="339" y="432"/>
                    <a:pt x="339" y="432"/>
                    <a:pt x="339" y="432"/>
                  </a:cubicBezTo>
                  <a:cubicBezTo>
                    <a:pt x="334" y="437"/>
                    <a:pt x="334" y="437"/>
                    <a:pt x="334" y="437"/>
                  </a:cubicBezTo>
                  <a:cubicBezTo>
                    <a:pt x="321" y="453"/>
                    <a:pt x="308" y="468"/>
                    <a:pt x="294" y="483"/>
                  </a:cubicBezTo>
                  <a:cubicBezTo>
                    <a:pt x="281" y="497"/>
                    <a:pt x="268" y="512"/>
                    <a:pt x="256" y="527"/>
                  </a:cubicBezTo>
                  <a:cubicBezTo>
                    <a:pt x="250" y="532"/>
                    <a:pt x="250" y="532"/>
                    <a:pt x="250" y="532"/>
                  </a:cubicBezTo>
                  <a:cubicBezTo>
                    <a:pt x="245" y="539"/>
                    <a:pt x="237" y="543"/>
                    <a:pt x="230" y="547"/>
                  </a:cubicBezTo>
                  <a:cubicBezTo>
                    <a:pt x="229" y="548"/>
                    <a:pt x="228" y="548"/>
                    <a:pt x="228" y="548"/>
                  </a:cubicBezTo>
                  <a:cubicBezTo>
                    <a:pt x="225" y="550"/>
                    <a:pt x="225" y="550"/>
                    <a:pt x="225" y="550"/>
                  </a:cubicBezTo>
                  <a:cubicBezTo>
                    <a:pt x="222" y="551"/>
                    <a:pt x="222" y="551"/>
                    <a:pt x="222" y="551"/>
                  </a:cubicBezTo>
                  <a:cubicBezTo>
                    <a:pt x="214" y="554"/>
                    <a:pt x="206" y="555"/>
                    <a:pt x="198" y="555"/>
                  </a:cubicBezTo>
                  <a:cubicBezTo>
                    <a:pt x="191" y="555"/>
                    <a:pt x="183" y="554"/>
                    <a:pt x="174" y="551"/>
                  </a:cubicBezTo>
                  <a:cubicBezTo>
                    <a:pt x="167" y="549"/>
                    <a:pt x="160" y="546"/>
                    <a:pt x="155" y="543"/>
                  </a:cubicBezTo>
                  <a:cubicBezTo>
                    <a:pt x="144" y="535"/>
                    <a:pt x="124" y="520"/>
                    <a:pt x="121" y="498"/>
                  </a:cubicBezTo>
                  <a:cubicBezTo>
                    <a:pt x="120" y="495"/>
                    <a:pt x="120" y="495"/>
                    <a:pt x="120" y="495"/>
                  </a:cubicBezTo>
                  <a:cubicBezTo>
                    <a:pt x="120" y="494"/>
                    <a:pt x="120" y="494"/>
                    <a:pt x="120" y="494"/>
                  </a:cubicBezTo>
                  <a:cubicBezTo>
                    <a:pt x="120" y="490"/>
                    <a:pt x="119" y="481"/>
                    <a:pt x="123" y="471"/>
                  </a:cubicBezTo>
                  <a:cubicBezTo>
                    <a:pt x="123" y="471"/>
                    <a:pt x="123" y="471"/>
                    <a:pt x="123" y="471"/>
                  </a:cubicBezTo>
                  <a:cubicBezTo>
                    <a:pt x="75" y="479"/>
                    <a:pt x="75" y="479"/>
                    <a:pt x="75" y="479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58" y="53"/>
                    <a:pt x="58" y="53"/>
                    <a:pt x="58" y="53"/>
                  </a:cubicBezTo>
                  <a:cubicBezTo>
                    <a:pt x="57" y="51"/>
                    <a:pt x="57" y="51"/>
                    <a:pt x="57" y="51"/>
                  </a:cubicBezTo>
                  <a:cubicBezTo>
                    <a:pt x="95" y="45"/>
                    <a:pt x="95" y="45"/>
                    <a:pt x="95" y="45"/>
                  </a:cubicBezTo>
                  <a:cubicBezTo>
                    <a:pt x="97" y="42"/>
                    <a:pt x="99" y="40"/>
                    <a:pt x="101" y="37"/>
                  </a:cubicBezTo>
                  <a:cubicBezTo>
                    <a:pt x="103" y="35"/>
                    <a:pt x="106" y="32"/>
                    <a:pt x="109" y="29"/>
                  </a:cubicBezTo>
                  <a:cubicBezTo>
                    <a:pt x="111" y="28"/>
                    <a:pt x="112" y="26"/>
                    <a:pt x="114" y="25"/>
                  </a:cubicBezTo>
                  <a:cubicBezTo>
                    <a:pt x="128" y="14"/>
                    <a:pt x="146" y="6"/>
                    <a:pt x="165" y="2"/>
                  </a:cubicBezTo>
                  <a:cubicBezTo>
                    <a:pt x="172" y="1"/>
                    <a:pt x="180" y="0"/>
                    <a:pt x="187" y="1"/>
                  </a:cubicBezTo>
                  <a:cubicBezTo>
                    <a:pt x="197" y="1"/>
                    <a:pt x="206" y="2"/>
                    <a:pt x="215" y="4"/>
                  </a:cubicBezTo>
                  <a:cubicBezTo>
                    <a:pt x="221" y="6"/>
                    <a:pt x="227" y="8"/>
                    <a:pt x="232" y="10"/>
                  </a:cubicBezTo>
                  <a:cubicBezTo>
                    <a:pt x="235" y="12"/>
                    <a:pt x="239" y="14"/>
                    <a:pt x="242" y="16"/>
                  </a:cubicBezTo>
                  <a:cubicBezTo>
                    <a:pt x="243" y="17"/>
                    <a:pt x="244" y="17"/>
                    <a:pt x="244" y="18"/>
                  </a:cubicBezTo>
                  <a:cubicBezTo>
                    <a:pt x="283" y="11"/>
                    <a:pt x="283" y="11"/>
                    <a:pt x="283" y="11"/>
                  </a:cubicBezTo>
                  <a:cubicBezTo>
                    <a:pt x="283" y="12"/>
                    <a:pt x="283" y="12"/>
                    <a:pt x="283" y="12"/>
                  </a:cubicBezTo>
                  <a:cubicBezTo>
                    <a:pt x="340" y="2"/>
                    <a:pt x="340" y="2"/>
                    <a:pt x="340" y="2"/>
                  </a:cubicBezTo>
                  <a:cubicBezTo>
                    <a:pt x="363" y="129"/>
                    <a:pt x="363" y="129"/>
                    <a:pt x="363" y="129"/>
                  </a:cubicBezTo>
                  <a:cubicBezTo>
                    <a:pt x="365" y="90"/>
                    <a:pt x="384" y="53"/>
                    <a:pt x="417" y="29"/>
                  </a:cubicBezTo>
                  <a:cubicBezTo>
                    <a:pt x="450" y="5"/>
                    <a:pt x="485" y="3"/>
                    <a:pt x="509" y="4"/>
                  </a:cubicBezTo>
                  <a:cubicBezTo>
                    <a:pt x="515" y="4"/>
                    <a:pt x="519" y="6"/>
                    <a:pt x="522" y="7"/>
                  </a:cubicBezTo>
                  <a:cubicBezTo>
                    <a:pt x="523" y="8"/>
                    <a:pt x="523" y="8"/>
                    <a:pt x="524" y="8"/>
                  </a:cubicBezTo>
                  <a:cubicBezTo>
                    <a:pt x="557" y="19"/>
                    <a:pt x="557" y="19"/>
                    <a:pt x="557" y="19"/>
                  </a:cubicBezTo>
                  <a:cubicBezTo>
                    <a:pt x="531" y="50"/>
                    <a:pt x="531" y="50"/>
                    <a:pt x="531" y="50"/>
                  </a:cubicBezTo>
                  <a:cubicBezTo>
                    <a:pt x="528" y="53"/>
                    <a:pt x="526" y="56"/>
                    <a:pt x="523" y="59"/>
                  </a:cubicBezTo>
                  <a:cubicBezTo>
                    <a:pt x="512" y="72"/>
                    <a:pt x="512" y="72"/>
                    <a:pt x="512" y="72"/>
                  </a:cubicBezTo>
                  <a:cubicBezTo>
                    <a:pt x="504" y="82"/>
                    <a:pt x="495" y="91"/>
                    <a:pt x="487" y="101"/>
                  </a:cubicBezTo>
                  <a:cubicBezTo>
                    <a:pt x="489" y="107"/>
                    <a:pt x="491" y="113"/>
                    <a:pt x="493" y="119"/>
                  </a:cubicBezTo>
                  <a:cubicBezTo>
                    <a:pt x="495" y="124"/>
                    <a:pt x="496" y="129"/>
                    <a:pt x="498" y="134"/>
                  </a:cubicBezTo>
                  <a:cubicBezTo>
                    <a:pt x="504" y="135"/>
                    <a:pt x="509" y="136"/>
                    <a:pt x="515" y="137"/>
                  </a:cubicBezTo>
                  <a:cubicBezTo>
                    <a:pt x="520" y="138"/>
                    <a:pt x="526" y="139"/>
                    <a:pt x="532" y="140"/>
                  </a:cubicBezTo>
                  <a:cubicBezTo>
                    <a:pt x="542" y="129"/>
                    <a:pt x="552" y="117"/>
                    <a:pt x="563" y="105"/>
                  </a:cubicBezTo>
                  <a:cubicBezTo>
                    <a:pt x="575" y="92"/>
                    <a:pt x="575" y="92"/>
                    <a:pt x="575" y="92"/>
                  </a:cubicBezTo>
                  <a:cubicBezTo>
                    <a:pt x="576" y="90"/>
                    <a:pt x="577" y="89"/>
                    <a:pt x="578" y="88"/>
                  </a:cubicBezTo>
                  <a:cubicBezTo>
                    <a:pt x="608" y="56"/>
                    <a:pt x="608" y="56"/>
                    <a:pt x="608" y="56"/>
                  </a:cubicBezTo>
                  <a:cubicBezTo>
                    <a:pt x="621" y="95"/>
                    <a:pt x="621" y="95"/>
                    <a:pt x="621" y="95"/>
                  </a:cubicBezTo>
                  <a:cubicBezTo>
                    <a:pt x="621" y="96"/>
                    <a:pt x="621" y="97"/>
                    <a:pt x="622" y="98"/>
                  </a:cubicBezTo>
                  <a:cubicBezTo>
                    <a:pt x="623" y="101"/>
                    <a:pt x="625" y="106"/>
                    <a:pt x="625" y="112"/>
                  </a:cubicBezTo>
                  <a:cubicBezTo>
                    <a:pt x="626" y="114"/>
                    <a:pt x="626" y="117"/>
                    <a:pt x="626" y="119"/>
                  </a:cubicBezTo>
                  <a:cubicBezTo>
                    <a:pt x="627" y="129"/>
                    <a:pt x="628" y="140"/>
                    <a:pt x="627" y="15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1" name="Freeform 34">
              <a:extLst>
                <a:ext uri="{FF2B5EF4-FFF2-40B4-BE49-F238E27FC236}">
                  <a16:creationId xmlns:a16="http://schemas.microsoft.com/office/drawing/2014/main" xmlns="" id="{97AA2C45-7F84-49A9-8E80-7A3B7C157CB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65" y="2328"/>
              <a:ext cx="529" cy="468"/>
            </a:xfrm>
            <a:custGeom>
              <a:avLst/>
              <a:gdLst>
                <a:gd name="T0" fmla="*/ 235 w 576"/>
                <a:gd name="T1" fmla="*/ 15 h 509"/>
                <a:gd name="T2" fmla="*/ 203 w 576"/>
                <a:gd name="T3" fmla="*/ 14 h 509"/>
                <a:gd name="T4" fmla="*/ 194 w 576"/>
                <a:gd name="T5" fmla="*/ 8 h 509"/>
                <a:gd name="T6" fmla="*/ 159 w 576"/>
                <a:gd name="T7" fmla="*/ 1 h 509"/>
                <a:gd name="T8" fmla="*/ 101 w 576"/>
                <a:gd name="T9" fmla="*/ 20 h 509"/>
                <a:gd name="T10" fmla="*/ 91 w 576"/>
                <a:gd name="T11" fmla="*/ 29 h 509"/>
                <a:gd name="T12" fmla="*/ 57 w 576"/>
                <a:gd name="T13" fmla="*/ 47 h 509"/>
                <a:gd name="T14" fmla="*/ 62 w 576"/>
                <a:gd name="T15" fmla="*/ 72 h 509"/>
                <a:gd name="T16" fmla="*/ 237 w 576"/>
                <a:gd name="T17" fmla="*/ 26 h 509"/>
                <a:gd name="T18" fmla="*/ 150 w 576"/>
                <a:gd name="T19" fmla="*/ 31 h 509"/>
                <a:gd name="T20" fmla="*/ 143 w 576"/>
                <a:gd name="T21" fmla="*/ 32 h 509"/>
                <a:gd name="T22" fmla="*/ 138 w 576"/>
                <a:gd name="T23" fmla="*/ 29 h 509"/>
                <a:gd name="T24" fmla="*/ 139 w 576"/>
                <a:gd name="T25" fmla="*/ 17 h 509"/>
                <a:gd name="T26" fmla="*/ 147 w 576"/>
                <a:gd name="T27" fmla="*/ 15 h 509"/>
                <a:gd name="T28" fmla="*/ 152 w 576"/>
                <a:gd name="T29" fmla="*/ 19 h 509"/>
                <a:gd name="T30" fmla="*/ 154 w 576"/>
                <a:gd name="T31" fmla="*/ 24 h 509"/>
                <a:gd name="T32" fmla="*/ 573 w 576"/>
                <a:gd name="T33" fmla="*/ 90 h 509"/>
                <a:gd name="T34" fmla="*/ 565 w 576"/>
                <a:gd name="T35" fmla="*/ 83 h 509"/>
                <a:gd name="T36" fmla="*/ 507 w 576"/>
                <a:gd name="T37" fmla="*/ 142 h 509"/>
                <a:gd name="T38" fmla="*/ 450 w 576"/>
                <a:gd name="T39" fmla="*/ 125 h 509"/>
                <a:gd name="T40" fmla="*/ 435 w 576"/>
                <a:gd name="T41" fmla="*/ 68 h 509"/>
                <a:gd name="T42" fmla="*/ 488 w 576"/>
                <a:gd name="T43" fmla="*/ 7 h 509"/>
                <a:gd name="T44" fmla="*/ 404 w 576"/>
                <a:gd name="T45" fmla="*/ 24 h 509"/>
                <a:gd name="T46" fmla="*/ 362 w 576"/>
                <a:gd name="T47" fmla="*/ 158 h 509"/>
                <a:gd name="T48" fmla="*/ 293 w 576"/>
                <a:gd name="T49" fmla="*/ 6 h 509"/>
                <a:gd name="T50" fmla="*/ 245 w 576"/>
                <a:gd name="T51" fmla="*/ 25 h 509"/>
                <a:gd name="T52" fmla="*/ 277 w 576"/>
                <a:gd name="T53" fmla="*/ 29 h 509"/>
                <a:gd name="T54" fmla="*/ 82 w 576"/>
                <a:gd name="T55" fmla="*/ 404 h 509"/>
                <a:gd name="T56" fmla="*/ 51 w 576"/>
                <a:gd name="T57" fmla="*/ 70 h 509"/>
                <a:gd name="T58" fmla="*/ 47 w 576"/>
                <a:gd name="T59" fmla="*/ 50 h 509"/>
                <a:gd name="T60" fmla="*/ 66 w 576"/>
                <a:gd name="T61" fmla="*/ 428 h 509"/>
                <a:gd name="T62" fmla="*/ 135 w 576"/>
                <a:gd name="T63" fmla="*/ 415 h 509"/>
                <a:gd name="T64" fmla="*/ 116 w 576"/>
                <a:gd name="T65" fmla="*/ 470 h 509"/>
                <a:gd name="T66" fmla="*/ 153 w 576"/>
                <a:gd name="T67" fmla="*/ 504 h 509"/>
                <a:gd name="T68" fmla="*/ 204 w 576"/>
                <a:gd name="T69" fmla="*/ 492 h 509"/>
                <a:gd name="T70" fmla="*/ 298 w 576"/>
                <a:gd name="T71" fmla="*/ 386 h 509"/>
                <a:gd name="T72" fmla="*/ 350 w 576"/>
                <a:gd name="T73" fmla="*/ 327 h 509"/>
                <a:gd name="T74" fmla="*/ 442 w 576"/>
                <a:gd name="T75" fmla="*/ 223 h 509"/>
                <a:gd name="T76" fmla="*/ 551 w 576"/>
                <a:gd name="T77" fmla="*/ 182 h 509"/>
                <a:gd name="T78" fmla="*/ 573 w 576"/>
                <a:gd name="T79" fmla="*/ 90 h 509"/>
                <a:gd name="T80" fmla="*/ 141 w 576"/>
                <a:gd name="T81" fmla="*/ 462 h 509"/>
                <a:gd name="T82" fmla="*/ 180 w 576"/>
                <a:gd name="T83" fmla="*/ 460 h 509"/>
                <a:gd name="T84" fmla="*/ 237 w 576"/>
                <a:gd name="T85" fmla="*/ 355 h 509"/>
                <a:gd name="T86" fmla="*/ 211 w 576"/>
                <a:gd name="T87" fmla="*/ 311 h 509"/>
                <a:gd name="T88" fmla="*/ 228 w 576"/>
                <a:gd name="T89" fmla="*/ 323 h 509"/>
                <a:gd name="T90" fmla="*/ 248 w 576"/>
                <a:gd name="T91" fmla="*/ 268 h 509"/>
                <a:gd name="T92" fmla="*/ 279 w 576"/>
                <a:gd name="T93" fmla="*/ 245 h 509"/>
                <a:gd name="T94" fmla="*/ 286 w 576"/>
                <a:gd name="T95" fmla="*/ 248 h 509"/>
                <a:gd name="T96" fmla="*/ 238 w 576"/>
                <a:gd name="T97" fmla="*/ 354 h 509"/>
                <a:gd name="T98" fmla="*/ 263 w 576"/>
                <a:gd name="T99" fmla="*/ 89 h 509"/>
                <a:gd name="T100" fmla="*/ 54 w 576"/>
                <a:gd name="T101" fmla="*/ 111 h 509"/>
                <a:gd name="T102" fmla="*/ 263 w 576"/>
                <a:gd name="T103" fmla="*/ 89 h 509"/>
                <a:gd name="T104" fmla="*/ 63 w 576"/>
                <a:gd name="T105" fmla="*/ 158 h 509"/>
                <a:gd name="T106" fmla="*/ 266 w 576"/>
                <a:gd name="T107" fmla="*/ 106 h 509"/>
                <a:gd name="T108" fmla="*/ 274 w 576"/>
                <a:gd name="T109" fmla="*/ 153 h 509"/>
                <a:gd name="T110" fmla="*/ 66 w 576"/>
                <a:gd name="T111" fmla="*/ 175 h 509"/>
                <a:gd name="T112" fmla="*/ 274 w 576"/>
                <a:gd name="T113" fmla="*/ 153 h 509"/>
                <a:gd name="T114" fmla="*/ 74 w 576"/>
                <a:gd name="T115" fmla="*/ 222 h 509"/>
                <a:gd name="T116" fmla="*/ 278 w 576"/>
                <a:gd name="T117" fmla="*/ 171 h 509"/>
                <a:gd name="T118" fmla="*/ 286 w 576"/>
                <a:gd name="T119" fmla="*/ 218 h 509"/>
                <a:gd name="T120" fmla="*/ 77 w 576"/>
                <a:gd name="T121" fmla="*/ 240 h 509"/>
                <a:gd name="T122" fmla="*/ 286 w 576"/>
                <a:gd name="T123" fmla="*/ 218 h 5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576" h="509">
                  <a:moveTo>
                    <a:pt x="237" y="26"/>
                  </a:moveTo>
                  <a:cubicBezTo>
                    <a:pt x="235" y="15"/>
                    <a:pt x="235" y="15"/>
                    <a:pt x="235" y="15"/>
                  </a:cubicBezTo>
                  <a:cubicBezTo>
                    <a:pt x="208" y="20"/>
                    <a:pt x="208" y="20"/>
                    <a:pt x="208" y="20"/>
                  </a:cubicBezTo>
                  <a:cubicBezTo>
                    <a:pt x="207" y="18"/>
                    <a:pt x="205" y="16"/>
                    <a:pt x="203" y="14"/>
                  </a:cubicBezTo>
                  <a:cubicBezTo>
                    <a:pt x="202" y="13"/>
                    <a:pt x="201" y="12"/>
                    <a:pt x="200" y="12"/>
                  </a:cubicBezTo>
                  <a:cubicBezTo>
                    <a:pt x="198" y="11"/>
                    <a:pt x="196" y="9"/>
                    <a:pt x="194" y="8"/>
                  </a:cubicBezTo>
                  <a:cubicBezTo>
                    <a:pt x="190" y="6"/>
                    <a:pt x="185" y="5"/>
                    <a:pt x="181" y="3"/>
                  </a:cubicBezTo>
                  <a:cubicBezTo>
                    <a:pt x="174" y="2"/>
                    <a:pt x="167" y="1"/>
                    <a:pt x="159" y="1"/>
                  </a:cubicBezTo>
                  <a:cubicBezTo>
                    <a:pt x="153" y="0"/>
                    <a:pt x="147" y="1"/>
                    <a:pt x="141" y="2"/>
                  </a:cubicBezTo>
                  <a:cubicBezTo>
                    <a:pt x="125" y="5"/>
                    <a:pt x="111" y="12"/>
                    <a:pt x="101" y="20"/>
                  </a:cubicBezTo>
                  <a:cubicBezTo>
                    <a:pt x="99" y="21"/>
                    <a:pt x="98" y="22"/>
                    <a:pt x="97" y="23"/>
                  </a:cubicBezTo>
                  <a:cubicBezTo>
                    <a:pt x="95" y="25"/>
                    <a:pt x="93" y="27"/>
                    <a:pt x="91" y="29"/>
                  </a:cubicBezTo>
                  <a:cubicBezTo>
                    <a:pt x="87" y="34"/>
                    <a:pt x="85" y="38"/>
                    <a:pt x="85" y="42"/>
                  </a:cubicBezTo>
                  <a:cubicBezTo>
                    <a:pt x="57" y="47"/>
                    <a:pt x="57" y="47"/>
                    <a:pt x="57" y="47"/>
                  </a:cubicBezTo>
                  <a:cubicBezTo>
                    <a:pt x="59" y="58"/>
                    <a:pt x="59" y="58"/>
                    <a:pt x="59" y="58"/>
                  </a:cubicBezTo>
                  <a:cubicBezTo>
                    <a:pt x="62" y="72"/>
                    <a:pt x="62" y="72"/>
                    <a:pt x="62" y="72"/>
                  </a:cubicBezTo>
                  <a:cubicBezTo>
                    <a:pt x="240" y="40"/>
                    <a:pt x="240" y="40"/>
                    <a:pt x="240" y="40"/>
                  </a:cubicBezTo>
                  <a:cubicBezTo>
                    <a:pt x="237" y="26"/>
                    <a:pt x="237" y="26"/>
                    <a:pt x="237" y="26"/>
                  </a:cubicBezTo>
                  <a:moveTo>
                    <a:pt x="154" y="26"/>
                  </a:moveTo>
                  <a:cubicBezTo>
                    <a:pt x="153" y="28"/>
                    <a:pt x="152" y="30"/>
                    <a:pt x="150" y="31"/>
                  </a:cubicBezTo>
                  <a:cubicBezTo>
                    <a:pt x="149" y="32"/>
                    <a:pt x="148" y="32"/>
                    <a:pt x="147" y="33"/>
                  </a:cubicBezTo>
                  <a:cubicBezTo>
                    <a:pt x="145" y="33"/>
                    <a:pt x="144" y="33"/>
                    <a:pt x="143" y="32"/>
                  </a:cubicBezTo>
                  <a:cubicBezTo>
                    <a:pt x="142" y="32"/>
                    <a:pt x="141" y="32"/>
                    <a:pt x="140" y="31"/>
                  </a:cubicBezTo>
                  <a:cubicBezTo>
                    <a:pt x="139" y="30"/>
                    <a:pt x="138" y="30"/>
                    <a:pt x="138" y="29"/>
                  </a:cubicBezTo>
                  <a:cubicBezTo>
                    <a:pt x="137" y="28"/>
                    <a:pt x="136" y="27"/>
                    <a:pt x="136" y="25"/>
                  </a:cubicBezTo>
                  <a:cubicBezTo>
                    <a:pt x="136" y="22"/>
                    <a:pt x="137" y="19"/>
                    <a:pt x="139" y="17"/>
                  </a:cubicBezTo>
                  <a:cubicBezTo>
                    <a:pt x="140" y="16"/>
                    <a:pt x="142" y="15"/>
                    <a:pt x="143" y="15"/>
                  </a:cubicBezTo>
                  <a:cubicBezTo>
                    <a:pt x="145" y="15"/>
                    <a:pt x="146" y="15"/>
                    <a:pt x="147" y="15"/>
                  </a:cubicBezTo>
                  <a:cubicBezTo>
                    <a:pt x="148" y="15"/>
                    <a:pt x="149" y="16"/>
                    <a:pt x="150" y="17"/>
                  </a:cubicBezTo>
                  <a:cubicBezTo>
                    <a:pt x="151" y="17"/>
                    <a:pt x="152" y="18"/>
                    <a:pt x="152" y="19"/>
                  </a:cubicBezTo>
                  <a:cubicBezTo>
                    <a:pt x="153" y="20"/>
                    <a:pt x="153" y="21"/>
                    <a:pt x="154" y="22"/>
                  </a:cubicBezTo>
                  <a:cubicBezTo>
                    <a:pt x="154" y="23"/>
                    <a:pt x="154" y="23"/>
                    <a:pt x="154" y="24"/>
                  </a:cubicBezTo>
                  <a:cubicBezTo>
                    <a:pt x="154" y="25"/>
                    <a:pt x="154" y="25"/>
                    <a:pt x="154" y="26"/>
                  </a:cubicBezTo>
                  <a:close/>
                  <a:moveTo>
                    <a:pt x="573" y="90"/>
                  </a:moveTo>
                  <a:cubicBezTo>
                    <a:pt x="573" y="86"/>
                    <a:pt x="571" y="83"/>
                    <a:pt x="570" y="78"/>
                  </a:cubicBezTo>
                  <a:cubicBezTo>
                    <a:pt x="567" y="81"/>
                    <a:pt x="566" y="82"/>
                    <a:pt x="565" y="83"/>
                  </a:cubicBezTo>
                  <a:cubicBezTo>
                    <a:pt x="549" y="101"/>
                    <a:pt x="533" y="119"/>
                    <a:pt x="517" y="138"/>
                  </a:cubicBezTo>
                  <a:cubicBezTo>
                    <a:pt x="514" y="141"/>
                    <a:pt x="511" y="142"/>
                    <a:pt x="507" y="142"/>
                  </a:cubicBezTo>
                  <a:cubicBezTo>
                    <a:pt x="491" y="138"/>
                    <a:pt x="475" y="135"/>
                    <a:pt x="459" y="132"/>
                  </a:cubicBezTo>
                  <a:cubicBezTo>
                    <a:pt x="455" y="131"/>
                    <a:pt x="451" y="130"/>
                    <a:pt x="450" y="125"/>
                  </a:cubicBezTo>
                  <a:cubicBezTo>
                    <a:pt x="444" y="109"/>
                    <a:pt x="438" y="92"/>
                    <a:pt x="433" y="76"/>
                  </a:cubicBezTo>
                  <a:cubicBezTo>
                    <a:pt x="432" y="73"/>
                    <a:pt x="433" y="70"/>
                    <a:pt x="435" y="68"/>
                  </a:cubicBezTo>
                  <a:cubicBezTo>
                    <a:pt x="449" y="51"/>
                    <a:pt x="463" y="35"/>
                    <a:pt x="477" y="19"/>
                  </a:cubicBezTo>
                  <a:cubicBezTo>
                    <a:pt x="481" y="15"/>
                    <a:pt x="484" y="11"/>
                    <a:pt x="488" y="7"/>
                  </a:cubicBezTo>
                  <a:cubicBezTo>
                    <a:pt x="485" y="6"/>
                    <a:pt x="482" y="4"/>
                    <a:pt x="480" y="4"/>
                  </a:cubicBezTo>
                  <a:cubicBezTo>
                    <a:pt x="453" y="3"/>
                    <a:pt x="427" y="7"/>
                    <a:pt x="404" y="24"/>
                  </a:cubicBezTo>
                  <a:cubicBezTo>
                    <a:pt x="366" y="52"/>
                    <a:pt x="349" y="101"/>
                    <a:pt x="364" y="146"/>
                  </a:cubicBezTo>
                  <a:cubicBezTo>
                    <a:pt x="366" y="150"/>
                    <a:pt x="366" y="154"/>
                    <a:pt x="362" y="158"/>
                  </a:cubicBezTo>
                  <a:cubicBezTo>
                    <a:pt x="350" y="171"/>
                    <a:pt x="339" y="184"/>
                    <a:pt x="327" y="198"/>
                  </a:cubicBezTo>
                  <a:cubicBezTo>
                    <a:pt x="293" y="6"/>
                    <a:pt x="293" y="6"/>
                    <a:pt x="293" y="6"/>
                  </a:cubicBezTo>
                  <a:cubicBezTo>
                    <a:pt x="243" y="15"/>
                    <a:pt x="243" y="15"/>
                    <a:pt x="243" y="15"/>
                  </a:cubicBezTo>
                  <a:cubicBezTo>
                    <a:pt x="245" y="25"/>
                    <a:pt x="245" y="25"/>
                    <a:pt x="245" y="25"/>
                  </a:cubicBezTo>
                  <a:cubicBezTo>
                    <a:pt x="246" y="35"/>
                    <a:pt x="246" y="35"/>
                    <a:pt x="246" y="35"/>
                  </a:cubicBezTo>
                  <a:cubicBezTo>
                    <a:pt x="277" y="29"/>
                    <a:pt x="277" y="29"/>
                    <a:pt x="277" y="29"/>
                  </a:cubicBezTo>
                  <a:cubicBezTo>
                    <a:pt x="336" y="359"/>
                    <a:pt x="336" y="359"/>
                    <a:pt x="336" y="359"/>
                  </a:cubicBezTo>
                  <a:cubicBezTo>
                    <a:pt x="82" y="404"/>
                    <a:pt x="82" y="404"/>
                    <a:pt x="82" y="404"/>
                  </a:cubicBezTo>
                  <a:cubicBezTo>
                    <a:pt x="23" y="75"/>
                    <a:pt x="23" y="75"/>
                    <a:pt x="23" y="75"/>
                  </a:cubicBezTo>
                  <a:cubicBezTo>
                    <a:pt x="51" y="70"/>
                    <a:pt x="51" y="70"/>
                    <a:pt x="51" y="70"/>
                  </a:cubicBezTo>
                  <a:cubicBezTo>
                    <a:pt x="49" y="60"/>
                    <a:pt x="49" y="60"/>
                    <a:pt x="49" y="60"/>
                  </a:cubicBezTo>
                  <a:cubicBezTo>
                    <a:pt x="47" y="50"/>
                    <a:pt x="47" y="50"/>
                    <a:pt x="47" y="50"/>
                  </a:cubicBezTo>
                  <a:cubicBezTo>
                    <a:pt x="0" y="58"/>
                    <a:pt x="0" y="58"/>
                    <a:pt x="0" y="58"/>
                  </a:cubicBezTo>
                  <a:cubicBezTo>
                    <a:pt x="66" y="428"/>
                    <a:pt x="66" y="428"/>
                    <a:pt x="66" y="428"/>
                  </a:cubicBezTo>
                  <a:cubicBezTo>
                    <a:pt x="136" y="415"/>
                    <a:pt x="136" y="415"/>
                    <a:pt x="136" y="415"/>
                  </a:cubicBezTo>
                  <a:cubicBezTo>
                    <a:pt x="135" y="415"/>
                    <a:pt x="135" y="415"/>
                    <a:pt x="135" y="415"/>
                  </a:cubicBezTo>
                  <a:cubicBezTo>
                    <a:pt x="129" y="423"/>
                    <a:pt x="118" y="453"/>
                    <a:pt x="117" y="457"/>
                  </a:cubicBezTo>
                  <a:cubicBezTo>
                    <a:pt x="115" y="462"/>
                    <a:pt x="116" y="468"/>
                    <a:pt x="116" y="470"/>
                  </a:cubicBezTo>
                  <a:cubicBezTo>
                    <a:pt x="118" y="480"/>
                    <a:pt x="128" y="491"/>
                    <a:pt x="140" y="499"/>
                  </a:cubicBezTo>
                  <a:cubicBezTo>
                    <a:pt x="144" y="501"/>
                    <a:pt x="149" y="503"/>
                    <a:pt x="153" y="504"/>
                  </a:cubicBezTo>
                  <a:cubicBezTo>
                    <a:pt x="168" y="509"/>
                    <a:pt x="176" y="508"/>
                    <a:pt x="186" y="504"/>
                  </a:cubicBezTo>
                  <a:cubicBezTo>
                    <a:pt x="189" y="503"/>
                    <a:pt x="200" y="498"/>
                    <a:pt x="204" y="492"/>
                  </a:cubicBezTo>
                  <a:cubicBezTo>
                    <a:pt x="219" y="476"/>
                    <a:pt x="234" y="459"/>
                    <a:pt x="248" y="443"/>
                  </a:cubicBezTo>
                  <a:cubicBezTo>
                    <a:pt x="265" y="424"/>
                    <a:pt x="282" y="405"/>
                    <a:pt x="298" y="386"/>
                  </a:cubicBezTo>
                  <a:cubicBezTo>
                    <a:pt x="359" y="375"/>
                    <a:pt x="359" y="375"/>
                    <a:pt x="359" y="375"/>
                  </a:cubicBezTo>
                  <a:cubicBezTo>
                    <a:pt x="350" y="327"/>
                    <a:pt x="350" y="327"/>
                    <a:pt x="350" y="327"/>
                  </a:cubicBezTo>
                  <a:cubicBezTo>
                    <a:pt x="360" y="315"/>
                    <a:pt x="370" y="304"/>
                    <a:pt x="380" y="293"/>
                  </a:cubicBezTo>
                  <a:cubicBezTo>
                    <a:pt x="401" y="269"/>
                    <a:pt x="421" y="246"/>
                    <a:pt x="442" y="223"/>
                  </a:cubicBezTo>
                  <a:cubicBezTo>
                    <a:pt x="443" y="221"/>
                    <a:pt x="446" y="219"/>
                    <a:pt x="448" y="220"/>
                  </a:cubicBezTo>
                  <a:cubicBezTo>
                    <a:pt x="489" y="225"/>
                    <a:pt x="524" y="213"/>
                    <a:pt x="551" y="182"/>
                  </a:cubicBezTo>
                  <a:cubicBezTo>
                    <a:pt x="565" y="166"/>
                    <a:pt x="573" y="146"/>
                    <a:pt x="575" y="125"/>
                  </a:cubicBezTo>
                  <a:cubicBezTo>
                    <a:pt x="576" y="113"/>
                    <a:pt x="575" y="101"/>
                    <a:pt x="573" y="90"/>
                  </a:cubicBezTo>
                  <a:close/>
                  <a:moveTo>
                    <a:pt x="162" y="480"/>
                  </a:moveTo>
                  <a:cubicBezTo>
                    <a:pt x="152" y="481"/>
                    <a:pt x="142" y="473"/>
                    <a:pt x="141" y="462"/>
                  </a:cubicBezTo>
                  <a:cubicBezTo>
                    <a:pt x="140" y="454"/>
                    <a:pt x="148" y="441"/>
                    <a:pt x="159" y="442"/>
                  </a:cubicBezTo>
                  <a:cubicBezTo>
                    <a:pt x="169" y="440"/>
                    <a:pt x="180" y="451"/>
                    <a:pt x="180" y="460"/>
                  </a:cubicBezTo>
                  <a:cubicBezTo>
                    <a:pt x="180" y="470"/>
                    <a:pt x="173" y="480"/>
                    <a:pt x="162" y="480"/>
                  </a:cubicBezTo>
                  <a:close/>
                  <a:moveTo>
                    <a:pt x="237" y="355"/>
                  </a:moveTo>
                  <a:cubicBezTo>
                    <a:pt x="221" y="341"/>
                    <a:pt x="205" y="326"/>
                    <a:pt x="184" y="316"/>
                  </a:cubicBezTo>
                  <a:cubicBezTo>
                    <a:pt x="191" y="308"/>
                    <a:pt x="202" y="306"/>
                    <a:pt x="211" y="311"/>
                  </a:cubicBezTo>
                  <a:cubicBezTo>
                    <a:pt x="216" y="313"/>
                    <a:pt x="220" y="317"/>
                    <a:pt x="224" y="320"/>
                  </a:cubicBezTo>
                  <a:cubicBezTo>
                    <a:pt x="225" y="321"/>
                    <a:pt x="226" y="322"/>
                    <a:pt x="228" y="323"/>
                  </a:cubicBezTo>
                  <a:cubicBezTo>
                    <a:pt x="229" y="318"/>
                    <a:pt x="230" y="313"/>
                    <a:pt x="232" y="308"/>
                  </a:cubicBezTo>
                  <a:cubicBezTo>
                    <a:pt x="237" y="295"/>
                    <a:pt x="242" y="281"/>
                    <a:pt x="248" y="268"/>
                  </a:cubicBezTo>
                  <a:cubicBezTo>
                    <a:pt x="249" y="265"/>
                    <a:pt x="251" y="262"/>
                    <a:pt x="253" y="259"/>
                  </a:cubicBezTo>
                  <a:cubicBezTo>
                    <a:pt x="258" y="250"/>
                    <a:pt x="268" y="246"/>
                    <a:pt x="279" y="245"/>
                  </a:cubicBezTo>
                  <a:cubicBezTo>
                    <a:pt x="283" y="244"/>
                    <a:pt x="286" y="244"/>
                    <a:pt x="291" y="244"/>
                  </a:cubicBezTo>
                  <a:cubicBezTo>
                    <a:pt x="289" y="246"/>
                    <a:pt x="287" y="247"/>
                    <a:pt x="286" y="248"/>
                  </a:cubicBezTo>
                  <a:cubicBezTo>
                    <a:pt x="271" y="263"/>
                    <a:pt x="260" y="279"/>
                    <a:pt x="255" y="297"/>
                  </a:cubicBezTo>
                  <a:cubicBezTo>
                    <a:pt x="249" y="316"/>
                    <a:pt x="243" y="335"/>
                    <a:pt x="238" y="354"/>
                  </a:cubicBezTo>
                  <a:cubicBezTo>
                    <a:pt x="237" y="354"/>
                    <a:pt x="237" y="354"/>
                    <a:pt x="237" y="355"/>
                  </a:cubicBezTo>
                  <a:close/>
                  <a:moveTo>
                    <a:pt x="263" y="89"/>
                  </a:moveTo>
                  <a:cubicBezTo>
                    <a:pt x="57" y="126"/>
                    <a:pt x="57" y="126"/>
                    <a:pt x="57" y="126"/>
                  </a:cubicBezTo>
                  <a:cubicBezTo>
                    <a:pt x="54" y="111"/>
                    <a:pt x="54" y="111"/>
                    <a:pt x="54" y="111"/>
                  </a:cubicBezTo>
                  <a:cubicBezTo>
                    <a:pt x="260" y="74"/>
                    <a:pt x="260" y="74"/>
                    <a:pt x="260" y="74"/>
                  </a:cubicBezTo>
                  <a:lnTo>
                    <a:pt x="263" y="89"/>
                  </a:lnTo>
                  <a:close/>
                  <a:moveTo>
                    <a:pt x="269" y="121"/>
                  </a:moveTo>
                  <a:cubicBezTo>
                    <a:pt x="63" y="158"/>
                    <a:pt x="63" y="158"/>
                    <a:pt x="63" y="158"/>
                  </a:cubicBezTo>
                  <a:cubicBezTo>
                    <a:pt x="60" y="143"/>
                    <a:pt x="60" y="143"/>
                    <a:pt x="60" y="143"/>
                  </a:cubicBezTo>
                  <a:cubicBezTo>
                    <a:pt x="266" y="106"/>
                    <a:pt x="266" y="106"/>
                    <a:pt x="266" y="106"/>
                  </a:cubicBezTo>
                  <a:lnTo>
                    <a:pt x="269" y="121"/>
                  </a:lnTo>
                  <a:close/>
                  <a:moveTo>
                    <a:pt x="274" y="153"/>
                  </a:moveTo>
                  <a:cubicBezTo>
                    <a:pt x="68" y="190"/>
                    <a:pt x="68" y="190"/>
                    <a:pt x="68" y="190"/>
                  </a:cubicBezTo>
                  <a:cubicBezTo>
                    <a:pt x="66" y="175"/>
                    <a:pt x="66" y="175"/>
                    <a:pt x="66" y="175"/>
                  </a:cubicBezTo>
                  <a:cubicBezTo>
                    <a:pt x="272" y="138"/>
                    <a:pt x="272" y="138"/>
                    <a:pt x="272" y="138"/>
                  </a:cubicBezTo>
                  <a:lnTo>
                    <a:pt x="274" y="153"/>
                  </a:lnTo>
                  <a:close/>
                  <a:moveTo>
                    <a:pt x="280" y="186"/>
                  </a:moveTo>
                  <a:cubicBezTo>
                    <a:pt x="74" y="222"/>
                    <a:pt x="74" y="222"/>
                    <a:pt x="74" y="222"/>
                  </a:cubicBezTo>
                  <a:cubicBezTo>
                    <a:pt x="72" y="208"/>
                    <a:pt x="72" y="208"/>
                    <a:pt x="72" y="208"/>
                  </a:cubicBezTo>
                  <a:cubicBezTo>
                    <a:pt x="278" y="171"/>
                    <a:pt x="278" y="171"/>
                    <a:pt x="278" y="171"/>
                  </a:cubicBezTo>
                  <a:lnTo>
                    <a:pt x="280" y="186"/>
                  </a:lnTo>
                  <a:close/>
                  <a:moveTo>
                    <a:pt x="286" y="218"/>
                  </a:moveTo>
                  <a:cubicBezTo>
                    <a:pt x="80" y="255"/>
                    <a:pt x="80" y="255"/>
                    <a:pt x="80" y="255"/>
                  </a:cubicBezTo>
                  <a:cubicBezTo>
                    <a:pt x="77" y="240"/>
                    <a:pt x="77" y="240"/>
                    <a:pt x="77" y="240"/>
                  </a:cubicBezTo>
                  <a:cubicBezTo>
                    <a:pt x="283" y="203"/>
                    <a:pt x="283" y="203"/>
                    <a:pt x="283" y="203"/>
                  </a:cubicBezTo>
                  <a:lnTo>
                    <a:pt x="286" y="218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262" name="Group 5">
            <a:extLst>
              <a:ext uri="{FF2B5EF4-FFF2-40B4-BE49-F238E27FC236}">
                <a16:creationId xmlns:a16="http://schemas.microsoft.com/office/drawing/2014/main" xmlns="" id="{C4F08434-53D2-4237-97ED-9B7F6C813A09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614359" y="919100"/>
            <a:ext cx="598607" cy="390789"/>
            <a:chOff x="3040" y="2592"/>
            <a:chExt cx="1325" cy="865"/>
          </a:xfrm>
          <a:effectLst>
            <a:outerShdw blurRad="101600" dist="76200" dir="2700000" algn="ctr" rotWithShape="0">
              <a:srgbClr val="000000">
                <a:alpha val="29000"/>
              </a:srgbClr>
            </a:outerShdw>
          </a:effectLst>
        </p:grpSpPr>
        <p:sp>
          <p:nvSpPr>
            <p:cNvPr id="263" name="AutoShape 4">
              <a:extLst>
                <a:ext uri="{FF2B5EF4-FFF2-40B4-BE49-F238E27FC236}">
                  <a16:creationId xmlns:a16="http://schemas.microsoft.com/office/drawing/2014/main" xmlns="" id="{6564410B-E901-4CF2-BEC7-9128F196B253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040" y="2592"/>
              <a:ext cx="1325" cy="8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64" name="Freeform 6">
              <a:extLst>
                <a:ext uri="{FF2B5EF4-FFF2-40B4-BE49-F238E27FC236}">
                  <a16:creationId xmlns:a16="http://schemas.microsoft.com/office/drawing/2014/main" xmlns="" id="{16A8BE24-B538-4383-B88A-6095C8AF5A27}"/>
                </a:ext>
              </a:extLst>
            </p:cNvPr>
            <p:cNvSpPr>
              <a:spLocks/>
            </p:cNvSpPr>
            <p:nvPr/>
          </p:nvSpPr>
          <p:spPr bwMode="auto">
            <a:xfrm>
              <a:off x="3040" y="2590"/>
              <a:ext cx="1327" cy="865"/>
            </a:xfrm>
            <a:custGeom>
              <a:avLst/>
              <a:gdLst>
                <a:gd name="T0" fmla="*/ 562 w 562"/>
                <a:gd name="T1" fmla="*/ 59 h 366"/>
                <a:gd name="T2" fmla="*/ 561 w 562"/>
                <a:gd name="T3" fmla="*/ 48 h 366"/>
                <a:gd name="T4" fmla="*/ 550 w 562"/>
                <a:gd name="T5" fmla="*/ 44 h 366"/>
                <a:gd name="T6" fmla="*/ 504 w 562"/>
                <a:gd name="T7" fmla="*/ 37 h 366"/>
                <a:gd name="T8" fmla="*/ 451 w 562"/>
                <a:gd name="T9" fmla="*/ 67 h 366"/>
                <a:gd name="T10" fmla="*/ 449 w 562"/>
                <a:gd name="T11" fmla="*/ 71 h 366"/>
                <a:gd name="T12" fmla="*/ 448 w 562"/>
                <a:gd name="T13" fmla="*/ 76 h 366"/>
                <a:gd name="T14" fmla="*/ 446 w 562"/>
                <a:gd name="T15" fmla="*/ 76 h 366"/>
                <a:gd name="T16" fmla="*/ 178 w 562"/>
                <a:gd name="T17" fmla="*/ 76 h 366"/>
                <a:gd name="T18" fmla="*/ 90 w 562"/>
                <a:gd name="T19" fmla="*/ 0 h 366"/>
                <a:gd name="T20" fmla="*/ 0 w 562"/>
                <a:gd name="T21" fmla="*/ 90 h 366"/>
                <a:gd name="T22" fmla="*/ 90 w 562"/>
                <a:gd name="T23" fmla="*/ 179 h 366"/>
                <a:gd name="T24" fmla="*/ 115 w 562"/>
                <a:gd name="T25" fmla="*/ 175 h 366"/>
                <a:gd name="T26" fmla="*/ 119 w 562"/>
                <a:gd name="T27" fmla="*/ 182 h 366"/>
                <a:gd name="T28" fmla="*/ 132 w 562"/>
                <a:gd name="T29" fmla="*/ 204 h 366"/>
                <a:gd name="T30" fmla="*/ 137 w 562"/>
                <a:gd name="T31" fmla="*/ 213 h 366"/>
                <a:gd name="T32" fmla="*/ 148 w 562"/>
                <a:gd name="T33" fmla="*/ 231 h 366"/>
                <a:gd name="T34" fmla="*/ 187 w 562"/>
                <a:gd name="T35" fmla="*/ 254 h 366"/>
                <a:gd name="T36" fmla="*/ 187 w 562"/>
                <a:gd name="T37" fmla="*/ 254 h 366"/>
                <a:gd name="T38" fmla="*/ 280 w 562"/>
                <a:gd name="T39" fmla="*/ 254 h 366"/>
                <a:gd name="T40" fmla="*/ 331 w 562"/>
                <a:gd name="T41" fmla="*/ 254 h 366"/>
                <a:gd name="T42" fmla="*/ 367 w 562"/>
                <a:gd name="T43" fmla="*/ 254 h 366"/>
                <a:gd name="T44" fmla="*/ 362 w 562"/>
                <a:gd name="T45" fmla="*/ 263 h 366"/>
                <a:gd name="T46" fmla="*/ 328 w 562"/>
                <a:gd name="T47" fmla="*/ 285 h 366"/>
                <a:gd name="T48" fmla="*/ 283 w 562"/>
                <a:gd name="T49" fmla="*/ 285 h 366"/>
                <a:gd name="T50" fmla="*/ 239 w 562"/>
                <a:gd name="T51" fmla="*/ 286 h 366"/>
                <a:gd name="T52" fmla="*/ 196 w 562"/>
                <a:gd name="T53" fmla="*/ 262 h 366"/>
                <a:gd name="T54" fmla="*/ 182 w 562"/>
                <a:gd name="T55" fmla="*/ 264 h 366"/>
                <a:gd name="T56" fmla="*/ 145 w 562"/>
                <a:gd name="T57" fmla="*/ 314 h 366"/>
                <a:gd name="T58" fmla="*/ 182 w 562"/>
                <a:gd name="T59" fmla="*/ 364 h 366"/>
                <a:gd name="T60" fmla="*/ 197 w 562"/>
                <a:gd name="T61" fmla="*/ 366 h 366"/>
                <a:gd name="T62" fmla="*/ 239 w 562"/>
                <a:gd name="T63" fmla="*/ 342 h 366"/>
                <a:gd name="T64" fmla="*/ 284 w 562"/>
                <a:gd name="T65" fmla="*/ 343 h 366"/>
                <a:gd name="T66" fmla="*/ 328 w 562"/>
                <a:gd name="T67" fmla="*/ 342 h 366"/>
                <a:gd name="T68" fmla="*/ 371 w 562"/>
                <a:gd name="T69" fmla="*/ 366 h 366"/>
                <a:gd name="T70" fmla="*/ 399 w 562"/>
                <a:gd name="T71" fmla="*/ 357 h 366"/>
                <a:gd name="T72" fmla="*/ 422 w 562"/>
                <a:gd name="T73" fmla="*/ 324 h 366"/>
                <a:gd name="T74" fmla="*/ 414 w 562"/>
                <a:gd name="T75" fmla="*/ 286 h 366"/>
                <a:gd name="T76" fmla="*/ 500 w 562"/>
                <a:gd name="T77" fmla="*/ 98 h 366"/>
                <a:gd name="T78" fmla="*/ 510 w 562"/>
                <a:gd name="T79" fmla="*/ 98 h 366"/>
                <a:gd name="T80" fmla="*/ 521 w 562"/>
                <a:gd name="T81" fmla="*/ 98 h 366"/>
                <a:gd name="T82" fmla="*/ 526 w 562"/>
                <a:gd name="T83" fmla="*/ 98 h 366"/>
                <a:gd name="T84" fmla="*/ 553 w 562"/>
                <a:gd name="T85" fmla="*/ 83 h 366"/>
                <a:gd name="T86" fmla="*/ 554 w 562"/>
                <a:gd name="T87" fmla="*/ 81 h 366"/>
                <a:gd name="T88" fmla="*/ 555 w 562"/>
                <a:gd name="T89" fmla="*/ 81 h 366"/>
                <a:gd name="T90" fmla="*/ 555 w 562"/>
                <a:gd name="T91" fmla="*/ 80 h 366"/>
                <a:gd name="T92" fmla="*/ 562 w 562"/>
                <a:gd name="T93" fmla="*/ 59 h 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62" h="366">
                  <a:moveTo>
                    <a:pt x="562" y="59"/>
                  </a:moveTo>
                  <a:cubicBezTo>
                    <a:pt x="561" y="48"/>
                    <a:pt x="561" y="48"/>
                    <a:pt x="561" y="48"/>
                  </a:cubicBezTo>
                  <a:cubicBezTo>
                    <a:pt x="550" y="44"/>
                    <a:pt x="550" y="44"/>
                    <a:pt x="550" y="44"/>
                  </a:cubicBezTo>
                  <a:cubicBezTo>
                    <a:pt x="549" y="44"/>
                    <a:pt x="527" y="37"/>
                    <a:pt x="504" y="37"/>
                  </a:cubicBezTo>
                  <a:cubicBezTo>
                    <a:pt x="467" y="37"/>
                    <a:pt x="455" y="56"/>
                    <a:pt x="451" y="67"/>
                  </a:cubicBezTo>
                  <a:cubicBezTo>
                    <a:pt x="451" y="69"/>
                    <a:pt x="450" y="70"/>
                    <a:pt x="449" y="71"/>
                  </a:cubicBezTo>
                  <a:cubicBezTo>
                    <a:pt x="449" y="73"/>
                    <a:pt x="448" y="74"/>
                    <a:pt x="448" y="76"/>
                  </a:cubicBezTo>
                  <a:cubicBezTo>
                    <a:pt x="447" y="76"/>
                    <a:pt x="446" y="76"/>
                    <a:pt x="446" y="76"/>
                  </a:cubicBezTo>
                  <a:cubicBezTo>
                    <a:pt x="178" y="76"/>
                    <a:pt x="178" y="76"/>
                    <a:pt x="178" y="76"/>
                  </a:cubicBezTo>
                  <a:cubicBezTo>
                    <a:pt x="172" y="33"/>
                    <a:pt x="134" y="0"/>
                    <a:pt x="90" y="0"/>
                  </a:cubicBezTo>
                  <a:cubicBezTo>
                    <a:pt x="40" y="0"/>
                    <a:pt x="0" y="40"/>
                    <a:pt x="0" y="90"/>
                  </a:cubicBezTo>
                  <a:cubicBezTo>
                    <a:pt x="0" y="139"/>
                    <a:pt x="40" y="179"/>
                    <a:pt x="90" y="179"/>
                  </a:cubicBezTo>
                  <a:cubicBezTo>
                    <a:pt x="99" y="179"/>
                    <a:pt x="107" y="178"/>
                    <a:pt x="115" y="175"/>
                  </a:cubicBezTo>
                  <a:cubicBezTo>
                    <a:pt x="116" y="178"/>
                    <a:pt x="118" y="180"/>
                    <a:pt x="119" y="182"/>
                  </a:cubicBezTo>
                  <a:cubicBezTo>
                    <a:pt x="132" y="204"/>
                    <a:pt x="132" y="204"/>
                    <a:pt x="132" y="204"/>
                  </a:cubicBezTo>
                  <a:cubicBezTo>
                    <a:pt x="134" y="207"/>
                    <a:pt x="135" y="210"/>
                    <a:pt x="137" y="213"/>
                  </a:cubicBezTo>
                  <a:cubicBezTo>
                    <a:pt x="141" y="219"/>
                    <a:pt x="145" y="225"/>
                    <a:pt x="148" y="231"/>
                  </a:cubicBezTo>
                  <a:cubicBezTo>
                    <a:pt x="156" y="246"/>
                    <a:pt x="169" y="254"/>
                    <a:pt x="187" y="254"/>
                  </a:cubicBezTo>
                  <a:cubicBezTo>
                    <a:pt x="187" y="254"/>
                    <a:pt x="187" y="254"/>
                    <a:pt x="187" y="254"/>
                  </a:cubicBezTo>
                  <a:cubicBezTo>
                    <a:pt x="214" y="254"/>
                    <a:pt x="243" y="254"/>
                    <a:pt x="280" y="254"/>
                  </a:cubicBezTo>
                  <a:cubicBezTo>
                    <a:pt x="297" y="254"/>
                    <a:pt x="314" y="254"/>
                    <a:pt x="331" y="254"/>
                  </a:cubicBezTo>
                  <a:cubicBezTo>
                    <a:pt x="367" y="254"/>
                    <a:pt x="367" y="254"/>
                    <a:pt x="367" y="254"/>
                  </a:cubicBezTo>
                  <a:cubicBezTo>
                    <a:pt x="365" y="257"/>
                    <a:pt x="364" y="260"/>
                    <a:pt x="362" y="263"/>
                  </a:cubicBezTo>
                  <a:cubicBezTo>
                    <a:pt x="349" y="266"/>
                    <a:pt x="337" y="273"/>
                    <a:pt x="328" y="285"/>
                  </a:cubicBezTo>
                  <a:cubicBezTo>
                    <a:pt x="313" y="285"/>
                    <a:pt x="298" y="285"/>
                    <a:pt x="283" y="285"/>
                  </a:cubicBezTo>
                  <a:cubicBezTo>
                    <a:pt x="269" y="285"/>
                    <a:pt x="254" y="285"/>
                    <a:pt x="239" y="286"/>
                  </a:cubicBezTo>
                  <a:cubicBezTo>
                    <a:pt x="230" y="271"/>
                    <a:pt x="214" y="262"/>
                    <a:pt x="196" y="262"/>
                  </a:cubicBezTo>
                  <a:cubicBezTo>
                    <a:pt x="192" y="262"/>
                    <a:pt x="187" y="263"/>
                    <a:pt x="182" y="264"/>
                  </a:cubicBezTo>
                  <a:cubicBezTo>
                    <a:pt x="160" y="271"/>
                    <a:pt x="145" y="291"/>
                    <a:pt x="145" y="314"/>
                  </a:cubicBezTo>
                  <a:cubicBezTo>
                    <a:pt x="145" y="337"/>
                    <a:pt x="160" y="357"/>
                    <a:pt x="182" y="364"/>
                  </a:cubicBezTo>
                  <a:cubicBezTo>
                    <a:pt x="187" y="365"/>
                    <a:pt x="192" y="366"/>
                    <a:pt x="197" y="366"/>
                  </a:cubicBezTo>
                  <a:cubicBezTo>
                    <a:pt x="214" y="366"/>
                    <a:pt x="230" y="357"/>
                    <a:pt x="239" y="342"/>
                  </a:cubicBezTo>
                  <a:cubicBezTo>
                    <a:pt x="254" y="343"/>
                    <a:pt x="269" y="343"/>
                    <a:pt x="284" y="343"/>
                  </a:cubicBezTo>
                  <a:cubicBezTo>
                    <a:pt x="298" y="343"/>
                    <a:pt x="313" y="343"/>
                    <a:pt x="328" y="342"/>
                  </a:cubicBezTo>
                  <a:cubicBezTo>
                    <a:pt x="338" y="357"/>
                    <a:pt x="354" y="366"/>
                    <a:pt x="371" y="366"/>
                  </a:cubicBezTo>
                  <a:cubicBezTo>
                    <a:pt x="381" y="366"/>
                    <a:pt x="391" y="363"/>
                    <a:pt x="399" y="357"/>
                  </a:cubicBezTo>
                  <a:cubicBezTo>
                    <a:pt x="411" y="349"/>
                    <a:pt x="419" y="337"/>
                    <a:pt x="422" y="324"/>
                  </a:cubicBezTo>
                  <a:cubicBezTo>
                    <a:pt x="424" y="311"/>
                    <a:pt x="421" y="298"/>
                    <a:pt x="414" y="286"/>
                  </a:cubicBezTo>
                  <a:cubicBezTo>
                    <a:pt x="448" y="213"/>
                    <a:pt x="475" y="153"/>
                    <a:pt x="500" y="98"/>
                  </a:cubicBezTo>
                  <a:cubicBezTo>
                    <a:pt x="503" y="98"/>
                    <a:pt x="506" y="98"/>
                    <a:pt x="510" y="98"/>
                  </a:cubicBezTo>
                  <a:cubicBezTo>
                    <a:pt x="513" y="98"/>
                    <a:pt x="517" y="98"/>
                    <a:pt x="521" y="98"/>
                  </a:cubicBezTo>
                  <a:cubicBezTo>
                    <a:pt x="522" y="98"/>
                    <a:pt x="524" y="98"/>
                    <a:pt x="526" y="98"/>
                  </a:cubicBezTo>
                  <a:cubicBezTo>
                    <a:pt x="542" y="98"/>
                    <a:pt x="549" y="88"/>
                    <a:pt x="553" y="83"/>
                  </a:cubicBezTo>
                  <a:cubicBezTo>
                    <a:pt x="553" y="83"/>
                    <a:pt x="554" y="82"/>
                    <a:pt x="554" y="81"/>
                  </a:cubicBezTo>
                  <a:cubicBezTo>
                    <a:pt x="555" y="81"/>
                    <a:pt x="555" y="81"/>
                    <a:pt x="555" y="81"/>
                  </a:cubicBezTo>
                  <a:cubicBezTo>
                    <a:pt x="555" y="80"/>
                    <a:pt x="555" y="80"/>
                    <a:pt x="555" y="80"/>
                  </a:cubicBezTo>
                  <a:cubicBezTo>
                    <a:pt x="561" y="72"/>
                    <a:pt x="562" y="62"/>
                    <a:pt x="562" y="5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65" name="Freeform 7">
              <a:extLst>
                <a:ext uri="{FF2B5EF4-FFF2-40B4-BE49-F238E27FC236}">
                  <a16:creationId xmlns:a16="http://schemas.microsoft.com/office/drawing/2014/main" xmlns="" id="{64049500-49A7-4A60-AA62-115FBFDE8C1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78" y="2627"/>
              <a:ext cx="347" cy="348"/>
            </a:xfrm>
            <a:custGeom>
              <a:avLst/>
              <a:gdLst>
                <a:gd name="T0" fmla="*/ 121 w 147"/>
                <a:gd name="T1" fmla="*/ 87 h 147"/>
                <a:gd name="T2" fmla="*/ 87 w 147"/>
                <a:gd name="T3" fmla="*/ 87 h 147"/>
                <a:gd name="T4" fmla="*/ 87 w 147"/>
                <a:gd name="T5" fmla="*/ 121 h 147"/>
                <a:gd name="T6" fmla="*/ 60 w 147"/>
                <a:gd name="T7" fmla="*/ 121 h 147"/>
                <a:gd name="T8" fmla="*/ 60 w 147"/>
                <a:gd name="T9" fmla="*/ 87 h 147"/>
                <a:gd name="T10" fmla="*/ 26 w 147"/>
                <a:gd name="T11" fmla="*/ 87 h 147"/>
                <a:gd name="T12" fmla="*/ 26 w 147"/>
                <a:gd name="T13" fmla="*/ 60 h 147"/>
                <a:gd name="T14" fmla="*/ 60 w 147"/>
                <a:gd name="T15" fmla="*/ 60 h 147"/>
                <a:gd name="T16" fmla="*/ 60 w 147"/>
                <a:gd name="T17" fmla="*/ 26 h 147"/>
                <a:gd name="T18" fmla="*/ 87 w 147"/>
                <a:gd name="T19" fmla="*/ 26 h 147"/>
                <a:gd name="T20" fmla="*/ 87 w 147"/>
                <a:gd name="T21" fmla="*/ 60 h 147"/>
                <a:gd name="T22" fmla="*/ 121 w 147"/>
                <a:gd name="T23" fmla="*/ 60 h 147"/>
                <a:gd name="T24" fmla="*/ 121 w 147"/>
                <a:gd name="T25" fmla="*/ 87 h 147"/>
                <a:gd name="T26" fmla="*/ 74 w 147"/>
                <a:gd name="T27" fmla="*/ 0 h 147"/>
                <a:gd name="T28" fmla="*/ 0 w 147"/>
                <a:gd name="T29" fmla="*/ 74 h 147"/>
                <a:gd name="T30" fmla="*/ 74 w 147"/>
                <a:gd name="T31" fmla="*/ 147 h 147"/>
                <a:gd name="T32" fmla="*/ 147 w 147"/>
                <a:gd name="T33" fmla="*/ 74 h 147"/>
                <a:gd name="T34" fmla="*/ 74 w 147"/>
                <a:gd name="T35" fmla="*/ 0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47" h="147">
                  <a:moveTo>
                    <a:pt x="121" y="87"/>
                  </a:moveTo>
                  <a:cubicBezTo>
                    <a:pt x="87" y="87"/>
                    <a:pt x="87" y="87"/>
                    <a:pt x="87" y="87"/>
                  </a:cubicBezTo>
                  <a:cubicBezTo>
                    <a:pt x="87" y="121"/>
                    <a:pt x="87" y="121"/>
                    <a:pt x="87" y="121"/>
                  </a:cubicBezTo>
                  <a:cubicBezTo>
                    <a:pt x="60" y="121"/>
                    <a:pt x="60" y="121"/>
                    <a:pt x="60" y="121"/>
                  </a:cubicBezTo>
                  <a:cubicBezTo>
                    <a:pt x="60" y="87"/>
                    <a:pt x="60" y="87"/>
                    <a:pt x="60" y="87"/>
                  </a:cubicBezTo>
                  <a:cubicBezTo>
                    <a:pt x="26" y="87"/>
                    <a:pt x="26" y="87"/>
                    <a:pt x="26" y="87"/>
                  </a:cubicBezTo>
                  <a:cubicBezTo>
                    <a:pt x="26" y="60"/>
                    <a:pt x="26" y="60"/>
                    <a:pt x="26" y="60"/>
                  </a:cubicBezTo>
                  <a:cubicBezTo>
                    <a:pt x="60" y="60"/>
                    <a:pt x="60" y="60"/>
                    <a:pt x="60" y="60"/>
                  </a:cubicBezTo>
                  <a:cubicBezTo>
                    <a:pt x="60" y="26"/>
                    <a:pt x="60" y="26"/>
                    <a:pt x="60" y="26"/>
                  </a:cubicBezTo>
                  <a:cubicBezTo>
                    <a:pt x="87" y="26"/>
                    <a:pt x="87" y="26"/>
                    <a:pt x="87" y="26"/>
                  </a:cubicBezTo>
                  <a:cubicBezTo>
                    <a:pt x="87" y="60"/>
                    <a:pt x="87" y="60"/>
                    <a:pt x="87" y="60"/>
                  </a:cubicBezTo>
                  <a:cubicBezTo>
                    <a:pt x="121" y="60"/>
                    <a:pt x="121" y="60"/>
                    <a:pt x="121" y="60"/>
                  </a:cubicBezTo>
                  <a:lnTo>
                    <a:pt x="121" y="87"/>
                  </a:lnTo>
                  <a:close/>
                  <a:moveTo>
                    <a:pt x="74" y="0"/>
                  </a:moveTo>
                  <a:cubicBezTo>
                    <a:pt x="33" y="0"/>
                    <a:pt x="0" y="33"/>
                    <a:pt x="0" y="74"/>
                  </a:cubicBezTo>
                  <a:cubicBezTo>
                    <a:pt x="0" y="114"/>
                    <a:pt x="33" y="147"/>
                    <a:pt x="74" y="147"/>
                  </a:cubicBezTo>
                  <a:cubicBezTo>
                    <a:pt x="114" y="147"/>
                    <a:pt x="147" y="114"/>
                    <a:pt x="147" y="74"/>
                  </a:cubicBezTo>
                  <a:cubicBezTo>
                    <a:pt x="147" y="33"/>
                    <a:pt x="114" y="0"/>
                    <a:pt x="74" y="0"/>
                  </a:cubicBezTo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66" name="Freeform 8">
              <a:extLst>
                <a:ext uri="{FF2B5EF4-FFF2-40B4-BE49-F238E27FC236}">
                  <a16:creationId xmlns:a16="http://schemas.microsoft.com/office/drawing/2014/main" xmlns="" id="{E595B51E-E4A3-4AC5-886D-6928014A6A2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47" y="2682"/>
              <a:ext cx="983" cy="747"/>
            </a:xfrm>
            <a:custGeom>
              <a:avLst/>
              <a:gdLst>
                <a:gd name="T0" fmla="*/ 416 w 416"/>
                <a:gd name="T1" fmla="*/ 21 h 316"/>
                <a:gd name="T2" fmla="*/ 336 w 416"/>
                <a:gd name="T3" fmla="*/ 34 h 316"/>
                <a:gd name="T4" fmla="*/ 329 w 416"/>
                <a:gd name="T5" fmla="*/ 49 h 316"/>
                <a:gd name="T6" fmla="*/ 324 w 416"/>
                <a:gd name="T7" fmla="*/ 52 h 316"/>
                <a:gd name="T8" fmla="*/ 316 w 416"/>
                <a:gd name="T9" fmla="*/ 53 h 316"/>
                <a:gd name="T10" fmla="*/ 192 w 416"/>
                <a:gd name="T11" fmla="*/ 53 h 316"/>
                <a:gd name="T12" fmla="*/ 116 w 416"/>
                <a:gd name="T13" fmla="*/ 53 h 316"/>
                <a:gd name="T14" fmla="*/ 49 w 416"/>
                <a:gd name="T15" fmla="*/ 53 h 316"/>
                <a:gd name="T16" fmla="*/ 0 w 416"/>
                <a:gd name="T17" fmla="*/ 130 h 316"/>
                <a:gd name="T18" fmla="*/ 16 w 416"/>
                <a:gd name="T19" fmla="*/ 157 h 316"/>
                <a:gd name="T20" fmla="*/ 32 w 416"/>
                <a:gd name="T21" fmla="*/ 184 h 316"/>
                <a:gd name="T22" fmla="*/ 57 w 416"/>
                <a:gd name="T23" fmla="*/ 199 h 316"/>
                <a:gd name="T24" fmla="*/ 251 w 416"/>
                <a:gd name="T25" fmla="*/ 199 h 316"/>
                <a:gd name="T26" fmla="*/ 262 w 416"/>
                <a:gd name="T27" fmla="*/ 199 h 316"/>
                <a:gd name="T28" fmla="*/ 244 w 416"/>
                <a:gd name="T29" fmla="*/ 237 h 316"/>
                <a:gd name="T30" fmla="*/ 238 w 416"/>
                <a:gd name="T31" fmla="*/ 239 h 316"/>
                <a:gd name="T32" fmla="*/ 210 w 416"/>
                <a:gd name="T33" fmla="*/ 257 h 316"/>
                <a:gd name="T34" fmla="*/ 201 w 416"/>
                <a:gd name="T35" fmla="*/ 262 h 316"/>
                <a:gd name="T36" fmla="*/ 107 w 416"/>
                <a:gd name="T37" fmla="*/ 263 h 316"/>
                <a:gd name="T38" fmla="*/ 96 w 416"/>
                <a:gd name="T39" fmla="*/ 256 h 316"/>
                <a:gd name="T40" fmla="*/ 57 w 416"/>
                <a:gd name="T41" fmla="*/ 241 h 316"/>
                <a:gd name="T42" fmla="*/ 31 w 416"/>
                <a:gd name="T43" fmla="*/ 275 h 316"/>
                <a:gd name="T44" fmla="*/ 57 w 416"/>
                <a:gd name="T45" fmla="*/ 309 h 316"/>
                <a:gd name="T46" fmla="*/ 97 w 416"/>
                <a:gd name="T47" fmla="*/ 293 h 316"/>
                <a:gd name="T48" fmla="*/ 107 w 416"/>
                <a:gd name="T49" fmla="*/ 287 h 316"/>
                <a:gd name="T50" fmla="*/ 200 w 416"/>
                <a:gd name="T51" fmla="*/ 287 h 316"/>
                <a:gd name="T52" fmla="*/ 211 w 416"/>
                <a:gd name="T53" fmla="*/ 293 h 316"/>
                <a:gd name="T54" fmla="*/ 260 w 416"/>
                <a:gd name="T55" fmla="*/ 305 h 316"/>
                <a:gd name="T56" fmla="*/ 269 w 416"/>
                <a:gd name="T57" fmla="*/ 254 h 316"/>
                <a:gd name="T58" fmla="*/ 268 w 416"/>
                <a:gd name="T59" fmla="*/ 244 h 316"/>
                <a:gd name="T60" fmla="*/ 357 w 416"/>
                <a:gd name="T61" fmla="*/ 50 h 316"/>
                <a:gd name="T62" fmla="*/ 368 w 416"/>
                <a:gd name="T63" fmla="*/ 43 h 316"/>
                <a:gd name="T64" fmla="*/ 396 w 416"/>
                <a:gd name="T65" fmla="*/ 43 h 316"/>
                <a:gd name="T66" fmla="*/ 412 w 416"/>
                <a:gd name="T67" fmla="*/ 31 h 316"/>
                <a:gd name="T68" fmla="*/ 416 w 416"/>
                <a:gd name="T69" fmla="*/ 21 h 316"/>
                <a:gd name="T70" fmla="*/ 66 w 416"/>
                <a:gd name="T71" fmla="*/ 293 h 316"/>
                <a:gd name="T72" fmla="*/ 48 w 416"/>
                <a:gd name="T73" fmla="*/ 275 h 316"/>
                <a:gd name="T74" fmla="*/ 66 w 416"/>
                <a:gd name="T75" fmla="*/ 257 h 316"/>
                <a:gd name="T76" fmla="*/ 85 w 416"/>
                <a:gd name="T77" fmla="*/ 275 h 316"/>
                <a:gd name="T78" fmla="*/ 66 w 416"/>
                <a:gd name="T79" fmla="*/ 293 h 316"/>
                <a:gd name="T80" fmla="*/ 241 w 416"/>
                <a:gd name="T81" fmla="*/ 293 h 316"/>
                <a:gd name="T82" fmla="*/ 223 w 416"/>
                <a:gd name="T83" fmla="*/ 275 h 316"/>
                <a:gd name="T84" fmla="*/ 241 w 416"/>
                <a:gd name="T85" fmla="*/ 257 h 316"/>
                <a:gd name="T86" fmla="*/ 259 w 416"/>
                <a:gd name="T87" fmla="*/ 275 h 316"/>
                <a:gd name="T88" fmla="*/ 241 w 416"/>
                <a:gd name="T89" fmla="*/ 293 h 3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416" h="316">
                  <a:moveTo>
                    <a:pt x="416" y="21"/>
                  </a:moveTo>
                  <a:cubicBezTo>
                    <a:pt x="416" y="21"/>
                    <a:pt x="347" y="0"/>
                    <a:pt x="336" y="34"/>
                  </a:cubicBezTo>
                  <a:cubicBezTo>
                    <a:pt x="334" y="40"/>
                    <a:pt x="332" y="45"/>
                    <a:pt x="329" y="49"/>
                  </a:cubicBezTo>
                  <a:cubicBezTo>
                    <a:pt x="328" y="51"/>
                    <a:pt x="326" y="52"/>
                    <a:pt x="324" y="52"/>
                  </a:cubicBezTo>
                  <a:cubicBezTo>
                    <a:pt x="321" y="53"/>
                    <a:pt x="318" y="53"/>
                    <a:pt x="316" y="53"/>
                  </a:cubicBezTo>
                  <a:cubicBezTo>
                    <a:pt x="274" y="53"/>
                    <a:pt x="233" y="53"/>
                    <a:pt x="192" y="53"/>
                  </a:cubicBezTo>
                  <a:cubicBezTo>
                    <a:pt x="116" y="53"/>
                    <a:pt x="116" y="53"/>
                    <a:pt x="116" y="53"/>
                  </a:cubicBezTo>
                  <a:cubicBezTo>
                    <a:pt x="94" y="53"/>
                    <a:pt x="72" y="53"/>
                    <a:pt x="49" y="53"/>
                  </a:cubicBezTo>
                  <a:cubicBezTo>
                    <a:pt x="49" y="87"/>
                    <a:pt x="29" y="116"/>
                    <a:pt x="0" y="130"/>
                  </a:cubicBezTo>
                  <a:cubicBezTo>
                    <a:pt x="5" y="139"/>
                    <a:pt x="11" y="148"/>
                    <a:pt x="16" y="157"/>
                  </a:cubicBezTo>
                  <a:cubicBezTo>
                    <a:pt x="21" y="166"/>
                    <a:pt x="27" y="175"/>
                    <a:pt x="32" y="184"/>
                  </a:cubicBezTo>
                  <a:cubicBezTo>
                    <a:pt x="38" y="194"/>
                    <a:pt x="46" y="199"/>
                    <a:pt x="57" y="199"/>
                  </a:cubicBezTo>
                  <a:cubicBezTo>
                    <a:pt x="122" y="198"/>
                    <a:pt x="187" y="199"/>
                    <a:pt x="251" y="199"/>
                  </a:cubicBezTo>
                  <a:cubicBezTo>
                    <a:pt x="262" y="199"/>
                    <a:pt x="262" y="199"/>
                    <a:pt x="262" y="199"/>
                  </a:cubicBezTo>
                  <a:cubicBezTo>
                    <a:pt x="256" y="212"/>
                    <a:pt x="250" y="224"/>
                    <a:pt x="244" y="237"/>
                  </a:cubicBezTo>
                  <a:cubicBezTo>
                    <a:pt x="243" y="238"/>
                    <a:pt x="240" y="239"/>
                    <a:pt x="238" y="239"/>
                  </a:cubicBezTo>
                  <a:cubicBezTo>
                    <a:pt x="226" y="241"/>
                    <a:pt x="217" y="247"/>
                    <a:pt x="210" y="257"/>
                  </a:cubicBezTo>
                  <a:cubicBezTo>
                    <a:pt x="208" y="260"/>
                    <a:pt x="204" y="262"/>
                    <a:pt x="201" y="262"/>
                  </a:cubicBezTo>
                  <a:cubicBezTo>
                    <a:pt x="170" y="263"/>
                    <a:pt x="139" y="262"/>
                    <a:pt x="107" y="263"/>
                  </a:cubicBezTo>
                  <a:cubicBezTo>
                    <a:pt x="102" y="263"/>
                    <a:pt x="99" y="261"/>
                    <a:pt x="96" y="256"/>
                  </a:cubicBezTo>
                  <a:cubicBezTo>
                    <a:pt x="88" y="242"/>
                    <a:pt x="71" y="236"/>
                    <a:pt x="57" y="241"/>
                  </a:cubicBezTo>
                  <a:cubicBezTo>
                    <a:pt x="41" y="245"/>
                    <a:pt x="31" y="259"/>
                    <a:pt x="31" y="275"/>
                  </a:cubicBezTo>
                  <a:cubicBezTo>
                    <a:pt x="31" y="291"/>
                    <a:pt x="41" y="305"/>
                    <a:pt x="57" y="309"/>
                  </a:cubicBezTo>
                  <a:cubicBezTo>
                    <a:pt x="72" y="314"/>
                    <a:pt x="88" y="308"/>
                    <a:pt x="97" y="293"/>
                  </a:cubicBezTo>
                  <a:cubicBezTo>
                    <a:pt x="99" y="289"/>
                    <a:pt x="102" y="287"/>
                    <a:pt x="107" y="287"/>
                  </a:cubicBezTo>
                  <a:cubicBezTo>
                    <a:pt x="138" y="288"/>
                    <a:pt x="169" y="288"/>
                    <a:pt x="200" y="287"/>
                  </a:cubicBezTo>
                  <a:cubicBezTo>
                    <a:pt x="205" y="287"/>
                    <a:pt x="208" y="289"/>
                    <a:pt x="211" y="293"/>
                  </a:cubicBezTo>
                  <a:cubicBezTo>
                    <a:pt x="222" y="311"/>
                    <a:pt x="243" y="316"/>
                    <a:pt x="260" y="305"/>
                  </a:cubicBezTo>
                  <a:cubicBezTo>
                    <a:pt x="278" y="293"/>
                    <a:pt x="282" y="271"/>
                    <a:pt x="269" y="254"/>
                  </a:cubicBezTo>
                  <a:cubicBezTo>
                    <a:pt x="267" y="250"/>
                    <a:pt x="267" y="247"/>
                    <a:pt x="268" y="244"/>
                  </a:cubicBezTo>
                  <a:cubicBezTo>
                    <a:pt x="298" y="179"/>
                    <a:pt x="327" y="115"/>
                    <a:pt x="357" y="50"/>
                  </a:cubicBezTo>
                  <a:cubicBezTo>
                    <a:pt x="359" y="45"/>
                    <a:pt x="362" y="42"/>
                    <a:pt x="368" y="43"/>
                  </a:cubicBezTo>
                  <a:cubicBezTo>
                    <a:pt x="377" y="43"/>
                    <a:pt x="386" y="43"/>
                    <a:pt x="396" y="43"/>
                  </a:cubicBezTo>
                  <a:cubicBezTo>
                    <a:pt x="406" y="43"/>
                    <a:pt x="408" y="36"/>
                    <a:pt x="412" y="31"/>
                  </a:cubicBezTo>
                  <a:cubicBezTo>
                    <a:pt x="416" y="27"/>
                    <a:pt x="416" y="21"/>
                    <a:pt x="416" y="21"/>
                  </a:cubicBezTo>
                  <a:close/>
                  <a:moveTo>
                    <a:pt x="66" y="293"/>
                  </a:moveTo>
                  <a:cubicBezTo>
                    <a:pt x="56" y="293"/>
                    <a:pt x="48" y="285"/>
                    <a:pt x="48" y="275"/>
                  </a:cubicBezTo>
                  <a:cubicBezTo>
                    <a:pt x="48" y="265"/>
                    <a:pt x="56" y="257"/>
                    <a:pt x="66" y="257"/>
                  </a:cubicBezTo>
                  <a:cubicBezTo>
                    <a:pt x="77" y="257"/>
                    <a:pt x="85" y="265"/>
                    <a:pt x="85" y="275"/>
                  </a:cubicBezTo>
                  <a:cubicBezTo>
                    <a:pt x="85" y="285"/>
                    <a:pt x="76" y="293"/>
                    <a:pt x="66" y="293"/>
                  </a:cubicBezTo>
                  <a:close/>
                  <a:moveTo>
                    <a:pt x="241" y="293"/>
                  </a:moveTo>
                  <a:cubicBezTo>
                    <a:pt x="231" y="293"/>
                    <a:pt x="223" y="285"/>
                    <a:pt x="223" y="275"/>
                  </a:cubicBezTo>
                  <a:cubicBezTo>
                    <a:pt x="223" y="264"/>
                    <a:pt x="231" y="257"/>
                    <a:pt x="241" y="257"/>
                  </a:cubicBezTo>
                  <a:cubicBezTo>
                    <a:pt x="251" y="257"/>
                    <a:pt x="260" y="265"/>
                    <a:pt x="259" y="275"/>
                  </a:cubicBezTo>
                  <a:cubicBezTo>
                    <a:pt x="259" y="285"/>
                    <a:pt x="251" y="293"/>
                    <a:pt x="241" y="293"/>
                  </a:cubicBez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sp>
        <p:nvSpPr>
          <p:cNvPr id="267" name="Rechteck 266">
            <a:extLst>
              <a:ext uri="{FF2B5EF4-FFF2-40B4-BE49-F238E27FC236}">
                <a16:creationId xmlns:a16="http://schemas.microsoft.com/office/drawing/2014/main" xmlns="" id="{0F92F3E5-22BC-4655-BD37-B20B9A712A81}"/>
              </a:ext>
            </a:extLst>
          </p:cNvPr>
          <p:cNvSpPr/>
          <p:nvPr/>
        </p:nvSpPr>
        <p:spPr>
          <a:xfrm>
            <a:off x="8928100" y="3378838"/>
            <a:ext cx="2945717" cy="793284"/>
          </a:xfrm>
          <a:prstGeom prst="rect">
            <a:avLst/>
          </a:prstGeom>
          <a:solidFill>
            <a:schemeClr val="accent4"/>
          </a:solidFill>
          <a:ln w="9525">
            <a:solidFill>
              <a:srgbClr val="5A6E7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1400" dirty="0"/>
              <a:t>Bitte ausblenden/rauslöschen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xmlns="" id="{6BC13BBF-1B79-4C49-A2C3-EF024D18F18A}"/>
              </a:ext>
            </a:extLst>
          </p:cNvPr>
          <p:cNvSpPr/>
          <p:nvPr/>
        </p:nvSpPr>
        <p:spPr>
          <a:xfrm>
            <a:off x="8918368" y="1786398"/>
            <a:ext cx="2991669" cy="1169723"/>
          </a:xfrm>
          <a:prstGeom prst="rect">
            <a:avLst/>
          </a:prstGeom>
          <a:solidFill>
            <a:schemeClr val="accent4"/>
          </a:solidFill>
          <a:ln w="9525">
            <a:solidFill>
              <a:srgbClr val="5A6E7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1400" dirty="0"/>
              <a:t>Auswahl </a:t>
            </a:r>
            <a:r>
              <a:rPr lang="de-DE" sz="1400" dirty="0" err="1"/>
              <a:t>Pictogramme</a:t>
            </a:r>
            <a:r>
              <a:rPr lang="de-DE" sz="1400" dirty="0"/>
              <a:t>, Farben durch anklicken änderbar</a:t>
            </a:r>
          </a:p>
          <a:p>
            <a:r>
              <a:rPr lang="de-DE" sz="1400" dirty="0"/>
              <a:t>Weitere </a:t>
            </a:r>
            <a:r>
              <a:rPr lang="de-DE" sz="1400" dirty="0" err="1"/>
              <a:t>Pictos</a:t>
            </a:r>
            <a:r>
              <a:rPr lang="de-DE" sz="1400" dirty="0"/>
              <a:t> auf dem </a:t>
            </a:r>
            <a:r>
              <a:rPr lang="de-DE" sz="1400" dirty="0" err="1"/>
              <a:t>Sharepoint</a:t>
            </a:r>
            <a:r>
              <a:rPr lang="de-DE" sz="1400" dirty="0"/>
              <a:t> downloadbar</a:t>
            </a:r>
          </a:p>
        </p:txBody>
      </p:sp>
      <p:grpSp>
        <p:nvGrpSpPr>
          <p:cNvPr id="268" name="Group 6">
            <a:extLst>
              <a:ext uri="{FF2B5EF4-FFF2-40B4-BE49-F238E27FC236}">
                <a16:creationId xmlns:a16="http://schemas.microsoft.com/office/drawing/2014/main" xmlns="" id="{C9217FEA-1BAC-43B4-9294-5E39C9E3BEF2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780466" y="1558407"/>
            <a:ext cx="1030008" cy="336813"/>
            <a:chOff x="1774" y="1798"/>
            <a:chExt cx="2211" cy="723"/>
          </a:xfrm>
          <a:effectLst/>
        </p:grpSpPr>
        <p:sp>
          <p:nvSpPr>
            <p:cNvPr id="269" name="AutoShape 5">
              <a:extLst>
                <a:ext uri="{FF2B5EF4-FFF2-40B4-BE49-F238E27FC236}">
                  <a16:creationId xmlns:a16="http://schemas.microsoft.com/office/drawing/2014/main" xmlns="" id="{E52B6A64-EC88-4271-A7F5-A3868342DA4E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774" y="1798"/>
              <a:ext cx="2211" cy="72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70" name="Line 7">
              <a:extLst>
                <a:ext uri="{FF2B5EF4-FFF2-40B4-BE49-F238E27FC236}">
                  <a16:creationId xmlns:a16="http://schemas.microsoft.com/office/drawing/2014/main" xmlns="" id="{B175F1C0-D630-46E7-B667-E6FF63777A8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768" y="2393"/>
              <a:ext cx="56" cy="0"/>
            </a:xfrm>
            <a:prstGeom prst="line">
              <a:avLst/>
            </a:prstGeom>
            <a:noFill/>
            <a:ln w="52388" cap="flat">
              <a:solidFill>
                <a:srgbClr val="A5BECD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71" name="Freeform 8">
              <a:extLst>
                <a:ext uri="{FF2B5EF4-FFF2-40B4-BE49-F238E27FC236}">
                  <a16:creationId xmlns:a16="http://schemas.microsoft.com/office/drawing/2014/main" xmlns="" id="{FB30CCC2-64AD-4EAC-B953-3F88C7721F54}"/>
                </a:ext>
              </a:extLst>
            </p:cNvPr>
            <p:cNvSpPr>
              <a:spLocks/>
            </p:cNvSpPr>
            <p:nvPr/>
          </p:nvSpPr>
          <p:spPr bwMode="auto">
            <a:xfrm>
              <a:off x="2013" y="1796"/>
              <a:ext cx="760" cy="725"/>
            </a:xfrm>
            <a:custGeom>
              <a:avLst/>
              <a:gdLst>
                <a:gd name="T0" fmla="*/ 321 w 322"/>
                <a:gd name="T1" fmla="*/ 90 h 307"/>
                <a:gd name="T2" fmla="*/ 309 w 322"/>
                <a:gd name="T3" fmla="*/ 132 h 307"/>
                <a:gd name="T4" fmla="*/ 309 w 322"/>
                <a:gd name="T5" fmla="*/ 132 h 307"/>
                <a:gd name="T6" fmla="*/ 261 w 322"/>
                <a:gd name="T7" fmla="*/ 208 h 307"/>
                <a:gd name="T8" fmla="*/ 284 w 322"/>
                <a:gd name="T9" fmla="*/ 253 h 307"/>
                <a:gd name="T10" fmla="*/ 230 w 322"/>
                <a:gd name="T11" fmla="*/ 307 h 307"/>
                <a:gd name="T12" fmla="*/ 180 w 322"/>
                <a:gd name="T13" fmla="*/ 274 h 307"/>
                <a:gd name="T14" fmla="*/ 0 w 322"/>
                <a:gd name="T15" fmla="*/ 274 h 307"/>
                <a:gd name="T16" fmla="*/ 4 w 322"/>
                <a:gd name="T17" fmla="*/ 265 h 307"/>
                <a:gd name="T18" fmla="*/ 4 w 322"/>
                <a:gd name="T19" fmla="*/ 241 h 307"/>
                <a:gd name="T20" fmla="*/ 0 w 322"/>
                <a:gd name="T21" fmla="*/ 231 h 307"/>
                <a:gd name="T22" fmla="*/ 180 w 322"/>
                <a:gd name="T23" fmla="*/ 231 h 307"/>
                <a:gd name="T24" fmla="*/ 202 w 322"/>
                <a:gd name="T25" fmla="*/ 206 h 307"/>
                <a:gd name="T26" fmla="*/ 160 w 322"/>
                <a:gd name="T27" fmla="*/ 127 h 307"/>
                <a:gd name="T28" fmla="*/ 150 w 322"/>
                <a:gd name="T29" fmla="*/ 84 h 307"/>
                <a:gd name="T30" fmla="*/ 238 w 322"/>
                <a:gd name="T31" fmla="*/ 2 h 307"/>
                <a:gd name="T32" fmla="*/ 321 w 322"/>
                <a:gd name="T33" fmla="*/ 90 h 3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22" h="307">
                  <a:moveTo>
                    <a:pt x="321" y="90"/>
                  </a:moveTo>
                  <a:cubicBezTo>
                    <a:pt x="321" y="105"/>
                    <a:pt x="316" y="119"/>
                    <a:pt x="309" y="132"/>
                  </a:cubicBezTo>
                  <a:cubicBezTo>
                    <a:pt x="309" y="132"/>
                    <a:pt x="309" y="132"/>
                    <a:pt x="309" y="132"/>
                  </a:cubicBezTo>
                  <a:cubicBezTo>
                    <a:pt x="261" y="208"/>
                    <a:pt x="261" y="208"/>
                    <a:pt x="261" y="208"/>
                  </a:cubicBezTo>
                  <a:cubicBezTo>
                    <a:pt x="275" y="218"/>
                    <a:pt x="284" y="234"/>
                    <a:pt x="284" y="253"/>
                  </a:cubicBezTo>
                  <a:cubicBezTo>
                    <a:pt x="284" y="283"/>
                    <a:pt x="260" y="307"/>
                    <a:pt x="230" y="307"/>
                  </a:cubicBezTo>
                  <a:cubicBezTo>
                    <a:pt x="207" y="307"/>
                    <a:pt x="188" y="294"/>
                    <a:pt x="180" y="274"/>
                  </a:cubicBezTo>
                  <a:cubicBezTo>
                    <a:pt x="0" y="274"/>
                    <a:pt x="0" y="274"/>
                    <a:pt x="0" y="274"/>
                  </a:cubicBezTo>
                  <a:cubicBezTo>
                    <a:pt x="2" y="271"/>
                    <a:pt x="3" y="268"/>
                    <a:pt x="4" y="265"/>
                  </a:cubicBezTo>
                  <a:cubicBezTo>
                    <a:pt x="4" y="241"/>
                    <a:pt x="4" y="241"/>
                    <a:pt x="4" y="241"/>
                  </a:cubicBezTo>
                  <a:cubicBezTo>
                    <a:pt x="3" y="237"/>
                    <a:pt x="2" y="234"/>
                    <a:pt x="0" y="231"/>
                  </a:cubicBezTo>
                  <a:cubicBezTo>
                    <a:pt x="180" y="231"/>
                    <a:pt x="180" y="231"/>
                    <a:pt x="180" y="231"/>
                  </a:cubicBezTo>
                  <a:cubicBezTo>
                    <a:pt x="184" y="220"/>
                    <a:pt x="192" y="211"/>
                    <a:pt x="202" y="206"/>
                  </a:cubicBezTo>
                  <a:cubicBezTo>
                    <a:pt x="160" y="127"/>
                    <a:pt x="160" y="127"/>
                    <a:pt x="160" y="127"/>
                  </a:cubicBezTo>
                  <a:cubicBezTo>
                    <a:pt x="153" y="114"/>
                    <a:pt x="149" y="99"/>
                    <a:pt x="150" y="84"/>
                  </a:cubicBezTo>
                  <a:cubicBezTo>
                    <a:pt x="151" y="37"/>
                    <a:pt x="191" y="0"/>
                    <a:pt x="238" y="2"/>
                  </a:cubicBezTo>
                  <a:cubicBezTo>
                    <a:pt x="285" y="3"/>
                    <a:pt x="322" y="43"/>
                    <a:pt x="321" y="9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72" name="Freeform 9">
              <a:extLst>
                <a:ext uri="{FF2B5EF4-FFF2-40B4-BE49-F238E27FC236}">
                  <a16:creationId xmlns:a16="http://schemas.microsoft.com/office/drawing/2014/main" xmlns="" id="{D0E0D796-FB81-48F4-8CB3-C36982AE2C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22" y="1829"/>
              <a:ext cx="721" cy="659"/>
            </a:xfrm>
            <a:custGeom>
              <a:avLst/>
              <a:gdLst>
                <a:gd name="T0" fmla="*/ 293 w 305"/>
                <a:gd name="T1" fmla="*/ 111 h 279"/>
                <a:gd name="T2" fmla="*/ 293 w 305"/>
                <a:gd name="T3" fmla="*/ 111 h 279"/>
                <a:gd name="T4" fmla="*/ 293 w 305"/>
                <a:gd name="T5" fmla="*/ 111 h 279"/>
                <a:gd name="T6" fmla="*/ 293 w 305"/>
                <a:gd name="T7" fmla="*/ 112 h 279"/>
                <a:gd name="T8" fmla="*/ 227 w 305"/>
                <a:gd name="T9" fmla="*/ 217 h 279"/>
                <a:gd name="T10" fmla="*/ 169 w 305"/>
                <a:gd name="T11" fmla="*/ 109 h 279"/>
                <a:gd name="T12" fmla="*/ 167 w 305"/>
                <a:gd name="T13" fmla="*/ 107 h 279"/>
                <a:gd name="T14" fmla="*/ 167 w 305"/>
                <a:gd name="T15" fmla="*/ 107 h 279"/>
                <a:gd name="T16" fmla="*/ 159 w 305"/>
                <a:gd name="T17" fmla="*/ 71 h 279"/>
                <a:gd name="T18" fmla="*/ 234 w 305"/>
                <a:gd name="T19" fmla="*/ 1 h 279"/>
                <a:gd name="T20" fmla="*/ 304 w 305"/>
                <a:gd name="T21" fmla="*/ 76 h 279"/>
                <a:gd name="T22" fmla="*/ 293 w 305"/>
                <a:gd name="T23" fmla="*/ 111 h 279"/>
                <a:gd name="T24" fmla="*/ 278 w 305"/>
                <a:gd name="T25" fmla="*/ 75 h 279"/>
                <a:gd name="T26" fmla="*/ 233 w 305"/>
                <a:gd name="T27" fmla="*/ 26 h 279"/>
                <a:gd name="T28" fmla="*/ 185 w 305"/>
                <a:gd name="T29" fmla="*/ 72 h 279"/>
                <a:gd name="T30" fmla="*/ 230 w 305"/>
                <a:gd name="T31" fmla="*/ 120 h 279"/>
                <a:gd name="T32" fmla="*/ 278 w 305"/>
                <a:gd name="T33" fmla="*/ 75 h 279"/>
                <a:gd name="T34" fmla="*/ 250 w 305"/>
                <a:gd name="T35" fmla="*/ 206 h 279"/>
                <a:gd name="T36" fmla="*/ 227 w 305"/>
                <a:gd name="T37" fmla="*/ 243 h 279"/>
                <a:gd name="T38" fmla="*/ 205 w 305"/>
                <a:gd name="T39" fmla="*/ 204 h 279"/>
                <a:gd name="T40" fmla="*/ 186 w 305"/>
                <a:gd name="T41" fmla="*/ 239 h 279"/>
                <a:gd name="T42" fmla="*/ 226 w 305"/>
                <a:gd name="T43" fmla="*/ 279 h 279"/>
                <a:gd name="T44" fmla="*/ 266 w 305"/>
                <a:gd name="T45" fmla="*/ 239 h 279"/>
                <a:gd name="T46" fmla="*/ 250 w 305"/>
                <a:gd name="T47" fmla="*/ 206 h 279"/>
                <a:gd name="T48" fmla="*/ 173 w 305"/>
                <a:gd name="T49" fmla="*/ 227 h 279"/>
                <a:gd name="T50" fmla="*/ 0 w 305"/>
                <a:gd name="T51" fmla="*/ 227 h 279"/>
                <a:gd name="T52" fmla="*/ 2 w 305"/>
                <a:gd name="T53" fmla="*/ 239 h 279"/>
                <a:gd name="T54" fmla="*/ 0 w 305"/>
                <a:gd name="T55" fmla="*/ 251 h 279"/>
                <a:gd name="T56" fmla="*/ 173 w 305"/>
                <a:gd name="T57" fmla="*/ 251 h 279"/>
                <a:gd name="T58" fmla="*/ 171 w 305"/>
                <a:gd name="T59" fmla="*/ 239 h 279"/>
                <a:gd name="T60" fmla="*/ 173 w 305"/>
                <a:gd name="T61" fmla="*/ 227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305" h="279">
                  <a:moveTo>
                    <a:pt x="293" y="111"/>
                  </a:moveTo>
                  <a:cubicBezTo>
                    <a:pt x="293" y="111"/>
                    <a:pt x="293" y="111"/>
                    <a:pt x="293" y="111"/>
                  </a:cubicBezTo>
                  <a:cubicBezTo>
                    <a:pt x="293" y="111"/>
                    <a:pt x="293" y="111"/>
                    <a:pt x="293" y="111"/>
                  </a:cubicBezTo>
                  <a:cubicBezTo>
                    <a:pt x="293" y="111"/>
                    <a:pt x="293" y="111"/>
                    <a:pt x="293" y="112"/>
                  </a:cubicBezTo>
                  <a:cubicBezTo>
                    <a:pt x="227" y="217"/>
                    <a:pt x="227" y="217"/>
                    <a:pt x="227" y="217"/>
                  </a:cubicBezTo>
                  <a:cubicBezTo>
                    <a:pt x="169" y="109"/>
                    <a:pt x="169" y="109"/>
                    <a:pt x="169" y="109"/>
                  </a:cubicBezTo>
                  <a:cubicBezTo>
                    <a:pt x="168" y="108"/>
                    <a:pt x="168" y="107"/>
                    <a:pt x="167" y="107"/>
                  </a:cubicBezTo>
                  <a:cubicBezTo>
                    <a:pt x="167" y="107"/>
                    <a:pt x="167" y="107"/>
                    <a:pt x="167" y="107"/>
                  </a:cubicBezTo>
                  <a:cubicBezTo>
                    <a:pt x="162" y="96"/>
                    <a:pt x="159" y="84"/>
                    <a:pt x="159" y="71"/>
                  </a:cubicBezTo>
                  <a:cubicBezTo>
                    <a:pt x="161" y="31"/>
                    <a:pt x="194" y="0"/>
                    <a:pt x="234" y="1"/>
                  </a:cubicBezTo>
                  <a:cubicBezTo>
                    <a:pt x="274" y="2"/>
                    <a:pt x="305" y="36"/>
                    <a:pt x="304" y="76"/>
                  </a:cubicBezTo>
                  <a:cubicBezTo>
                    <a:pt x="303" y="88"/>
                    <a:pt x="299" y="100"/>
                    <a:pt x="293" y="111"/>
                  </a:cubicBezTo>
                  <a:moveTo>
                    <a:pt x="278" y="75"/>
                  </a:moveTo>
                  <a:cubicBezTo>
                    <a:pt x="279" y="49"/>
                    <a:pt x="259" y="27"/>
                    <a:pt x="233" y="26"/>
                  </a:cubicBezTo>
                  <a:cubicBezTo>
                    <a:pt x="207" y="26"/>
                    <a:pt x="186" y="46"/>
                    <a:pt x="185" y="72"/>
                  </a:cubicBezTo>
                  <a:cubicBezTo>
                    <a:pt x="184" y="98"/>
                    <a:pt x="204" y="119"/>
                    <a:pt x="230" y="120"/>
                  </a:cubicBezTo>
                  <a:cubicBezTo>
                    <a:pt x="256" y="121"/>
                    <a:pt x="277" y="101"/>
                    <a:pt x="278" y="75"/>
                  </a:cubicBezTo>
                  <a:moveTo>
                    <a:pt x="250" y="206"/>
                  </a:moveTo>
                  <a:cubicBezTo>
                    <a:pt x="227" y="243"/>
                    <a:pt x="227" y="243"/>
                    <a:pt x="227" y="243"/>
                  </a:cubicBezTo>
                  <a:cubicBezTo>
                    <a:pt x="205" y="204"/>
                    <a:pt x="205" y="204"/>
                    <a:pt x="205" y="204"/>
                  </a:cubicBezTo>
                  <a:cubicBezTo>
                    <a:pt x="194" y="211"/>
                    <a:pt x="186" y="224"/>
                    <a:pt x="186" y="239"/>
                  </a:cubicBezTo>
                  <a:cubicBezTo>
                    <a:pt x="186" y="261"/>
                    <a:pt x="204" y="279"/>
                    <a:pt x="226" y="279"/>
                  </a:cubicBezTo>
                  <a:cubicBezTo>
                    <a:pt x="248" y="279"/>
                    <a:pt x="266" y="261"/>
                    <a:pt x="266" y="239"/>
                  </a:cubicBezTo>
                  <a:cubicBezTo>
                    <a:pt x="266" y="225"/>
                    <a:pt x="259" y="214"/>
                    <a:pt x="250" y="206"/>
                  </a:cubicBezTo>
                  <a:close/>
                  <a:moveTo>
                    <a:pt x="173" y="227"/>
                  </a:moveTo>
                  <a:cubicBezTo>
                    <a:pt x="0" y="227"/>
                    <a:pt x="0" y="227"/>
                    <a:pt x="0" y="227"/>
                  </a:cubicBezTo>
                  <a:cubicBezTo>
                    <a:pt x="2" y="231"/>
                    <a:pt x="2" y="235"/>
                    <a:pt x="2" y="239"/>
                  </a:cubicBezTo>
                  <a:cubicBezTo>
                    <a:pt x="2" y="243"/>
                    <a:pt x="2" y="247"/>
                    <a:pt x="0" y="251"/>
                  </a:cubicBezTo>
                  <a:cubicBezTo>
                    <a:pt x="173" y="251"/>
                    <a:pt x="173" y="251"/>
                    <a:pt x="173" y="251"/>
                  </a:cubicBezTo>
                  <a:cubicBezTo>
                    <a:pt x="172" y="247"/>
                    <a:pt x="171" y="243"/>
                    <a:pt x="171" y="239"/>
                  </a:cubicBezTo>
                  <a:cubicBezTo>
                    <a:pt x="171" y="235"/>
                    <a:pt x="172" y="231"/>
                    <a:pt x="173" y="227"/>
                  </a:cubicBez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73" name="Freeform 10">
              <a:extLst>
                <a:ext uri="{FF2B5EF4-FFF2-40B4-BE49-F238E27FC236}">
                  <a16:creationId xmlns:a16="http://schemas.microsoft.com/office/drawing/2014/main" xmlns="" id="{DFBFFDFC-91C3-4D78-A59C-BB3EDDA49D0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76" y="1829"/>
              <a:ext cx="2209" cy="659"/>
            </a:xfrm>
            <a:custGeom>
              <a:avLst/>
              <a:gdLst>
                <a:gd name="T0" fmla="*/ 530 w 935"/>
                <a:gd name="T1" fmla="*/ 231 h 279"/>
                <a:gd name="T2" fmla="*/ 509 w 935"/>
                <a:gd name="T3" fmla="*/ 247 h 279"/>
                <a:gd name="T4" fmla="*/ 426 w 935"/>
                <a:gd name="T5" fmla="*/ 247 h 279"/>
                <a:gd name="T6" fmla="*/ 447 w 935"/>
                <a:gd name="T7" fmla="*/ 231 h 279"/>
                <a:gd name="T8" fmla="*/ 426 w 935"/>
                <a:gd name="T9" fmla="*/ 247 h 279"/>
                <a:gd name="T10" fmla="*/ 489 w 935"/>
                <a:gd name="T11" fmla="*/ 247 h 279"/>
                <a:gd name="T12" fmla="*/ 468 w 935"/>
                <a:gd name="T13" fmla="*/ 231 h 279"/>
                <a:gd name="T14" fmla="*/ 385 w 935"/>
                <a:gd name="T15" fmla="*/ 247 h 279"/>
                <a:gd name="T16" fmla="*/ 406 w 935"/>
                <a:gd name="T17" fmla="*/ 231 h 279"/>
                <a:gd name="T18" fmla="*/ 385 w 935"/>
                <a:gd name="T19" fmla="*/ 247 h 279"/>
                <a:gd name="T20" fmla="*/ 738 w 935"/>
                <a:gd name="T21" fmla="*/ 247 h 279"/>
                <a:gd name="T22" fmla="*/ 717 w 935"/>
                <a:gd name="T23" fmla="*/ 231 h 279"/>
                <a:gd name="T24" fmla="*/ 758 w 935"/>
                <a:gd name="T25" fmla="*/ 247 h 279"/>
                <a:gd name="T26" fmla="*/ 779 w 935"/>
                <a:gd name="T27" fmla="*/ 231 h 279"/>
                <a:gd name="T28" fmla="*/ 758 w 935"/>
                <a:gd name="T29" fmla="*/ 247 h 279"/>
                <a:gd name="T30" fmla="*/ 696 w 935"/>
                <a:gd name="T31" fmla="*/ 247 h 279"/>
                <a:gd name="T32" fmla="*/ 675 w 935"/>
                <a:gd name="T33" fmla="*/ 231 h 279"/>
                <a:gd name="T34" fmla="*/ 671 w 935"/>
                <a:gd name="T35" fmla="*/ 76 h 279"/>
                <a:gd name="T36" fmla="*/ 660 w 935"/>
                <a:gd name="T37" fmla="*/ 111 h 279"/>
                <a:gd name="T38" fmla="*/ 605 w 935"/>
                <a:gd name="T39" fmla="*/ 200 h 279"/>
                <a:gd name="T40" fmla="*/ 655 w 935"/>
                <a:gd name="T41" fmla="*/ 231 h 279"/>
                <a:gd name="T42" fmla="*/ 635 w 935"/>
                <a:gd name="T43" fmla="*/ 247 h 279"/>
                <a:gd name="T44" fmla="*/ 557 w 935"/>
                <a:gd name="T45" fmla="*/ 247 h 279"/>
                <a:gd name="T46" fmla="*/ 551 w 935"/>
                <a:gd name="T47" fmla="*/ 231 h 279"/>
                <a:gd name="T48" fmla="*/ 585 w 935"/>
                <a:gd name="T49" fmla="*/ 200 h 279"/>
                <a:gd name="T50" fmla="*/ 534 w 935"/>
                <a:gd name="T51" fmla="*/ 107 h 279"/>
                <a:gd name="T52" fmla="*/ 526 w 935"/>
                <a:gd name="T53" fmla="*/ 71 h 279"/>
                <a:gd name="T54" fmla="*/ 671 w 935"/>
                <a:gd name="T55" fmla="*/ 76 h 279"/>
                <a:gd name="T56" fmla="*/ 600 w 935"/>
                <a:gd name="T57" fmla="*/ 26 h 279"/>
                <a:gd name="T58" fmla="*/ 597 w 935"/>
                <a:gd name="T59" fmla="*/ 120 h 279"/>
                <a:gd name="T60" fmla="*/ 934 w 935"/>
                <a:gd name="T61" fmla="*/ 76 h 279"/>
                <a:gd name="T62" fmla="*/ 923 w 935"/>
                <a:gd name="T63" fmla="*/ 111 h 279"/>
                <a:gd name="T64" fmla="*/ 868 w 935"/>
                <a:gd name="T65" fmla="*/ 200 h 279"/>
                <a:gd name="T66" fmla="*/ 858 w 935"/>
                <a:gd name="T67" fmla="*/ 279 h 279"/>
                <a:gd name="T68" fmla="*/ 800 w 935"/>
                <a:gd name="T69" fmla="*/ 247 h 279"/>
                <a:gd name="T70" fmla="*/ 819 w 935"/>
                <a:gd name="T71" fmla="*/ 231 h 279"/>
                <a:gd name="T72" fmla="*/ 798 w 935"/>
                <a:gd name="T73" fmla="*/ 109 h 279"/>
                <a:gd name="T74" fmla="*/ 797 w 935"/>
                <a:gd name="T75" fmla="*/ 107 h 279"/>
                <a:gd name="T76" fmla="*/ 864 w 935"/>
                <a:gd name="T77" fmla="*/ 1 h 279"/>
                <a:gd name="T78" fmla="*/ 908 w 935"/>
                <a:gd name="T79" fmla="*/ 75 h 279"/>
                <a:gd name="T80" fmla="*/ 815 w 935"/>
                <a:gd name="T81" fmla="*/ 72 h 279"/>
                <a:gd name="T82" fmla="*/ 908 w 935"/>
                <a:gd name="T83" fmla="*/ 75 h 279"/>
                <a:gd name="T84" fmla="*/ 134 w 935"/>
                <a:gd name="T85" fmla="*/ 111 h 279"/>
                <a:gd name="T86" fmla="*/ 134 w 935"/>
                <a:gd name="T87" fmla="*/ 112 h 279"/>
                <a:gd name="T88" fmla="*/ 106 w 935"/>
                <a:gd name="T89" fmla="*/ 239 h 279"/>
                <a:gd name="T90" fmla="*/ 26 w 935"/>
                <a:gd name="T91" fmla="*/ 239 h 279"/>
                <a:gd name="T92" fmla="*/ 10 w 935"/>
                <a:gd name="T93" fmla="*/ 109 h 279"/>
                <a:gd name="T94" fmla="*/ 9 w 935"/>
                <a:gd name="T95" fmla="*/ 107 h 279"/>
                <a:gd name="T96" fmla="*/ 75 w 935"/>
                <a:gd name="T97" fmla="*/ 1 h 279"/>
                <a:gd name="T98" fmla="*/ 119 w 935"/>
                <a:gd name="T99" fmla="*/ 75 h 279"/>
                <a:gd name="T100" fmla="*/ 26 w 935"/>
                <a:gd name="T101" fmla="*/ 72 h 279"/>
                <a:gd name="T102" fmla="*/ 119 w 935"/>
                <a:gd name="T103" fmla="*/ 75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935" h="279">
                  <a:moveTo>
                    <a:pt x="509" y="231"/>
                  </a:moveTo>
                  <a:cubicBezTo>
                    <a:pt x="530" y="231"/>
                    <a:pt x="530" y="231"/>
                    <a:pt x="530" y="231"/>
                  </a:cubicBezTo>
                  <a:cubicBezTo>
                    <a:pt x="530" y="247"/>
                    <a:pt x="530" y="247"/>
                    <a:pt x="530" y="247"/>
                  </a:cubicBezTo>
                  <a:cubicBezTo>
                    <a:pt x="509" y="247"/>
                    <a:pt x="509" y="247"/>
                    <a:pt x="509" y="247"/>
                  </a:cubicBezTo>
                  <a:lnTo>
                    <a:pt x="509" y="231"/>
                  </a:lnTo>
                  <a:close/>
                  <a:moveTo>
                    <a:pt x="426" y="247"/>
                  </a:moveTo>
                  <a:cubicBezTo>
                    <a:pt x="447" y="247"/>
                    <a:pt x="447" y="247"/>
                    <a:pt x="447" y="247"/>
                  </a:cubicBezTo>
                  <a:cubicBezTo>
                    <a:pt x="447" y="231"/>
                    <a:pt x="447" y="231"/>
                    <a:pt x="447" y="231"/>
                  </a:cubicBezTo>
                  <a:cubicBezTo>
                    <a:pt x="426" y="231"/>
                    <a:pt x="426" y="231"/>
                    <a:pt x="426" y="231"/>
                  </a:cubicBezTo>
                  <a:lnTo>
                    <a:pt x="426" y="247"/>
                  </a:lnTo>
                  <a:close/>
                  <a:moveTo>
                    <a:pt x="468" y="247"/>
                  </a:moveTo>
                  <a:cubicBezTo>
                    <a:pt x="489" y="247"/>
                    <a:pt x="489" y="247"/>
                    <a:pt x="489" y="247"/>
                  </a:cubicBezTo>
                  <a:cubicBezTo>
                    <a:pt x="489" y="231"/>
                    <a:pt x="489" y="231"/>
                    <a:pt x="489" y="231"/>
                  </a:cubicBezTo>
                  <a:cubicBezTo>
                    <a:pt x="468" y="231"/>
                    <a:pt x="468" y="231"/>
                    <a:pt x="468" y="231"/>
                  </a:cubicBezTo>
                  <a:lnTo>
                    <a:pt x="468" y="247"/>
                  </a:lnTo>
                  <a:close/>
                  <a:moveTo>
                    <a:pt x="385" y="247"/>
                  </a:moveTo>
                  <a:cubicBezTo>
                    <a:pt x="406" y="247"/>
                    <a:pt x="406" y="247"/>
                    <a:pt x="406" y="247"/>
                  </a:cubicBezTo>
                  <a:cubicBezTo>
                    <a:pt x="406" y="231"/>
                    <a:pt x="406" y="231"/>
                    <a:pt x="406" y="231"/>
                  </a:cubicBezTo>
                  <a:cubicBezTo>
                    <a:pt x="385" y="231"/>
                    <a:pt x="385" y="231"/>
                    <a:pt x="385" y="231"/>
                  </a:cubicBezTo>
                  <a:lnTo>
                    <a:pt x="385" y="247"/>
                  </a:lnTo>
                  <a:close/>
                  <a:moveTo>
                    <a:pt x="717" y="247"/>
                  </a:moveTo>
                  <a:cubicBezTo>
                    <a:pt x="738" y="247"/>
                    <a:pt x="738" y="247"/>
                    <a:pt x="738" y="247"/>
                  </a:cubicBezTo>
                  <a:cubicBezTo>
                    <a:pt x="738" y="231"/>
                    <a:pt x="738" y="231"/>
                    <a:pt x="738" y="231"/>
                  </a:cubicBezTo>
                  <a:cubicBezTo>
                    <a:pt x="717" y="231"/>
                    <a:pt x="717" y="231"/>
                    <a:pt x="717" y="231"/>
                  </a:cubicBezTo>
                  <a:lnTo>
                    <a:pt x="717" y="247"/>
                  </a:lnTo>
                  <a:close/>
                  <a:moveTo>
                    <a:pt x="758" y="247"/>
                  </a:moveTo>
                  <a:cubicBezTo>
                    <a:pt x="779" y="247"/>
                    <a:pt x="779" y="247"/>
                    <a:pt x="779" y="247"/>
                  </a:cubicBezTo>
                  <a:cubicBezTo>
                    <a:pt x="779" y="231"/>
                    <a:pt x="779" y="231"/>
                    <a:pt x="779" y="231"/>
                  </a:cubicBezTo>
                  <a:cubicBezTo>
                    <a:pt x="758" y="231"/>
                    <a:pt x="758" y="231"/>
                    <a:pt x="758" y="231"/>
                  </a:cubicBezTo>
                  <a:lnTo>
                    <a:pt x="758" y="247"/>
                  </a:lnTo>
                  <a:close/>
                  <a:moveTo>
                    <a:pt x="675" y="247"/>
                  </a:moveTo>
                  <a:cubicBezTo>
                    <a:pt x="696" y="247"/>
                    <a:pt x="696" y="247"/>
                    <a:pt x="696" y="247"/>
                  </a:cubicBezTo>
                  <a:cubicBezTo>
                    <a:pt x="696" y="231"/>
                    <a:pt x="696" y="231"/>
                    <a:pt x="696" y="231"/>
                  </a:cubicBezTo>
                  <a:cubicBezTo>
                    <a:pt x="675" y="231"/>
                    <a:pt x="675" y="231"/>
                    <a:pt x="675" y="231"/>
                  </a:cubicBezTo>
                  <a:lnTo>
                    <a:pt x="675" y="247"/>
                  </a:lnTo>
                  <a:close/>
                  <a:moveTo>
                    <a:pt x="671" y="76"/>
                  </a:moveTo>
                  <a:cubicBezTo>
                    <a:pt x="670" y="88"/>
                    <a:pt x="666" y="100"/>
                    <a:pt x="660" y="111"/>
                  </a:cubicBezTo>
                  <a:cubicBezTo>
                    <a:pt x="660" y="111"/>
                    <a:pt x="660" y="111"/>
                    <a:pt x="660" y="111"/>
                  </a:cubicBezTo>
                  <a:cubicBezTo>
                    <a:pt x="660" y="111"/>
                    <a:pt x="660" y="111"/>
                    <a:pt x="660" y="112"/>
                  </a:cubicBezTo>
                  <a:cubicBezTo>
                    <a:pt x="605" y="200"/>
                    <a:pt x="605" y="200"/>
                    <a:pt x="605" y="200"/>
                  </a:cubicBezTo>
                  <a:cubicBezTo>
                    <a:pt x="620" y="203"/>
                    <a:pt x="632" y="215"/>
                    <a:pt x="635" y="231"/>
                  </a:cubicBezTo>
                  <a:cubicBezTo>
                    <a:pt x="655" y="231"/>
                    <a:pt x="655" y="231"/>
                    <a:pt x="655" y="231"/>
                  </a:cubicBezTo>
                  <a:cubicBezTo>
                    <a:pt x="655" y="247"/>
                    <a:pt x="655" y="247"/>
                    <a:pt x="655" y="247"/>
                  </a:cubicBezTo>
                  <a:cubicBezTo>
                    <a:pt x="635" y="247"/>
                    <a:pt x="635" y="247"/>
                    <a:pt x="635" y="247"/>
                  </a:cubicBezTo>
                  <a:cubicBezTo>
                    <a:pt x="632" y="265"/>
                    <a:pt x="615" y="279"/>
                    <a:pt x="596" y="279"/>
                  </a:cubicBezTo>
                  <a:cubicBezTo>
                    <a:pt x="577" y="279"/>
                    <a:pt x="560" y="265"/>
                    <a:pt x="557" y="247"/>
                  </a:cubicBezTo>
                  <a:cubicBezTo>
                    <a:pt x="551" y="247"/>
                    <a:pt x="551" y="247"/>
                    <a:pt x="551" y="247"/>
                  </a:cubicBezTo>
                  <a:cubicBezTo>
                    <a:pt x="551" y="231"/>
                    <a:pt x="551" y="231"/>
                    <a:pt x="551" y="231"/>
                  </a:cubicBezTo>
                  <a:cubicBezTo>
                    <a:pt x="557" y="231"/>
                    <a:pt x="557" y="231"/>
                    <a:pt x="557" y="231"/>
                  </a:cubicBezTo>
                  <a:cubicBezTo>
                    <a:pt x="560" y="216"/>
                    <a:pt x="571" y="204"/>
                    <a:pt x="585" y="200"/>
                  </a:cubicBezTo>
                  <a:cubicBezTo>
                    <a:pt x="536" y="109"/>
                    <a:pt x="536" y="109"/>
                    <a:pt x="536" y="109"/>
                  </a:cubicBezTo>
                  <a:cubicBezTo>
                    <a:pt x="535" y="108"/>
                    <a:pt x="535" y="107"/>
                    <a:pt x="534" y="107"/>
                  </a:cubicBezTo>
                  <a:cubicBezTo>
                    <a:pt x="534" y="107"/>
                    <a:pt x="534" y="107"/>
                    <a:pt x="534" y="107"/>
                  </a:cubicBezTo>
                  <a:cubicBezTo>
                    <a:pt x="529" y="96"/>
                    <a:pt x="526" y="84"/>
                    <a:pt x="526" y="71"/>
                  </a:cubicBezTo>
                  <a:cubicBezTo>
                    <a:pt x="527" y="31"/>
                    <a:pt x="561" y="0"/>
                    <a:pt x="601" y="1"/>
                  </a:cubicBezTo>
                  <a:cubicBezTo>
                    <a:pt x="641" y="2"/>
                    <a:pt x="672" y="36"/>
                    <a:pt x="671" y="76"/>
                  </a:cubicBezTo>
                  <a:close/>
                  <a:moveTo>
                    <a:pt x="645" y="75"/>
                  </a:moveTo>
                  <a:cubicBezTo>
                    <a:pt x="646" y="49"/>
                    <a:pt x="626" y="27"/>
                    <a:pt x="600" y="26"/>
                  </a:cubicBezTo>
                  <a:cubicBezTo>
                    <a:pt x="574" y="26"/>
                    <a:pt x="552" y="46"/>
                    <a:pt x="552" y="72"/>
                  </a:cubicBezTo>
                  <a:cubicBezTo>
                    <a:pt x="551" y="98"/>
                    <a:pt x="571" y="119"/>
                    <a:pt x="597" y="120"/>
                  </a:cubicBezTo>
                  <a:cubicBezTo>
                    <a:pt x="623" y="121"/>
                    <a:pt x="644" y="101"/>
                    <a:pt x="645" y="75"/>
                  </a:cubicBezTo>
                  <a:close/>
                  <a:moveTo>
                    <a:pt x="934" y="76"/>
                  </a:moveTo>
                  <a:cubicBezTo>
                    <a:pt x="933" y="88"/>
                    <a:pt x="929" y="100"/>
                    <a:pt x="923" y="111"/>
                  </a:cubicBezTo>
                  <a:cubicBezTo>
                    <a:pt x="923" y="111"/>
                    <a:pt x="923" y="111"/>
                    <a:pt x="923" y="111"/>
                  </a:cubicBezTo>
                  <a:cubicBezTo>
                    <a:pt x="923" y="111"/>
                    <a:pt x="923" y="111"/>
                    <a:pt x="923" y="112"/>
                  </a:cubicBezTo>
                  <a:cubicBezTo>
                    <a:pt x="868" y="200"/>
                    <a:pt x="868" y="200"/>
                    <a:pt x="868" y="200"/>
                  </a:cubicBezTo>
                  <a:cubicBezTo>
                    <a:pt x="885" y="204"/>
                    <a:pt x="898" y="220"/>
                    <a:pt x="898" y="239"/>
                  </a:cubicBezTo>
                  <a:cubicBezTo>
                    <a:pt x="898" y="261"/>
                    <a:pt x="880" y="279"/>
                    <a:pt x="858" y="279"/>
                  </a:cubicBezTo>
                  <a:cubicBezTo>
                    <a:pt x="839" y="279"/>
                    <a:pt x="823" y="265"/>
                    <a:pt x="819" y="247"/>
                  </a:cubicBezTo>
                  <a:cubicBezTo>
                    <a:pt x="800" y="247"/>
                    <a:pt x="800" y="247"/>
                    <a:pt x="800" y="247"/>
                  </a:cubicBezTo>
                  <a:cubicBezTo>
                    <a:pt x="800" y="231"/>
                    <a:pt x="800" y="231"/>
                    <a:pt x="800" y="231"/>
                  </a:cubicBezTo>
                  <a:cubicBezTo>
                    <a:pt x="819" y="231"/>
                    <a:pt x="819" y="231"/>
                    <a:pt x="819" y="231"/>
                  </a:cubicBezTo>
                  <a:cubicBezTo>
                    <a:pt x="822" y="216"/>
                    <a:pt x="833" y="204"/>
                    <a:pt x="848" y="200"/>
                  </a:cubicBezTo>
                  <a:cubicBezTo>
                    <a:pt x="798" y="109"/>
                    <a:pt x="798" y="109"/>
                    <a:pt x="798" y="109"/>
                  </a:cubicBezTo>
                  <a:cubicBezTo>
                    <a:pt x="798" y="108"/>
                    <a:pt x="798" y="107"/>
                    <a:pt x="797" y="107"/>
                  </a:cubicBezTo>
                  <a:cubicBezTo>
                    <a:pt x="797" y="107"/>
                    <a:pt x="797" y="107"/>
                    <a:pt x="797" y="107"/>
                  </a:cubicBezTo>
                  <a:cubicBezTo>
                    <a:pt x="792" y="96"/>
                    <a:pt x="789" y="84"/>
                    <a:pt x="789" y="71"/>
                  </a:cubicBezTo>
                  <a:cubicBezTo>
                    <a:pt x="790" y="31"/>
                    <a:pt x="824" y="0"/>
                    <a:pt x="864" y="1"/>
                  </a:cubicBezTo>
                  <a:cubicBezTo>
                    <a:pt x="904" y="2"/>
                    <a:pt x="935" y="36"/>
                    <a:pt x="934" y="76"/>
                  </a:cubicBezTo>
                  <a:close/>
                  <a:moveTo>
                    <a:pt x="908" y="75"/>
                  </a:moveTo>
                  <a:cubicBezTo>
                    <a:pt x="909" y="49"/>
                    <a:pt x="889" y="27"/>
                    <a:pt x="863" y="26"/>
                  </a:cubicBezTo>
                  <a:cubicBezTo>
                    <a:pt x="837" y="26"/>
                    <a:pt x="815" y="46"/>
                    <a:pt x="815" y="72"/>
                  </a:cubicBezTo>
                  <a:cubicBezTo>
                    <a:pt x="814" y="98"/>
                    <a:pt x="834" y="119"/>
                    <a:pt x="860" y="120"/>
                  </a:cubicBezTo>
                  <a:cubicBezTo>
                    <a:pt x="886" y="121"/>
                    <a:pt x="907" y="101"/>
                    <a:pt x="908" y="75"/>
                  </a:cubicBezTo>
                  <a:close/>
                  <a:moveTo>
                    <a:pt x="145" y="76"/>
                  </a:moveTo>
                  <a:cubicBezTo>
                    <a:pt x="144" y="88"/>
                    <a:pt x="141" y="100"/>
                    <a:pt x="134" y="111"/>
                  </a:cubicBezTo>
                  <a:cubicBezTo>
                    <a:pt x="134" y="111"/>
                    <a:pt x="134" y="111"/>
                    <a:pt x="134" y="111"/>
                  </a:cubicBezTo>
                  <a:cubicBezTo>
                    <a:pt x="134" y="111"/>
                    <a:pt x="134" y="111"/>
                    <a:pt x="134" y="112"/>
                  </a:cubicBezTo>
                  <a:cubicBezTo>
                    <a:pt x="78" y="201"/>
                    <a:pt x="78" y="201"/>
                    <a:pt x="78" y="201"/>
                  </a:cubicBezTo>
                  <a:cubicBezTo>
                    <a:pt x="95" y="206"/>
                    <a:pt x="106" y="221"/>
                    <a:pt x="106" y="239"/>
                  </a:cubicBezTo>
                  <a:cubicBezTo>
                    <a:pt x="106" y="261"/>
                    <a:pt x="88" y="279"/>
                    <a:pt x="66" y="279"/>
                  </a:cubicBezTo>
                  <a:cubicBezTo>
                    <a:pt x="44" y="279"/>
                    <a:pt x="26" y="261"/>
                    <a:pt x="26" y="239"/>
                  </a:cubicBezTo>
                  <a:cubicBezTo>
                    <a:pt x="26" y="219"/>
                    <a:pt x="40" y="203"/>
                    <a:pt x="59" y="199"/>
                  </a:cubicBezTo>
                  <a:cubicBezTo>
                    <a:pt x="10" y="109"/>
                    <a:pt x="10" y="109"/>
                    <a:pt x="10" y="109"/>
                  </a:cubicBezTo>
                  <a:cubicBezTo>
                    <a:pt x="9" y="108"/>
                    <a:pt x="9" y="107"/>
                    <a:pt x="9" y="107"/>
                  </a:cubicBezTo>
                  <a:cubicBezTo>
                    <a:pt x="9" y="107"/>
                    <a:pt x="9" y="107"/>
                    <a:pt x="9" y="107"/>
                  </a:cubicBezTo>
                  <a:cubicBezTo>
                    <a:pt x="3" y="96"/>
                    <a:pt x="0" y="84"/>
                    <a:pt x="0" y="71"/>
                  </a:cubicBezTo>
                  <a:cubicBezTo>
                    <a:pt x="2" y="31"/>
                    <a:pt x="35" y="0"/>
                    <a:pt x="75" y="1"/>
                  </a:cubicBezTo>
                  <a:cubicBezTo>
                    <a:pt x="115" y="2"/>
                    <a:pt x="146" y="36"/>
                    <a:pt x="145" y="76"/>
                  </a:cubicBezTo>
                  <a:close/>
                  <a:moveTo>
                    <a:pt x="119" y="75"/>
                  </a:moveTo>
                  <a:cubicBezTo>
                    <a:pt x="120" y="49"/>
                    <a:pt x="100" y="27"/>
                    <a:pt x="74" y="26"/>
                  </a:cubicBezTo>
                  <a:cubicBezTo>
                    <a:pt x="48" y="26"/>
                    <a:pt x="27" y="46"/>
                    <a:pt x="26" y="72"/>
                  </a:cubicBezTo>
                  <a:cubicBezTo>
                    <a:pt x="25" y="98"/>
                    <a:pt x="45" y="119"/>
                    <a:pt x="71" y="120"/>
                  </a:cubicBezTo>
                  <a:cubicBezTo>
                    <a:pt x="97" y="121"/>
                    <a:pt x="118" y="101"/>
                    <a:pt x="119" y="7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grpSp>
        <p:nvGrpSpPr>
          <p:cNvPr id="274" name="Group 175">
            <a:extLst>
              <a:ext uri="{FF2B5EF4-FFF2-40B4-BE49-F238E27FC236}">
                <a16:creationId xmlns:a16="http://schemas.microsoft.com/office/drawing/2014/main" xmlns="" id="{46B37F80-D368-45A6-8E09-A8D7F6E8CA56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818303" y="1981003"/>
            <a:ext cx="950593" cy="564871"/>
            <a:chOff x="-1279" y="1858"/>
            <a:chExt cx="1040" cy="618"/>
          </a:xfrm>
          <a:effectLst>
            <a:outerShdw blurRad="101600" dist="50800" dir="2700000" algn="ctr" rotWithShape="0">
              <a:srgbClr val="000000">
                <a:alpha val="29000"/>
              </a:srgbClr>
            </a:outerShdw>
          </a:effectLst>
        </p:grpSpPr>
        <p:sp>
          <p:nvSpPr>
            <p:cNvPr id="275" name="AutoShape 174">
              <a:extLst>
                <a:ext uri="{FF2B5EF4-FFF2-40B4-BE49-F238E27FC236}">
                  <a16:creationId xmlns:a16="http://schemas.microsoft.com/office/drawing/2014/main" xmlns="" id="{75A54B79-7E49-4093-BB57-B8BEC64AF048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-1279" y="1858"/>
              <a:ext cx="1040" cy="61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76" name="Freeform 176">
              <a:extLst>
                <a:ext uri="{FF2B5EF4-FFF2-40B4-BE49-F238E27FC236}">
                  <a16:creationId xmlns:a16="http://schemas.microsoft.com/office/drawing/2014/main" xmlns="" id="{F32F745E-3413-4058-B1A5-5E6887AD182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1242" y="1995"/>
              <a:ext cx="863" cy="480"/>
            </a:xfrm>
            <a:custGeom>
              <a:avLst/>
              <a:gdLst>
                <a:gd name="T0" fmla="*/ 787 w 797"/>
                <a:gd name="T1" fmla="*/ 158 h 443"/>
                <a:gd name="T2" fmla="*/ 678 w 797"/>
                <a:gd name="T3" fmla="*/ 87 h 443"/>
                <a:gd name="T4" fmla="*/ 522 w 797"/>
                <a:gd name="T5" fmla="*/ 204 h 443"/>
                <a:gd name="T6" fmla="*/ 643 w 797"/>
                <a:gd name="T7" fmla="*/ 67 h 443"/>
                <a:gd name="T8" fmla="*/ 571 w 797"/>
                <a:gd name="T9" fmla="*/ 53 h 443"/>
                <a:gd name="T10" fmla="*/ 638 w 797"/>
                <a:gd name="T11" fmla="*/ 38 h 443"/>
                <a:gd name="T12" fmla="*/ 718 w 797"/>
                <a:gd name="T13" fmla="*/ 46 h 443"/>
                <a:gd name="T14" fmla="*/ 797 w 797"/>
                <a:gd name="T15" fmla="*/ 146 h 443"/>
                <a:gd name="T16" fmla="*/ 781 w 797"/>
                <a:gd name="T17" fmla="*/ 201 h 443"/>
                <a:gd name="T18" fmla="*/ 781 w 797"/>
                <a:gd name="T19" fmla="*/ 201 h 443"/>
                <a:gd name="T20" fmla="*/ 549 w 797"/>
                <a:gd name="T21" fmla="*/ 299 h 443"/>
                <a:gd name="T22" fmla="*/ 640 w 797"/>
                <a:gd name="T23" fmla="*/ 362 h 443"/>
                <a:gd name="T24" fmla="*/ 640 w 797"/>
                <a:gd name="T25" fmla="*/ 443 h 443"/>
                <a:gd name="T26" fmla="*/ 305 w 797"/>
                <a:gd name="T27" fmla="*/ 401 h 443"/>
                <a:gd name="T28" fmla="*/ 225 w 797"/>
                <a:gd name="T29" fmla="*/ 396 h 443"/>
                <a:gd name="T30" fmla="*/ 73 w 797"/>
                <a:gd name="T31" fmla="*/ 321 h 443"/>
                <a:gd name="T32" fmla="*/ 0 w 797"/>
                <a:gd name="T33" fmla="*/ 298 h 443"/>
                <a:gd name="T34" fmla="*/ 63 w 797"/>
                <a:gd name="T35" fmla="*/ 265 h 443"/>
                <a:gd name="T36" fmla="*/ 167 w 797"/>
                <a:gd name="T37" fmla="*/ 186 h 443"/>
                <a:gd name="T38" fmla="*/ 77 w 797"/>
                <a:gd name="T39" fmla="*/ 282 h 443"/>
                <a:gd name="T40" fmla="*/ 424 w 797"/>
                <a:gd name="T41" fmla="*/ 247 h 443"/>
                <a:gd name="T42" fmla="*/ 80 w 797"/>
                <a:gd name="T43" fmla="*/ 298 h 443"/>
                <a:gd name="T44" fmla="*/ 233 w 797"/>
                <a:gd name="T45" fmla="*/ 373 h 443"/>
                <a:gd name="T46" fmla="*/ 292 w 797"/>
                <a:gd name="T47" fmla="*/ 366 h 443"/>
                <a:gd name="T48" fmla="*/ 439 w 797"/>
                <a:gd name="T49" fmla="*/ 274 h 443"/>
                <a:gd name="T50" fmla="*/ 521 w 797"/>
                <a:gd name="T51" fmla="*/ 293 h 443"/>
                <a:gd name="T52" fmla="*/ 520 w 797"/>
                <a:gd name="T53" fmla="*/ 270 h 443"/>
                <a:gd name="T54" fmla="*/ 714 w 797"/>
                <a:gd name="T55" fmla="*/ 221 h 443"/>
                <a:gd name="T56" fmla="*/ 785 w 797"/>
                <a:gd name="T57" fmla="*/ 212 h 443"/>
                <a:gd name="T58" fmla="*/ 316 w 797"/>
                <a:gd name="T59" fmla="*/ 386 h 443"/>
                <a:gd name="T60" fmla="*/ 607 w 797"/>
                <a:gd name="T61" fmla="*/ 380 h 443"/>
                <a:gd name="T62" fmla="*/ 97 w 797"/>
                <a:gd name="T63" fmla="*/ 118 h 443"/>
                <a:gd name="T64" fmla="*/ 268 w 797"/>
                <a:gd name="T65" fmla="*/ 66 h 443"/>
                <a:gd name="T66" fmla="*/ 204 w 797"/>
                <a:gd name="T67" fmla="*/ 151 h 443"/>
                <a:gd name="T68" fmla="*/ 299 w 797"/>
                <a:gd name="T69" fmla="*/ 80 h 443"/>
                <a:gd name="T70" fmla="*/ 434 w 797"/>
                <a:gd name="T71" fmla="*/ 204 h 443"/>
                <a:gd name="T72" fmla="*/ 332 w 797"/>
                <a:gd name="T73" fmla="*/ 63 h 443"/>
                <a:gd name="T74" fmla="*/ 401 w 797"/>
                <a:gd name="T75" fmla="*/ 50 h 443"/>
                <a:gd name="T76" fmla="*/ 338 w 797"/>
                <a:gd name="T77" fmla="*/ 33 h 443"/>
                <a:gd name="T78" fmla="*/ 259 w 797"/>
                <a:gd name="T79" fmla="*/ 40 h 443"/>
                <a:gd name="T80" fmla="*/ 91 w 797"/>
                <a:gd name="T81" fmla="*/ 103 h 4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797" h="443">
                  <a:moveTo>
                    <a:pt x="797" y="146"/>
                  </a:moveTo>
                  <a:cubicBezTo>
                    <a:pt x="793" y="150"/>
                    <a:pt x="790" y="154"/>
                    <a:pt x="787" y="158"/>
                  </a:cubicBezTo>
                  <a:cubicBezTo>
                    <a:pt x="701" y="79"/>
                    <a:pt x="701" y="79"/>
                    <a:pt x="701" y="79"/>
                  </a:cubicBezTo>
                  <a:cubicBezTo>
                    <a:pt x="694" y="84"/>
                    <a:pt x="686" y="87"/>
                    <a:pt x="678" y="87"/>
                  </a:cubicBezTo>
                  <a:cubicBezTo>
                    <a:pt x="669" y="87"/>
                    <a:pt x="661" y="84"/>
                    <a:pt x="654" y="79"/>
                  </a:cubicBezTo>
                  <a:cubicBezTo>
                    <a:pt x="522" y="204"/>
                    <a:pt x="522" y="204"/>
                    <a:pt x="522" y="204"/>
                  </a:cubicBezTo>
                  <a:cubicBezTo>
                    <a:pt x="519" y="199"/>
                    <a:pt x="515" y="196"/>
                    <a:pt x="510" y="192"/>
                  </a:cubicBezTo>
                  <a:cubicBezTo>
                    <a:pt x="643" y="67"/>
                    <a:pt x="643" y="67"/>
                    <a:pt x="643" y="67"/>
                  </a:cubicBezTo>
                  <a:cubicBezTo>
                    <a:pt x="641" y="63"/>
                    <a:pt x="639" y="59"/>
                    <a:pt x="638" y="54"/>
                  </a:cubicBezTo>
                  <a:cubicBezTo>
                    <a:pt x="571" y="53"/>
                    <a:pt x="571" y="53"/>
                    <a:pt x="571" y="53"/>
                  </a:cubicBezTo>
                  <a:cubicBezTo>
                    <a:pt x="570" y="47"/>
                    <a:pt x="569" y="42"/>
                    <a:pt x="568" y="37"/>
                  </a:cubicBezTo>
                  <a:cubicBezTo>
                    <a:pt x="638" y="38"/>
                    <a:pt x="638" y="38"/>
                    <a:pt x="638" y="38"/>
                  </a:cubicBezTo>
                  <a:cubicBezTo>
                    <a:pt x="642" y="20"/>
                    <a:pt x="658" y="6"/>
                    <a:pt x="678" y="6"/>
                  </a:cubicBezTo>
                  <a:cubicBezTo>
                    <a:pt x="700" y="6"/>
                    <a:pt x="718" y="24"/>
                    <a:pt x="718" y="46"/>
                  </a:cubicBezTo>
                  <a:cubicBezTo>
                    <a:pt x="718" y="54"/>
                    <a:pt x="716" y="61"/>
                    <a:pt x="712" y="67"/>
                  </a:cubicBezTo>
                  <a:lnTo>
                    <a:pt x="797" y="146"/>
                  </a:lnTo>
                  <a:close/>
                  <a:moveTo>
                    <a:pt x="781" y="201"/>
                  </a:moveTo>
                  <a:cubicBezTo>
                    <a:pt x="781" y="201"/>
                    <a:pt x="781" y="201"/>
                    <a:pt x="781" y="201"/>
                  </a:cubicBezTo>
                  <a:cubicBezTo>
                    <a:pt x="781" y="201"/>
                    <a:pt x="781" y="201"/>
                    <a:pt x="781" y="201"/>
                  </a:cubicBezTo>
                  <a:cubicBezTo>
                    <a:pt x="781" y="201"/>
                    <a:pt x="781" y="201"/>
                    <a:pt x="781" y="201"/>
                  </a:cubicBezTo>
                  <a:close/>
                  <a:moveTo>
                    <a:pt x="785" y="212"/>
                  </a:moveTo>
                  <a:cubicBezTo>
                    <a:pt x="549" y="299"/>
                    <a:pt x="549" y="299"/>
                    <a:pt x="549" y="299"/>
                  </a:cubicBezTo>
                  <a:cubicBezTo>
                    <a:pt x="618" y="369"/>
                    <a:pt x="618" y="369"/>
                    <a:pt x="618" y="369"/>
                  </a:cubicBezTo>
                  <a:cubicBezTo>
                    <a:pt x="624" y="365"/>
                    <a:pt x="632" y="362"/>
                    <a:pt x="640" y="362"/>
                  </a:cubicBezTo>
                  <a:cubicBezTo>
                    <a:pt x="662" y="362"/>
                    <a:pt x="680" y="380"/>
                    <a:pt x="680" y="402"/>
                  </a:cubicBezTo>
                  <a:cubicBezTo>
                    <a:pt x="680" y="425"/>
                    <a:pt x="662" y="443"/>
                    <a:pt x="640" y="443"/>
                  </a:cubicBezTo>
                  <a:cubicBezTo>
                    <a:pt x="620" y="443"/>
                    <a:pt x="604" y="428"/>
                    <a:pt x="600" y="409"/>
                  </a:cubicBezTo>
                  <a:cubicBezTo>
                    <a:pt x="305" y="401"/>
                    <a:pt x="305" y="401"/>
                    <a:pt x="305" y="401"/>
                  </a:cubicBezTo>
                  <a:cubicBezTo>
                    <a:pt x="302" y="421"/>
                    <a:pt x="286" y="436"/>
                    <a:pt x="265" y="436"/>
                  </a:cubicBezTo>
                  <a:cubicBezTo>
                    <a:pt x="243" y="436"/>
                    <a:pt x="225" y="418"/>
                    <a:pt x="225" y="396"/>
                  </a:cubicBezTo>
                  <a:cubicBezTo>
                    <a:pt x="225" y="393"/>
                    <a:pt x="226" y="390"/>
                    <a:pt x="226" y="387"/>
                  </a:cubicBezTo>
                  <a:cubicBezTo>
                    <a:pt x="73" y="321"/>
                    <a:pt x="73" y="321"/>
                    <a:pt x="73" y="321"/>
                  </a:cubicBezTo>
                  <a:cubicBezTo>
                    <a:pt x="66" y="331"/>
                    <a:pt x="54" y="338"/>
                    <a:pt x="40" y="338"/>
                  </a:cubicBezTo>
                  <a:cubicBezTo>
                    <a:pt x="18" y="338"/>
                    <a:pt x="0" y="320"/>
                    <a:pt x="0" y="298"/>
                  </a:cubicBezTo>
                  <a:cubicBezTo>
                    <a:pt x="0" y="276"/>
                    <a:pt x="18" y="258"/>
                    <a:pt x="40" y="258"/>
                  </a:cubicBezTo>
                  <a:cubicBezTo>
                    <a:pt x="49" y="258"/>
                    <a:pt x="57" y="260"/>
                    <a:pt x="63" y="265"/>
                  </a:cubicBezTo>
                  <a:cubicBezTo>
                    <a:pt x="148" y="182"/>
                    <a:pt x="148" y="182"/>
                    <a:pt x="148" y="182"/>
                  </a:cubicBezTo>
                  <a:cubicBezTo>
                    <a:pt x="167" y="186"/>
                    <a:pt x="167" y="186"/>
                    <a:pt x="167" y="186"/>
                  </a:cubicBezTo>
                  <a:cubicBezTo>
                    <a:pt x="74" y="276"/>
                    <a:pt x="74" y="276"/>
                    <a:pt x="74" y="276"/>
                  </a:cubicBezTo>
                  <a:cubicBezTo>
                    <a:pt x="75" y="278"/>
                    <a:pt x="77" y="280"/>
                    <a:pt x="77" y="282"/>
                  </a:cubicBezTo>
                  <a:cubicBezTo>
                    <a:pt x="391" y="239"/>
                    <a:pt x="391" y="239"/>
                    <a:pt x="391" y="239"/>
                  </a:cubicBezTo>
                  <a:cubicBezTo>
                    <a:pt x="424" y="247"/>
                    <a:pt x="424" y="247"/>
                    <a:pt x="424" y="247"/>
                  </a:cubicBezTo>
                  <a:cubicBezTo>
                    <a:pt x="425" y="248"/>
                    <a:pt x="425" y="249"/>
                    <a:pt x="425" y="250"/>
                  </a:cubicBezTo>
                  <a:cubicBezTo>
                    <a:pt x="80" y="298"/>
                    <a:pt x="80" y="298"/>
                    <a:pt x="80" y="298"/>
                  </a:cubicBezTo>
                  <a:cubicBezTo>
                    <a:pt x="80" y="301"/>
                    <a:pt x="80" y="303"/>
                    <a:pt x="80" y="306"/>
                  </a:cubicBezTo>
                  <a:cubicBezTo>
                    <a:pt x="233" y="373"/>
                    <a:pt x="233" y="373"/>
                    <a:pt x="233" y="373"/>
                  </a:cubicBezTo>
                  <a:cubicBezTo>
                    <a:pt x="240" y="362"/>
                    <a:pt x="252" y="356"/>
                    <a:pt x="265" y="356"/>
                  </a:cubicBezTo>
                  <a:cubicBezTo>
                    <a:pt x="276" y="356"/>
                    <a:pt x="285" y="359"/>
                    <a:pt x="292" y="366"/>
                  </a:cubicBezTo>
                  <a:cubicBezTo>
                    <a:pt x="429" y="261"/>
                    <a:pt x="429" y="261"/>
                    <a:pt x="429" y="261"/>
                  </a:cubicBezTo>
                  <a:cubicBezTo>
                    <a:pt x="432" y="266"/>
                    <a:pt x="435" y="270"/>
                    <a:pt x="439" y="274"/>
                  </a:cubicBezTo>
                  <a:cubicBezTo>
                    <a:pt x="313" y="370"/>
                    <a:pt x="313" y="370"/>
                    <a:pt x="313" y="370"/>
                  </a:cubicBezTo>
                  <a:cubicBezTo>
                    <a:pt x="521" y="293"/>
                    <a:pt x="521" y="293"/>
                    <a:pt x="521" y="293"/>
                  </a:cubicBezTo>
                  <a:cubicBezTo>
                    <a:pt x="509" y="281"/>
                    <a:pt x="509" y="281"/>
                    <a:pt x="509" y="281"/>
                  </a:cubicBezTo>
                  <a:cubicBezTo>
                    <a:pt x="513" y="278"/>
                    <a:pt x="517" y="274"/>
                    <a:pt x="520" y="270"/>
                  </a:cubicBezTo>
                  <a:cubicBezTo>
                    <a:pt x="537" y="287"/>
                    <a:pt x="537" y="287"/>
                    <a:pt x="537" y="287"/>
                  </a:cubicBezTo>
                  <a:cubicBezTo>
                    <a:pt x="714" y="221"/>
                    <a:pt x="714" y="221"/>
                    <a:pt x="714" y="221"/>
                  </a:cubicBezTo>
                  <a:cubicBezTo>
                    <a:pt x="784" y="210"/>
                    <a:pt x="784" y="210"/>
                    <a:pt x="784" y="210"/>
                  </a:cubicBezTo>
                  <a:cubicBezTo>
                    <a:pt x="784" y="211"/>
                    <a:pt x="784" y="211"/>
                    <a:pt x="785" y="212"/>
                  </a:cubicBezTo>
                  <a:close/>
                  <a:moveTo>
                    <a:pt x="533" y="305"/>
                  </a:moveTo>
                  <a:cubicBezTo>
                    <a:pt x="316" y="386"/>
                    <a:pt x="316" y="386"/>
                    <a:pt x="316" y="386"/>
                  </a:cubicBezTo>
                  <a:cubicBezTo>
                    <a:pt x="601" y="393"/>
                    <a:pt x="601" y="393"/>
                    <a:pt x="601" y="393"/>
                  </a:cubicBezTo>
                  <a:cubicBezTo>
                    <a:pt x="602" y="389"/>
                    <a:pt x="604" y="384"/>
                    <a:pt x="607" y="380"/>
                  </a:cubicBezTo>
                  <a:lnTo>
                    <a:pt x="533" y="305"/>
                  </a:lnTo>
                  <a:close/>
                  <a:moveTo>
                    <a:pt x="97" y="118"/>
                  </a:moveTo>
                  <a:cubicBezTo>
                    <a:pt x="264" y="60"/>
                    <a:pt x="264" y="60"/>
                    <a:pt x="264" y="60"/>
                  </a:cubicBezTo>
                  <a:cubicBezTo>
                    <a:pt x="266" y="62"/>
                    <a:pt x="267" y="64"/>
                    <a:pt x="268" y="66"/>
                  </a:cubicBezTo>
                  <a:cubicBezTo>
                    <a:pt x="185" y="146"/>
                    <a:pt x="185" y="146"/>
                    <a:pt x="185" y="146"/>
                  </a:cubicBezTo>
                  <a:cubicBezTo>
                    <a:pt x="204" y="151"/>
                    <a:pt x="204" y="151"/>
                    <a:pt x="204" y="151"/>
                  </a:cubicBezTo>
                  <a:cubicBezTo>
                    <a:pt x="281" y="76"/>
                    <a:pt x="281" y="76"/>
                    <a:pt x="281" y="76"/>
                  </a:cubicBezTo>
                  <a:cubicBezTo>
                    <a:pt x="286" y="78"/>
                    <a:pt x="292" y="80"/>
                    <a:pt x="299" y="80"/>
                  </a:cubicBezTo>
                  <a:cubicBezTo>
                    <a:pt x="307" y="80"/>
                    <a:pt x="314" y="78"/>
                    <a:pt x="320" y="74"/>
                  </a:cubicBezTo>
                  <a:cubicBezTo>
                    <a:pt x="434" y="204"/>
                    <a:pt x="434" y="204"/>
                    <a:pt x="434" y="204"/>
                  </a:cubicBezTo>
                  <a:cubicBezTo>
                    <a:pt x="437" y="199"/>
                    <a:pt x="441" y="196"/>
                    <a:pt x="445" y="192"/>
                  </a:cubicBezTo>
                  <a:cubicBezTo>
                    <a:pt x="332" y="63"/>
                    <a:pt x="332" y="63"/>
                    <a:pt x="332" y="63"/>
                  </a:cubicBezTo>
                  <a:cubicBezTo>
                    <a:pt x="334" y="59"/>
                    <a:pt x="337" y="54"/>
                    <a:pt x="338" y="49"/>
                  </a:cubicBezTo>
                  <a:cubicBezTo>
                    <a:pt x="401" y="50"/>
                    <a:pt x="401" y="50"/>
                    <a:pt x="401" y="50"/>
                  </a:cubicBezTo>
                  <a:cubicBezTo>
                    <a:pt x="402" y="45"/>
                    <a:pt x="403" y="39"/>
                    <a:pt x="405" y="34"/>
                  </a:cubicBezTo>
                  <a:cubicBezTo>
                    <a:pt x="338" y="33"/>
                    <a:pt x="338" y="33"/>
                    <a:pt x="338" y="33"/>
                  </a:cubicBezTo>
                  <a:cubicBezTo>
                    <a:pt x="335" y="14"/>
                    <a:pt x="319" y="0"/>
                    <a:pt x="299" y="0"/>
                  </a:cubicBezTo>
                  <a:cubicBezTo>
                    <a:pt x="277" y="0"/>
                    <a:pt x="259" y="18"/>
                    <a:pt x="259" y="40"/>
                  </a:cubicBezTo>
                  <a:cubicBezTo>
                    <a:pt x="259" y="42"/>
                    <a:pt x="259" y="43"/>
                    <a:pt x="259" y="45"/>
                  </a:cubicBezTo>
                  <a:cubicBezTo>
                    <a:pt x="91" y="103"/>
                    <a:pt x="91" y="103"/>
                    <a:pt x="91" y="103"/>
                  </a:cubicBezTo>
                  <a:cubicBezTo>
                    <a:pt x="94" y="108"/>
                    <a:pt x="96" y="113"/>
                    <a:pt x="97" y="11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77" name="Freeform 177">
              <a:extLst>
                <a:ext uri="{FF2B5EF4-FFF2-40B4-BE49-F238E27FC236}">
                  <a16:creationId xmlns:a16="http://schemas.microsoft.com/office/drawing/2014/main" xmlns="" id="{BCE2E704-3696-461D-B276-70E2729EBBC5}"/>
                </a:ext>
              </a:extLst>
            </p:cNvPr>
            <p:cNvSpPr>
              <a:spLocks/>
            </p:cNvSpPr>
            <p:nvPr/>
          </p:nvSpPr>
          <p:spPr bwMode="auto">
            <a:xfrm>
              <a:off x="-1279" y="1858"/>
              <a:ext cx="1041" cy="451"/>
            </a:xfrm>
            <a:custGeom>
              <a:avLst/>
              <a:gdLst>
                <a:gd name="T0" fmla="*/ 960 w 961"/>
                <a:gd name="T1" fmla="*/ 148 h 416"/>
                <a:gd name="T2" fmla="*/ 948 w 961"/>
                <a:gd name="T3" fmla="*/ 189 h 416"/>
                <a:gd name="T4" fmla="*/ 948 w 961"/>
                <a:gd name="T5" fmla="*/ 189 h 416"/>
                <a:gd name="T6" fmla="*/ 899 w 961"/>
                <a:gd name="T7" fmla="*/ 268 h 416"/>
                <a:gd name="T8" fmla="*/ 922 w 961"/>
                <a:gd name="T9" fmla="*/ 313 h 416"/>
                <a:gd name="T10" fmla="*/ 867 w 961"/>
                <a:gd name="T11" fmla="*/ 367 h 416"/>
                <a:gd name="T12" fmla="*/ 818 w 961"/>
                <a:gd name="T13" fmla="*/ 336 h 416"/>
                <a:gd name="T14" fmla="*/ 565 w 961"/>
                <a:gd name="T15" fmla="*/ 375 h 416"/>
                <a:gd name="T16" fmla="*/ 512 w 961"/>
                <a:gd name="T17" fmla="*/ 416 h 416"/>
                <a:gd name="T18" fmla="*/ 458 w 961"/>
                <a:gd name="T19" fmla="*/ 373 h 416"/>
                <a:gd name="T20" fmla="*/ 117 w 961"/>
                <a:gd name="T21" fmla="*/ 293 h 416"/>
                <a:gd name="T22" fmla="*/ 77 w 961"/>
                <a:gd name="T23" fmla="*/ 309 h 416"/>
                <a:gd name="T24" fmla="*/ 23 w 961"/>
                <a:gd name="T25" fmla="*/ 255 h 416"/>
                <a:gd name="T26" fmla="*/ 53 w 961"/>
                <a:gd name="T27" fmla="*/ 206 h 416"/>
                <a:gd name="T28" fmla="*/ 10 w 961"/>
                <a:gd name="T29" fmla="*/ 126 h 416"/>
                <a:gd name="T30" fmla="*/ 0 w 961"/>
                <a:gd name="T31" fmla="*/ 84 h 416"/>
                <a:gd name="T32" fmla="*/ 88 w 961"/>
                <a:gd name="T33" fmla="*/ 1 h 416"/>
                <a:gd name="T34" fmla="*/ 171 w 961"/>
                <a:gd name="T35" fmla="*/ 89 h 416"/>
                <a:gd name="T36" fmla="*/ 159 w 961"/>
                <a:gd name="T37" fmla="*/ 131 h 416"/>
                <a:gd name="T38" fmla="*/ 159 w 961"/>
                <a:gd name="T39" fmla="*/ 131 h 416"/>
                <a:gd name="T40" fmla="*/ 109 w 961"/>
                <a:gd name="T41" fmla="*/ 211 h 416"/>
                <a:gd name="T42" fmla="*/ 132 w 961"/>
                <a:gd name="T43" fmla="*/ 252 h 416"/>
                <a:gd name="T44" fmla="*/ 467 w 961"/>
                <a:gd name="T45" fmla="*/ 330 h 416"/>
                <a:gd name="T46" fmla="*/ 490 w 961"/>
                <a:gd name="T47" fmla="*/ 312 h 416"/>
                <a:gd name="T48" fmla="*/ 444 w 961"/>
                <a:gd name="T49" fmla="*/ 228 h 416"/>
                <a:gd name="T50" fmla="*/ 434 w 961"/>
                <a:gd name="T51" fmla="*/ 185 h 416"/>
                <a:gd name="T52" fmla="*/ 523 w 961"/>
                <a:gd name="T53" fmla="*/ 102 h 416"/>
                <a:gd name="T54" fmla="*/ 605 w 961"/>
                <a:gd name="T55" fmla="*/ 191 h 416"/>
                <a:gd name="T56" fmla="*/ 593 w 961"/>
                <a:gd name="T57" fmla="*/ 232 h 416"/>
                <a:gd name="T58" fmla="*/ 593 w 961"/>
                <a:gd name="T59" fmla="*/ 232 h 416"/>
                <a:gd name="T60" fmla="*/ 541 w 961"/>
                <a:gd name="T61" fmla="*/ 316 h 416"/>
                <a:gd name="T62" fmla="*/ 557 w 961"/>
                <a:gd name="T63" fmla="*/ 332 h 416"/>
                <a:gd name="T64" fmla="*/ 816 w 961"/>
                <a:gd name="T65" fmla="*/ 293 h 416"/>
                <a:gd name="T66" fmla="*/ 842 w 961"/>
                <a:gd name="T67" fmla="*/ 265 h 416"/>
                <a:gd name="T68" fmla="*/ 799 w 961"/>
                <a:gd name="T69" fmla="*/ 185 h 416"/>
                <a:gd name="T70" fmla="*/ 789 w 961"/>
                <a:gd name="T71" fmla="*/ 142 h 416"/>
                <a:gd name="T72" fmla="*/ 877 w 961"/>
                <a:gd name="T73" fmla="*/ 60 h 416"/>
                <a:gd name="T74" fmla="*/ 960 w 961"/>
                <a:gd name="T75" fmla="*/ 148 h 4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961" h="416">
                  <a:moveTo>
                    <a:pt x="960" y="148"/>
                  </a:moveTo>
                  <a:cubicBezTo>
                    <a:pt x="959" y="162"/>
                    <a:pt x="955" y="177"/>
                    <a:pt x="948" y="189"/>
                  </a:cubicBezTo>
                  <a:cubicBezTo>
                    <a:pt x="948" y="189"/>
                    <a:pt x="948" y="189"/>
                    <a:pt x="948" y="189"/>
                  </a:cubicBezTo>
                  <a:cubicBezTo>
                    <a:pt x="899" y="268"/>
                    <a:pt x="899" y="268"/>
                    <a:pt x="899" y="268"/>
                  </a:cubicBezTo>
                  <a:cubicBezTo>
                    <a:pt x="912" y="278"/>
                    <a:pt x="922" y="295"/>
                    <a:pt x="922" y="313"/>
                  </a:cubicBezTo>
                  <a:cubicBezTo>
                    <a:pt x="922" y="343"/>
                    <a:pt x="897" y="367"/>
                    <a:pt x="867" y="367"/>
                  </a:cubicBezTo>
                  <a:cubicBezTo>
                    <a:pt x="845" y="367"/>
                    <a:pt x="827" y="355"/>
                    <a:pt x="818" y="336"/>
                  </a:cubicBezTo>
                  <a:cubicBezTo>
                    <a:pt x="565" y="375"/>
                    <a:pt x="565" y="375"/>
                    <a:pt x="565" y="375"/>
                  </a:cubicBezTo>
                  <a:cubicBezTo>
                    <a:pt x="559" y="399"/>
                    <a:pt x="537" y="416"/>
                    <a:pt x="512" y="416"/>
                  </a:cubicBezTo>
                  <a:cubicBezTo>
                    <a:pt x="485" y="416"/>
                    <a:pt x="463" y="398"/>
                    <a:pt x="458" y="373"/>
                  </a:cubicBezTo>
                  <a:cubicBezTo>
                    <a:pt x="117" y="293"/>
                    <a:pt x="117" y="293"/>
                    <a:pt x="117" y="293"/>
                  </a:cubicBezTo>
                  <a:cubicBezTo>
                    <a:pt x="107" y="303"/>
                    <a:pt x="93" y="309"/>
                    <a:pt x="77" y="309"/>
                  </a:cubicBezTo>
                  <a:cubicBezTo>
                    <a:pt x="47" y="309"/>
                    <a:pt x="23" y="285"/>
                    <a:pt x="23" y="255"/>
                  </a:cubicBezTo>
                  <a:cubicBezTo>
                    <a:pt x="23" y="233"/>
                    <a:pt x="35" y="215"/>
                    <a:pt x="53" y="206"/>
                  </a:cubicBezTo>
                  <a:cubicBezTo>
                    <a:pt x="10" y="126"/>
                    <a:pt x="10" y="126"/>
                    <a:pt x="10" y="126"/>
                  </a:cubicBezTo>
                  <a:cubicBezTo>
                    <a:pt x="3" y="113"/>
                    <a:pt x="0" y="99"/>
                    <a:pt x="0" y="84"/>
                  </a:cubicBezTo>
                  <a:cubicBezTo>
                    <a:pt x="2" y="37"/>
                    <a:pt x="41" y="0"/>
                    <a:pt x="88" y="1"/>
                  </a:cubicBezTo>
                  <a:cubicBezTo>
                    <a:pt x="136" y="3"/>
                    <a:pt x="173" y="42"/>
                    <a:pt x="171" y="89"/>
                  </a:cubicBezTo>
                  <a:cubicBezTo>
                    <a:pt x="171" y="104"/>
                    <a:pt x="166" y="118"/>
                    <a:pt x="159" y="131"/>
                  </a:cubicBezTo>
                  <a:cubicBezTo>
                    <a:pt x="159" y="131"/>
                    <a:pt x="159" y="131"/>
                    <a:pt x="159" y="131"/>
                  </a:cubicBezTo>
                  <a:cubicBezTo>
                    <a:pt x="109" y="211"/>
                    <a:pt x="109" y="211"/>
                    <a:pt x="109" y="211"/>
                  </a:cubicBezTo>
                  <a:cubicBezTo>
                    <a:pt x="122" y="220"/>
                    <a:pt x="131" y="235"/>
                    <a:pt x="132" y="252"/>
                  </a:cubicBezTo>
                  <a:cubicBezTo>
                    <a:pt x="467" y="330"/>
                    <a:pt x="467" y="330"/>
                    <a:pt x="467" y="330"/>
                  </a:cubicBezTo>
                  <a:cubicBezTo>
                    <a:pt x="473" y="322"/>
                    <a:pt x="481" y="316"/>
                    <a:pt x="490" y="312"/>
                  </a:cubicBezTo>
                  <a:cubicBezTo>
                    <a:pt x="444" y="228"/>
                    <a:pt x="444" y="228"/>
                    <a:pt x="444" y="228"/>
                  </a:cubicBezTo>
                  <a:cubicBezTo>
                    <a:pt x="437" y="214"/>
                    <a:pt x="434" y="200"/>
                    <a:pt x="434" y="185"/>
                  </a:cubicBezTo>
                  <a:cubicBezTo>
                    <a:pt x="436" y="138"/>
                    <a:pt x="475" y="101"/>
                    <a:pt x="523" y="102"/>
                  </a:cubicBezTo>
                  <a:cubicBezTo>
                    <a:pt x="570" y="104"/>
                    <a:pt x="607" y="143"/>
                    <a:pt x="605" y="191"/>
                  </a:cubicBezTo>
                  <a:cubicBezTo>
                    <a:pt x="605" y="205"/>
                    <a:pt x="601" y="220"/>
                    <a:pt x="593" y="232"/>
                  </a:cubicBezTo>
                  <a:cubicBezTo>
                    <a:pt x="593" y="232"/>
                    <a:pt x="593" y="232"/>
                    <a:pt x="593" y="232"/>
                  </a:cubicBezTo>
                  <a:cubicBezTo>
                    <a:pt x="541" y="316"/>
                    <a:pt x="541" y="316"/>
                    <a:pt x="541" y="316"/>
                  </a:cubicBezTo>
                  <a:cubicBezTo>
                    <a:pt x="548" y="320"/>
                    <a:pt x="553" y="326"/>
                    <a:pt x="557" y="332"/>
                  </a:cubicBezTo>
                  <a:cubicBezTo>
                    <a:pt x="816" y="293"/>
                    <a:pt x="816" y="293"/>
                    <a:pt x="816" y="293"/>
                  </a:cubicBezTo>
                  <a:cubicBezTo>
                    <a:pt x="821" y="281"/>
                    <a:pt x="830" y="271"/>
                    <a:pt x="842" y="265"/>
                  </a:cubicBezTo>
                  <a:cubicBezTo>
                    <a:pt x="799" y="185"/>
                    <a:pt x="799" y="185"/>
                    <a:pt x="799" y="185"/>
                  </a:cubicBezTo>
                  <a:cubicBezTo>
                    <a:pt x="792" y="172"/>
                    <a:pt x="788" y="157"/>
                    <a:pt x="789" y="142"/>
                  </a:cubicBezTo>
                  <a:cubicBezTo>
                    <a:pt x="790" y="95"/>
                    <a:pt x="830" y="58"/>
                    <a:pt x="877" y="60"/>
                  </a:cubicBezTo>
                  <a:cubicBezTo>
                    <a:pt x="924" y="61"/>
                    <a:pt x="961" y="101"/>
                    <a:pt x="960" y="14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78" name="Freeform 178">
              <a:extLst>
                <a:ext uri="{FF2B5EF4-FFF2-40B4-BE49-F238E27FC236}">
                  <a16:creationId xmlns:a16="http://schemas.microsoft.com/office/drawing/2014/main" xmlns="" id="{B6B6391A-B781-4FA8-9125-0462B6E468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1265" y="1872"/>
              <a:ext cx="1013" cy="422"/>
            </a:xfrm>
            <a:custGeom>
              <a:avLst/>
              <a:gdLst>
                <a:gd name="T0" fmla="*/ 110 w 935"/>
                <a:gd name="T1" fmla="*/ 271 h 389"/>
                <a:gd name="T2" fmla="*/ 449 w 935"/>
                <a:gd name="T3" fmla="*/ 326 h 389"/>
                <a:gd name="T4" fmla="*/ 444 w 935"/>
                <a:gd name="T5" fmla="*/ 350 h 389"/>
                <a:gd name="T6" fmla="*/ 800 w 935"/>
                <a:gd name="T7" fmla="*/ 300 h 389"/>
                <a:gd name="T8" fmla="*/ 549 w 935"/>
                <a:gd name="T9" fmla="*/ 328 h 389"/>
                <a:gd name="T10" fmla="*/ 553 w 935"/>
                <a:gd name="T11" fmla="*/ 352 h 389"/>
                <a:gd name="T12" fmla="*/ 89 w 935"/>
                <a:gd name="T13" fmla="*/ 210 h 389"/>
                <a:gd name="T14" fmla="*/ 47 w 935"/>
                <a:gd name="T15" fmla="*/ 206 h 389"/>
                <a:gd name="T16" fmla="*/ 64 w 935"/>
                <a:gd name="T17" fmla="*/ 282 h 389"/>
                <a:gd name="T18" fmla="*/ 89 w 935"/>
                <a:gd name="T19" fmla="*/ 210 h 389"/>
                <a:gd name="T20" fmla="*/ 145 w 935"/>
                <a:gd name="T21" fmla="*/ 76 h 389"/>
                <a:gd name="T22" fmla="*/ 0 w 935"/>
                <a:gd name="T23" fmla="*/ 71 h 389"/>
                <a:gd name="T24" fmla="*/ 9 w 935"/>
                <a:gd name="T25" fmla="*/ 107 h 389"/>
                <a:gd name="T26" fmla="*/ 68 w 935"/>
                <a:gd name="T27" fmla="*/ 217 h 389"/>
                <a:gd name="T28" fmla="*/ 134 w 935"/>
                <a:gd name="T29" fmla="*/ 111 h 389"/>
                <a:gd name="T30" fmla="*/ 134 w 935"/>
                <a:gd name="T31" fmla="*/ 111 h 389"/>
                <a:gd name="T32" fmla="*/ 71 w 935"/>
                <a:gd name="T33" fmla="*/ 120 h 389"/>
                <a:gd name="T34" fmla="*/ 74 w 935"/>
                <a:gd name="T35" fmla="*/ 27 h 389"/>
                <a:gd name="T36" fmla="*/ 878 w 935"/>
                <a:gd name="T37" fmla="*/ 268 h 389"/>
                <a:gd name="T38" fmla="*/ 836 w 935"/>
                <a:gd name="T39" fmla="*/ 264 h 389"/>
                <a:gd name="T40" fmla="*/ 854 w 935"/>
                <a:gd name="T41" fmla="*/ 340 h 389"/>
                <a:gd name="T42" fmla="*/ 878 w 935"/>
                <a:gd name="T43" fmla="*/ 268 h 389"/>
                <a:gd name="T44" fmla="*/ 934 w 935"/>
                <a:gd name="T45" fmla="*/ 134 h 389"/>
                <a:gd name="T46" fmla="*/ 789 w 935"/>
                <a:gd name="T47" fmla="*/ 130 h 389"/>
                <a:gd name="T48" fmla="*/ 797 w 935"/>
                <a:gd name="T49" fmla="*/ 166 h 389"/>
                <a:gd name="T50" fmla="*/ 857 w 935"/>
                <a:gd name="T51" fmla="*/ 276 h 389"/>
                <a:gd name="T52" fmla="*/ 923 w 935"/>
                <a:gd name="T53" fmla="*/ 170 h 389"/>
                <a:gd name="T54" fmla="*/ 923 w 935"/>
                <a:gd name="T55" fmla="*/ 170 h 389"/>
                <a:gd name="T56" fmla="*/ 860 w 935"/>
                <a:gd name="T57" fmla="*/ 179 h 389"/>
                <a:gd name="T58" fmla="*/ 863 w 935"/>
                <a:gd name="T59" fmla="*/ 85 h 389"/>
                <a:gd name="T60" fmla="*/ 521 w 935"/>
                <a:gd name="T61" fmla="*/ 315 h 389"/>
                <a:gd name="T62" fmla="*/ 484 w 935"/>
                <a:gd name="T63" fmla="*/ 312 h 389"/>
                <a:gd name="T64" fmla="*/ 499 w 935"/>
                <a:gd name="T65" fmla="*/ 389 h 389"/>
                <a:gd name="T66" fmla="*/ 521 w 935"/>
                <a:gd name="T67" fmla="*/ 315 h 389"/>
                <a:gd name="T68" fmla="*/ 579 w 935"/>
                <a:gd name="T69" fmla="*/ 177 h 389"/>
                <a:gd name="T70" fmla="*/ 435 w 935"/>
                <a:gd name="T71" fmla="*/ 172 h 389"/>
                <a:gd name="T72" fmla="*/ 443 w 935"/>
                <a:gd name="T73" fmla="*/ 208 h 389"/>
                <a:gd name="T74" fmla="*/ 503 w 935"/>
                <a:gd name="T75" fmla="*/ 318 h 389"/>
                <a:gd name="T76" fmla="*/ 569 w 935"/>
                <a:gd name="T77" fmla="*/ 212 h 389"/>
                <a:gd name="T78" fmla="*/ 569 w 935"/>
                <a:gd name="T79" fmla="*/ 212 h 389"/>
                <a:gd name="T80" fmla="*/ 505 w 935"/>
                <a:gd name="T81" fmla="*/ 222 h 389"/>
                <a:gd name="T82" fmla="*/ 508 w 935"/>
                <a:gd name="T83" fmla="*/ 128 h 3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935" h="389">
                  <a:moveTo>
                    <a:pt x="444" y="350"/>
                  </a:moveTo>
                  <a:cubicBezTo>
                    <a:pt x="110" y="271"/>
                    <a:pt x="110" y="271"/>
                    <a:pt x="110" y="271"/>
                  </a:cubicBezTo>
                  <a:cubicBezTo>
                    <a:pt x="114" y="264"/>
                    <a:pt x="117" y="257"/>
                    <a:pt x="118" y="248"/>
                  </a:cubicBezTo>
                  <a:cubicBezTo>
                    <a:pt x="449" y="326"/>
                    <a:pt x="449" y="326"/>
                    <a:pt x="449" y="326"/>
                  </a:cubicBezTo>
                  <a:cubicBezTo>
                    <a:pt x="446" y="333"/>
                    <a:pt x="444" y="341"/>
                    <a:pt x="444" y="349"/>
                  </a:cubicBezTo>
                  <a:cubicBezTo>
                    <a:pt x="444" y="349"/>
                    <a:pt x="444" y="349"/>
                    <a:pt x="444" y="350"/>
                  </a:cubicBezTo>
                  <a:close/>
                  <a:moveTo>
                    <a:pt x="802" y="314"/>
                  </a:moveTo>
                  <a:cubicBezTo>
                    <a:pt x="800" y="310"/>
                    <a:pt x="800" y="305"/>
                    <a:pt x="800" y="300"/>
                  </a:cubicBezTo>
                  <a:cubicBezTo>
                    <a:pt x="800" y="297"/>
                    <a:pt x="800" y="293"/>
                    <a:pt x="801" y="290"/>
                  </a:cubicBezTo>
                  <a:cubicBezTo>
                    <a:pt x="549" y="328"/>
                    <a:pt x="549" y="328"/>
                    <a:pt x="549" y="328"/>
                  </a:cubicBezTo>
                  <a:cubicBezTo>
                    <a:pt x="552" y="335"/>
                    <a:pt x="553" y="342"/>
                    <a:pt x="553" y="349"/>
                  </a:cubicBezTo>
                  <a:cubicBezTo>
                    <a:pt x="553" y="350"/>
                    <a:pt x="553" y="351"/>
                    <a:pt x="553" y="352"/>
                  </a:cubicBezTo>
                  <a:lnTo>
                    <a:pt x="802" y="314"/>
                  </a:lnTo>
                  <a:close/>
                  <a:moveTo>
                    <a:pt x="89" y="210"/>
                  </a:moveTo>
                  <a:cubicBezTo>
                    <a:pt x="68" y="244"/>
                    <a:pt x="68" y="244"/>
                    <a:pt x="68" y="244"/>
                  </a:cubicBezTo>
                  <a:cubicBezTo>
                    <a:pt x="47" y="206"/>
                    <a:pt x="47" y="206"/>
                    <a:pt x="47" y="206"/>
                  </a:cubicBezTo>
                  <a:cubicBezTo>
                    <a:pt x="33" y="212"/>
                    <a:pt x="24" y="226"/>
                    <a:pt x="24" y="242"/>
                  </a:cubicBezTo>
                  <a:cubicBezTo>
                    <a:pt x="24" y="264"/>
                    <a:pt x="42" y="282"/>
                    <a:pt x="64" y="282"/>
                  </a:cubicBezTo>
                  <a:cubicBezTo>
                    <a:pt x="86" y="282"/>
                    <a:pt x="104" y="264"/>
                    <a:pt x="104" y="242"/>
                  </a:cubicBezTo>
                  <a:cubicBezTo>
                    <a:pt x="104" y="229"/>
                    <a:pt x="98" y="217"/>
                    <a:pt x="89" y="210"/>
                  </a:cubicBezTo>
                  <a:close/>
                  <a:moveTo>
                    <a:pt x="134" y="111"/>
                  </a:moveTo>
                  <a:cubicBezTo>
                    <a:pt x="141" y="101"/>
                    <a:pt x="144" y="89"/>
                    <a:pt x="145" y="76"/>
                  </a:cubicBezTo>
                  <a:cubicBezTo>
                    <a:pt x="146" y="36"/>
                    <a:pt x="115" y="3"/>
                    <a:pt x="75" y="1"/>
                  </a:cubicBezTo>
                  <a:cubicBezTo>
                    <a:pt x="35" y="0"/>
                    <a:pt x="2" y="31"/>
                    <a:pt x="0" y="71"/>
                  </a:cubicBezTo>
                  <a:cubicBezTo>
                    <a:pt x="0" y="84"/>
                    <a:pt x="3" y="96"/>
                    <a:pt x="9" y="107"/>
                  </a:cubicBezTo>
                  <a:cubicBezTo>
                    <a:pt x="9" y="107"/>
                    <a:pt x="9" y="107"/>
                    <a:pt x="9" y="107"/>
                  </a:cubicBezTo>
                  <a:cubicBezTo>
                    <a:pt x="9" y="108"/>
                    <a:pt x="9" y="109"/>
                    <a:pt x="10" y="109"/>
                  </a:cubicBezTo>
                  <a:cubicBezTo>
                    <a:pt x="68" y="217"/>
                    <a:pt x="68" y="217"/>
                    <a:pt x="68" y="217"/>
                  </a:cubicBezTo>
                  <a:cubicBezTo>
                    <a:pt x="134" y="112"/>
                    <a:pt x="134" y="112"/>
                    <a:pt x="134" y="112"/>
                  </a:cubicBezTo>
                  <a:cubicBezTo>
                    <a:pt x="134" y="112"/>
                    <a:pt x="134" y="111"/>
                    <a:pt x="134" y="111"/>
                  </a:cubicBezTo>
                  <a:cubicBezTo>
                    <a:pt x="134" y="111"/>
                    <a:pt x="134" y="111"/>
                    <a:pt x="134" y="111"/>
                  </a:cubicBezTo>
                  <a:cubicBezTo>
                    <a:pt x="134" y="111"/>
                    <a:pt x="134" y="111"/>
                    <a:pt x="134" y="111"/>
                  </a:cubicBezTo>
                  <a:close/>
                  <a:moveTo>
                    <a:pt x="119" y="75"/>
                  </a:moveTo>
                  <a:cubicBezTo>
                    <a:pt x="118" y="101"/>
                    <a:pt x="97" y="121"/>
                    <a:pt x="71" y="120"/>
                  </a:cubicBezTo>
                  <a:cubicBezTo>
                    <a:pt x="45" y="120"/>
                    <a:pt x="25" y="98"/>
                    <a:pt x="26" y="72"/>
                  </a:cubicBezTo>
                  <a:cubicBezTo>
                    <a:pt x="27" y="46"/>
                    <a:pt x="48" y="26"/>
                    <a:pt x="74" y="27"/>
                  </a:cubicBezTo>
                  <a:cubicBezTo>
                    <a:pt x="100" y="28"/>
                    <a:pt x="120" y="49"/>
                    <a:pt x="119" y="75"/>
                  </a:cubicBezTo>
                  <a:close/>
                  <a:moveTo>
                    <a:pt x="878" y="268"/>
                  </a:moveTo>
                  <a:cubicBezTo>
                    <a:pt x="857" y="302"/>
                    <a:pt x="857" y="302"/>
                    <a:pt x="857" y="302"/>
                  </a:cubicBezTo>
                  <a:cubicBezTo>
                    <a:pt x="836" y="264"/>
                    <a:pt x="836" y="264"/>
                    <a:pt x="836" y="264"/>
                  </a:cubicBezTo>
                  <a:cubicBezTo>
                    <a:pt x="823" y="271"/>
                    <a:pt x="814" y="284"/>
                    <a:pt x="814" y="300"/>
                  </a:cubicBezTo>
                  <a:cubicBezTo>
                    <a:pt x="814" y="322"/>
                    <a:pt x="832" y="340"/>
                    <a:pt x="854" y="340"/>
                  </a:cubicBezTo>
                  <a:cubicBezTo>
                    <a:pt x="876" y="340"/>
                    <a:pt x="894" y="322"/>
                    <a:pt x="894" y="300"/>
                  </a:cubicBezTo>
                  <a:cubicBezTo>
                    <a:pt x="894" y="287"/>
                    <a:pt x="888" y="275"/>
                    <a:pt x="878" y="268"/>
                  </a:cubicBezTo>
                  <a:close/>
                  <a:moveTo>
                    <a:pt x="923" y="170"/>
                  </a:moveTo>
                  <a:cubicBezTo>
                    <a:pt x="929" y="159"/>
                    <a:pt x="933" y="147"/>
                    <a:pt x="934" y="134"/>
                  </a:cubicBezTo>
                  <a:cubicBezTo>
                    <a:pt x="935" y="95"/>
                    <a:pt x="904" y="61"/>
                    <a:pt x="864" y="60"/>
                  </a:cubicBezTo>
                  <a:cubicBezTo>
                    <a:pt x="824" y="59"/>
                    <a:pt x="790" y="90"/>
                    <a:pt x="789" y="130"/>
                  </a:cubicBezTo>
                  <a:cubicBezTo>
                    <a:pt x="789" y="143"/>
                    <a:pt x="792" y="155"/>
                    <a:pt x="797" y="166"/>
                  </a:cubicBezTo>
                  <a:cubicBezTo>
                    <a:pt x="797" y="166"/>
                    <a:pt x="797" y="166"/>
                    <a:pt x="797" y="166"/>
                  </a:cubicBezTo>
                  <a:cubicBezTo>
                    <a:pt x="798" y="166"/>
                    <a:pt x="798" y="167"/>
                    <a:pt x="798" y="168"/>
                  </a:cubicBezTo>
                  <a:cubicBezTo>
                    <a:pt x="857" y="276"/>
                    <a:pt x="857" y="276"/>
                    <a:pt x="857" y="276"/>
                  </a:cubicBezTo>
                  <a:cubicBezTo>
                    <a:pt x="923" y="170"/>
                    <a:pt x="923" y="170"/>
                    <a:pt x="923" y="170"/>
                  </a:cubicBezTo>
                  <a:cubicBezTo>
                    <a:pt x="923" y="170"/>
                    <a:pt x="923" y="170"/>
                    <a:pt x="923" y="170"/>
                  </a:cubicBezTo>
                  <a:cubicBezTo>
                    <a:pt x="923" y="170"/>
                    <a:pt x="923" y="170"/>
                    <a:pt x="923" y="170"/>
                  </a:cubicBezTo>
                  <a:cubicBezTo>
                    <a:pt x="923" y="170"/>
                    <a:pt x="923" y="170"/>
                    <a:pt x="923" y="170"/>
                  </a:cubicBezTo>
                  <a:close/>
                  <a:moveTo>
                    <a:pt x="908" y="134"/>
                  </a:moveTo>
                  <a:cubicBezTo>
                    <a:pt x="907" y="159"/>
                    <a:pt x="886" y="180"/>
                    <a:pt x="860" y="179"/>
                  </a:cubicBezTo>
                  <a:cubicBezTo>
                    <a:pt x="834" y="178"/>
                    <a:pt x="814" y="156"/>
                    <a:pt x="815" y="131"/>
                  </a:cubicBezTo>
                  <a:cubicBezTo>
                    <a:pt x="815" y="105"/>
                    <a:pt x="837" y="84"/>
                    <a:pt x="863" y="85"/>
                  </a:cubicBezTo>
                  <a:cubicBezTo>
                    <a:pt x="889" y="86"/>
                    <a:pt x="909" y="108"/>
                    <a:pt x="908" y="134"/>
                  </a:cubicBezTo>
                  <a:close/>
                  <a:moveTo>
                    <a:pt x="521" y="315"/>
                  </a:moveTo>
                  <a:cubicBezTo>
                    <a:pt x="502" y="345"/>
                    <a:pt x="502" y="345"/>
                    <a:pt x="502" y="345"/>
                  </a:cubicBezTo>
                  <a:cubicBezTo>
                    <a:pt x="484" y="312"/>
                    <a:pt x="484" y="312"/>
                    <a:pt x="484" y="312"/>
                  </a:cubicBezTo>
                  <a:cubicBezTo>
                    <a:pt x="469" y="317"/>
                    <a:pt x="459" y="332"/>
                    <a:pt x="459" y="349"/>
                  </a:cubicBezTo>
                  <a:cubicBezTo>
                    <a:pt x="459" y="371"/>
                    <a:pt x="477" y="389"/>
                    <a:pt x="499" y="389"/>
                  </a:cubicBezTo>
                  <a:cubicBezTo>
                    <a:pt x="521" y="389"/>
                    <a:pt x="539" y="371"/>
                    <a:pt x="539" y="349"/>
                  </a:cubicBezTo>
                  <a:cubicBezTo>
                    <a:pt x="539" y="335"/>
                    <a:pt x="532" y="322"/>
                    <a:pt x="521" y="315"/>
                  </a:cubicBezTo>
                  <a:close/>
                  <a:moveTo>
                    <a:pt x="569" y="212"/>
                  </a:moveTo>
                  <a:cubicBezTo>
                    <a:pt x="575" y="202"/>
                    <a:pt x="579" y="190"/>
                    <a:pt x="579" y="177"/>
                  </a:cubicBezTo>
                  <a:cubicBezTo>
                    <a:pt x="580" y="137"/>
                    <a:pt x="549" y="104"/>
                    <a:pt x="509" y="103"/>
                  </a:cubicBezTo>
                  <a:cubicBezTo>
                    <a:pt x="469" y="101"/>
                    <a:pt x="436" y="133"/>
                    <a:pt x="435" y="172"/>
                  </a:cubicBezTo>
                  <a:cubicBezTo>
                    <a:pt x="434" y="185"/>
                    <a:pt x="437" y="198"/>
                    <a:pt x="443" y="208"/>
                  </a:cubicBezTo>
                  <a:cubicBezTo>
                    <a:pt x="443" y="208"/>
                    <a:pt x="443" y="208"/>
                    <a:pt x="443" y="208"/>
                  </a:cubicBezTo>
                  <a:cubicBezTo>
                    <a:pt x="443" y="209"/>
                    <a:pt x="444" y="210"/>
                    <a:pt x="444" y="210"/>
                  </a:cubicBezTo>
                  <a:cubicBezTo>
                    <a:pt x="503" y="318"/>
                    <a:pt x="503" y="318"/>
                    <a:pt x="503" y="318"/>
                  </a:cubicBezTo>
                  <a:cubicBezTo>
                    <a:pt x="568" y="213"/>
                    <a:pt x="568" y="213"/>
                    <a:pt x="568" y="213"/>
                  </a:cubicBezTo>
                  <a:cubicBezTo>
                    <a:pt x="568" y="213"/>
                    <a:pt x="568" y="213"/>
                    <a:pt x="569" y="212"/>
                  </a:cubicBezTo>
                  <a:cubicBezTo>
                    <a:pt x="569" y="212"/>
                    <a:pt x="569" y="212"/>
                    <a:pt x="569" y="212"/>
                  </a:cubicBezTo>
                  <a:cubicBezTo>
                    <a:pt x="569" y="212"/>
                    <a:pt x="569" y="212"/>
                    <a:pt x="569" y="212"/>
                  </a:cubicBezTo>
                  <a:close/>
                  <a:moveTo>
                    <a:pt x="554" y="176"/>
                  </a:moveTo>
                  <a:cubicBezTo>
                    <a:pt x="553" y="202"/>
                    <a:pt x="531" y="222"/>
                    <a:pt x="505" y="222"/>
                  </a:cubicBezTo>
                  <a:cubicBezTo>
                    <a:pt x="480" y="221"/>
                    <a:pt x="459" y="199"/>
                    <a:pt x="460" y="173"/>
                  </a:cubicBezTo>
                  <a:cubicBezTo>
                    <a:pt x="461" y="147"/>
                    <a:pt x="483" y="127"/>
                    <a:pt x="508" y="128"/>
                  </a:cubicBezTo>
                  <a:cubicBezTo>
                    <a:pt x="534" y="129"/>
                    <a:pt x="555" y="150"/>
                    <a:pt x="554" y="176"/>
                  </a:cubicBez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grpSp>
        <p:nvGrpSpPr>
          <p:cNvPr id="279" name="Group 53">
            <a:extLst>
              <a:ext uri="{FF2B5EF4-FFF2-40B4-BE49-F238E27FC236}">
                <a16:creationId xmlns:a16="http://schemas.microsoft.com/office/drawing/2014/main" xmlns="" id="{7630139E-0BFA-4F5E-AC00-F584FE51BD8C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833346" y="1128478"/>
            <a:ext cx="189249" cy="318704"/>
            <a:chOff x="2554" y="1611"/>
            <a:chExt cx="652" cy="1098"/>
          </a:xfrm>
          <a:effectLst>
            <a:outerShdw blurRad="101600" dist="50800" dir="2700000" algn="ctr" rotWithShape="0">
              <a:srgbClr val="000000">
                <a:alpha val="29000"/>
              </a:srgbClr>
            </a:outerShdw>
          </a:effectLst>
        </p:grpSpPr>
        <p:sp>
          <p:nvSpPr>
            <p:cNvPr id="280" name="AutoShape 52">
              <a:extLst>
                <a:ext uri="{FF2B5EF4-FFF2-40B4-BE49-F238E27FC236}">
                  <a16:creationId xmlns:a16="http://schemas.microsoft.com/office/drawing/2014/main" xmlns="" id="{136A9E2B-6946-4614-A3F1-50D76F80DE00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554" y="1611"/>
              <a:ext cx="652" cy="109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81" name="Freeform 54">
              <a:extLst>
                <a:ext uri="{FF2B5EF4-FFF2-40B4-BE49-F238E27FC236}">
                  <a16:creationId xmlns:a16="http://schemas.microsoft.com/office/drawing/2014/main" xmlns="" id="{DF519CA5-700D-41BE-9449-73218A924AC6}"/>
                </a:ext>
              </a:extLst>
            </p:cNvPr>
            <p:cNvSpPr>
              <a:spLocks/>
            </p:cNvSpPr>
            <p:nvPr/>
          </p:nvSpPr>
          <p:spPr bwMode="auto">
            <a:xfrm>
              <a:off x="2556" y="1613"/>
              <a:ext cx="652" cy="1098"/>
            </a:xfrm>
            <a:custGeom>
              <a:avLst/>
              <a:gdLst>
                <a:gd name="T0" fmla="*/ 276 w 276"/>
                <a:gd name="T1" fmla="*/ 51 h 465"/>
                <a:gd name="T2" fmla="*/ 276 w 276"/>
                <a:gd name="T3" fmla="*/ 414 h 465"/>
                <a:gd name="T4" fmla="*/ 225 w 276"/>
                <a:gd name="T5" fmla="*/ 465 h 465"/>
                <a:gd name="T6" fmla="*/ 51 w 276"/>
                <a:gd name="T7" fmla="*/ 465 h 465"/>
                <a:gd name="T8" fmla="*/ 0 w 276"/>
                <a:gd name="T9" fmla="*/ 414 h 465"/>
                <a:gd name="T10" fmla="*/ 0 w 276"/>
                <a:gd name="T11" fmla="*/ 51 h 465"/>
                <a:gd name="T12" fmla="*/ 51 w 276"/>
                <a:gd name="T13" fmla="*/ 0 h 465"/>
                <a:gd name="T14" fmla="*/ 225 w 276"/>
                <a:gd name="T15" fmla="*/ 0 h 465"/>
                <a:gd name="T16" fmla="*/ 276 w 276"/>
                <a:gd name="T17" fmla="*/ 51 h 4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76" h="465">
                  <a:moveTo>
                    <a:pt x="276" y="51"/>
                  </a:moveTo>
                  <a:cubicBezTo>
                    <a:pt x="276" y="414"/>
                    <a:pt x="276" y="414"/>
                    <a:pt x="276" y="414"/>
                  </a:cubicBezTo>
                  <a:cubicBezTo>
                    <a:pt x="276" y="442"/>
                    <a:pt x="253" y="465"/>
                    <a:pt x="225" y="465"/>
                  </a:cubicBezTo>
                  <a:cubicBezTo>
                    <a:pt x="51" y="465"/>
                    <a:pt x="51" y="465"/>
                    <a:pt x="51" y="465"/>
                  </a:cubicBezTo>
                  <a:cubicBezTo>
                    <a:pt x="23" y="465"/>
                    <a:pt x="0" y="442"/>
                    <a:pt x="0" y="414"/>
                  </a:cubicBezTo>
                  <a:cubicBezTo>
                    <a:pt x="0" y="51"/>
                    <a:pt x="0" y="51"/>
                    <a:pt x="0" y="51"/>
                  </a:cubicBezTo>
                  <a:cubicBezTo>
                    <a:pt x="0" y="23"/>
                    <a:pt x="23" y="0"/>
                    <a:pt x="51" y="0"/>
                  </a:cubicBezTo>
                  <a:cubicBezTo>
                    <a:pt x="225" y="0"/>
                    <a:pt x="225" y="0"/>
                    <a:pt x="225" y="0"/>
                  </a:cubicBezTo>
                  <a:cubicBezTo>
                    <a:pt x="253" y="0"/>
                    <a:pt x="276" y="23"/>
                    <a:pt x="276" y="5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82" name="Freeform 55">
              <a:extLst>
                <a:ext uri="{FF2B5EF4-FFF2-40B4-BE49-F238E27FC236}">
                  <a16:creationId xmlns:a16="http://schemas.microsoft.com/office/drawing/2014/main" xmlns="" id="{8FFAA619-61DA-447A-98CF-D2C90E78B0B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89" y="1647"/>
              <a:ext cx="586" cy="1031"/>
            </a:xfrm>
            <a:custGeom>
              <a:avLst/>
              <a:gdLst>
                <a:gd name="T0" fmla="*/ 234 w 248"/>
                <a:gd name="T1" fmla="*/ 376 h 437"/>
                <a:gd name="T2" fmla="*/ 14 w 248"/>
                <a:gd name="T3" fmla="*/ 376 h 437"/>
                <a:gd name="T4" fmla="*/ 14 w 248"/>
                <a:gd name="T5" fmla="*/ 52 h 437"/>
                <a:gd name="T6" fmla="*/ 234 w 248"/>
                <a:gd name="T7" fmla="*/ 52 h 437"/>
                <a:gd name="T8" fmla="*/ 234 w 248"/>
                <a:gd name="T9" fmla="*/ 376 h 437"/>
                <a:gd name="T10" fmla="*/ 152 w 248"/>
                <a:gd name="T11" fmla="*/ 407 h 437"/>
                <a:gd name="T12" fmla="*/ 145 w 248"/>
                <a:gd name="T13" fmla="*/ 414 h 437"/>
                <a:gd name="T14" fmla="*/ 103 w 248"/>
                <a:gd name="T15" fmla="*/ 414 h 437"/>
                <a:gd name="T16" fmla="*/ 96 w 248"/>
                <a:gd name="T17" fmla="*/ 407 h 437"/>
                <a:gd name="T18" fmla="*/ 96 w 248"/>
                <a:gd name="T19" fmla="*/ 404 h 437"/>
                <a:gd name="T20" fmla="*/ 103 w 248"/>
                <a:gd name="T21" fmla="*/ 397 h 437"/>
                <a:gd name="T22" fmla="*/ 145 w 248"/>
                <a:gd name="T23" fmla="*/ 397 h 437"/>
                <a:gd name="T24" fmla="*/ 152 w 248"/>
                <a:gd name="T25" fmla="*/ 404 h 437"/>
                <a:gd name="T26" fmla="*/ 152 w 248"/>
                <a:gd name="T27" fmla="*/ 407 h 437"/>
                <a:gd name="T28" fmla="*/ 70 w 248"/>
                <a:gd name="T29" fmla="*/ 15 h 437"/>
                <a:gd name="T30" fmla="*/ 75 w 248"/>
                <a:gd name="T31" fmla="*/ 20 h 437"/>
                <a:gd name="T32" fmla="*/ 70 w 248"/>
                <a:gd name="T33" fmla="*/ 24 h 437"/>
                <a:gd name="T34" fmla="*/ 66 w 248"/>
                <a:gd name="T35" fmla="*/ 20 h 437"/>
                <a:gd name="T36" fmla="*/ 70 w 248"/>
                <a:gd name="T37" fmla="*/ 15 h 437"/>
                <a:gd name="T38" fmla="*/ 83 w 248"/>
                <a:gd name="T39" fmla="*/ 15 h 437"/>
                <a:gd name="T40" fmla="*/ 87 w 248"/>
                <a:gd name="T41" fmla="*/ 20 h 437"/>
                <a:gd name="T42" fmla="*/ 83 w 248"/>
                <a:gd name="T43" fmla="*/ 24 h 437"/>
                <a:gd name="T44" fmla="*/ 78 w 248"/>
                <a:gd name="T45" fmla="*/ 20 h 437"/>
                <a:gd name="T46" fmla="*/ 83 w 248"/>
                <a:gd name="T47" fmla="*/ 15 h 437"/>
                <a:gd name="T48" fmla="*/ 99 w 248"/>
                <a:gd name="T49" fmla="*/ 15 h 437"/>
                <a:gd name="T50" fmla="*/ 149 w 248"/>
                <a:gd name="T51" fmla="*/ 15 h 437"/>
                <a:gd name="T52" fmla="*/ 149 w 248"/>
                <a:gd name="T53" fmla="*/ 23 h 437"/>
                <a:gd name="T54" fmla="*/ 99 w 248"/>
                <a:gd name="T55" fmla="*/ 23 h 437"/>
                <a:gd name="T56" fmla="*/ 99 w 248"/>
                <a:gd name="T57" fmla="*/ 15 h 437"/>
                <a:gd name="T58" fmla="*/ 186 w 248"/>
                <a:gd name="T59" fmla="*/ 13 h 437"/>
                <a:gd name="T60" fmla="*/ 195 w 248"/>
                <a:gd name="T61" fmla="*/ 21 h 437"/>
                <a:gd name="T62" fmla="*/ 186 w 248"/>
                <a:gd name="T63" fmla="*/ 30 h 437"/>
                <a:gd name="T64" fmla="*/ 178 w 248"/>
                <a:gd name="T65" fmla="*/ 21 h 437"/>
                <a:gd name="T66" fmla="*/ 186 w 248"/>
                <a:gd name="T67" fmla="*/ 13 h 437"/>
                <a:gd name="T68" fmla="*/ 211 w 248"/>
                <a:gd name="T69" fmla="*/ 0 h 437"/>
                <a:gd name="T70" fmla="*/ 37 w 248"/>
                <a:gd name="T71" fmla="*/ 0 h 437"/>
                <a:gd name="T72" fmla="*/ 0 w 248"/>
                <a:gd name="T73" fmla="*/ 37 h 437"/>
                <a:gd name="T74" fmla="*/ 0 w 248"/>
                <a:gd name="T75" fmla="*/ 400 h 437"/>
                <a:gd name="T76" fmla="*/ 37 w 248"/>
                <a:gd name="T77" fmla="*/ 437 h 437"/>
                <a:gd name="T78" fmla="*/ 211 w 248"/>
                <a:gd name="T79" fmla="*/ 437 h 437"/>
                <a:gd name="T80" fmla="*/ 248 w 248"/>
                <a:gd name="T81" fmla="*/ 400 h 437"/>
                <a:gd name="T82" fmla="*/ 248 w 248"/>
                <a:gd name="T83" fmla="*/ 37 h 437"/>
                <a:gd name="T84" fmla="*/ 211 w 248"/>
                <a:gd name="T85" fmla="*/ 0 h 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48" h="437">
                  <a:moveTo>
                    <a:pt x="234" y="376"/>
                  </a:moveTo>
                  <a:cubicBezTo>
                    <a:pt x="14" y="376"/>
                    <a:pt x="14" y="376"/>
                    <a:pt x="14" y="376"/>
                  </a:cubicBezTo>
                  <a:cubicBezTo>
                    <a:pt x="14" y="52"/>
                    <a:pt x="14" y="52"/>
                    <a:pt x="14" y="52"/>
                  </a:cubicBezTo>
                  <a:cubicBezTo>
                    <a:pt x="234" y="52"/>
                    <a:pt x="234" y="52"/>
                    <a:pt x="234" y="52"/>
                  </a:cubicBezTo>
                  <a:lnTo>
                    <a:pt x="234" y="376"/>
                  </a:lnTo>
                  <a:close/>
                  <a:moveTo>
                    <a:pt x="152" y="407"/>
                  </a:moveTo>
                  <a:cubicBezTo>
                    <a:pt x="152" y="411"/>
                    <a:pt x="149" y="414"/>
                    <a:pt x="145" y="414"/>
                  </a:cubicBezTo>
                  <a:cubicBezTo>
                    <a:pt x="103" y="414"/>
                    <a:pt x="103" y="414"/>
                    <a:pt x="103" y="414"/>
                  </a:cubicBezTo>
                  <a:cubicBezTo>
                    <a:pt x="99" y="414"/>
                    <a:pt x="96" y="411"/>
                    <a:pt x="96" y="407"/>
                  </a:cubicBezTo>
                  <a:cubicBezTo>
                    <a:pt x="96" y="404"/>
                    <a:pt x="96" y="404"/>
                    <a:pt x="96" y="404"/>
                  </a:cubicBezTo>
                  <a:cubicBezTo>
                    <a:pt x="96" y="400"/>
                    <a:pt x="99" y="397"/>
                    <a:pt x="103" y="397"/>
                  </a:cubicBezTo>
                  <a:cubicBezTo>
                    <a:pt x="145" y="397"/>
                    <a:pt x="145" y="397"/>
                    <a:pt x="145" y="397"/>
                  </a:cubicBezTo>
                  <a:cubicBezTo>
                    <a:pt x="149" y="397"/>
                    <a:pt x="152" y="400"/>
                    <a:pt x="152" y="404"/>
                  </a:cubicBezTo>
                  <a:lnTo>
                    <a:pt x="152" y="407"/>
                  </a:lnTo>
                  <a:close/>
                  <a:moveTo>
                    <a:pt x="70" y="15"/>
                  </a:moveTo>
                  <a:cubicBezTo>
                    <a:pt x="73" y="15"/>
                    <a:pt x="75" y="17"/>
                    <a:pt x="75" y="20"/>
                  </a:cubicBezTo>
                  <a:cubicBezTo>
                    <a:pt x="75" y="22"/>
                    <a:pt x="73" y="24"/>
                    <a:pt x="70" y="24"/>
                  </a:cubicBezTo>
                  <a:cubicBezTo>
                    <a:pt x="68" y="24"/>
                    <a:pt x="66" y="22"/>
                    <a:pt x="66" y="20"/>
                  </a:cubicBezTo>
                  <a:cubicBezTo>
                    <a:pt x="66" y="17"/>
                    <a:pt x="68" y="15"/>
                    <a:pt x="70" y="15"/>
                  </a:cubicBezTo>
                  <a:moveTo>
                    <a:pt x="83" y="15"/>
                  </a:moveTo>
                  <a:cubicBezTo>
                    <a:pt x="85" y="15"/>
                    <a:pt x="87" y="17"/>
                    <a:pt x="87" y="20"/>
                  </a:cubicBezTo>
                  <a:cubicBezTo>
                    <a:pt x="87" y="22"/>
                    <a:pt x="85" y="24"/>
                    <a:pt x="83" y="24"/>
                  </a:cubicBezTo>
                  <a:cubicBezTo>
                    <a:pt x="80" y="24"/>
                    <a:pt x="78" y="22"/>
                    <a:pt x="78" y="20"/>
                  </a:cubicBezTo>
                  <a:cubicBezTo>
                    <a:pt x="78" y="17"/>
                    <a:pt x="80" y="15"/>
                    <a:pt x="83" y="15"/>
                  </a:cubicBezTo>
                  <a:moveTo>
                    <a:pt x="99" y="15"/>
                  </a:moveTo>
                  <a:cubicBezTo>
                    <a:pt x="149" y="15"/>
                    <a:pt x="149" y="15"/>
                    <a:pt x="149" y="15"/>
                  </a:cubicBezTo>
                  <a:cubicBezTo>
                    <a:pt x="149" y="23"/>
                    <a:pt x="149" y="23"/>
                    <a:pt x="149" y="23"/>
                  </a:cubicBezTo>
                  <a:cubicBezTo>
                    <a:pt x="99" y="23"/>
                    <a:pt x="99" y="23"/>
                    <a:pt x="99" y="23"/>
                  </a:cubicBezTo>
                  <a:lnTo>
                    <a:pt x="99" y="15"/>
                  </a:lnTo>
                  <a:close/>
                  <a:moveTo>
                    <a:pt x="186" y="13"/>
                  </a:moveTo>
                  <a:cubicBezTo>
                    <a:pt x="191" y="13"/>
                    <a:pt x="195" y="16"/>
                    <a:pt x="195" y="21"/>
                  </a:cubicBezTo>
                  <a:cubicBezTo>
                    <a:pt x="195" y="26"/>
                    <a:pt x="191" y="30"/>
                    <a:pt x="186" y="30"/>
                  </a:cubicBezTo>
                  <a:cubicBezTo>
                    <a:pt x="182" y="30"/>
                    <a:pt x="178" y="26"/>
                    <a:pt x="178" y="21"/>
                  </a:cubicBezTo>
                  <a:cubicBezTo>
                    <a:pt x="178" y="16"/>
                    <a:pt x="182" y="13"/>
                    <a:pt x="186" y="13"/>
                  </a:cubicBezTo>
                  <a:moveTo>
                    <a:pt x="211" y="0"/>
                  </a:moveTo>
                  <a:cubicBezTo>
                    <a:pt x="37" y="0"/>
                    <a:pt x="37" y="0"/>
                    <a:pt x="37" y="0"/>
                  </a:cubicBezTo>
                  <a:cubicBezTo>
                    <a:pt x="17" y="0"/>
                    <a:pt x="0" y="17"/>
                    <a:pt x="0" y="37"/>
                  </a:cubicBezTo>
                  <a:cubicBezTo>
                    <a:pt x="0" y="400"/>
                    <a:pt x="0" y="400"/>
                    <a:pt x="0" y="400"/>
                  </a:cubicBezTo>
                  <a:cubicBezTo>
                    <a:pt x="0" y="421"/>
                    <a:pt x="17" y="437"/>
                    <a:pt x="37" y="437"/>
                  </a:cubicBezTo>
                  <a:cubicBezTo>
                    <a:pt x="211" y="437"/>
                    <a:pt x="211" y="437"/>
                    <a:pt x="211" y="437"/>
                  </a:cubicBezTo>
                  <a:cubicBezTo>
                    <a:pt x="231" y="437"/>
                    <a:pt x="248" y="421"/>
                    <a:pt x="248" y="400"/>
                  </a:cubicBezTo>
                  <a:cubicBezTo>
                    <a:pt x="248" y="37"/>
                    <a:pt x="248" y="37"/>
                    <a:pt x="248" y="37"/>
                  </a:cubicBezTo>
                  <a:cubicBezTo>
                    <a:pt x="248" y="17"/>
                    <a:pt x="231" y="0"/>
                    <a:pt x="211" y="0"/>
                  </a:cubicBezTo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grpSp>
        <p:nvGrpSpPr>
          <p:cNvPr id="283" name="Group 59">
            <a:extLst>
              <a:ext uri="{FF2B5EF4-FFF2-40B4-BE49-F238E27FC236}">
                <a16:creationId xmlns:a16="http://schemas.microsoft.com/office/drawing/2014/main" xmlns="" id="{D9D7E0CE-98AE-4EE9-9F41-1430066B055C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309881" y="1137879"/>
            <a:ext cx="191780" cy="309668"/>
            <a:chOff x="2540" y="1611"/>
            <a:chExt cx="680" cy="1098"/>
          </a:xfrm>
          <a:effectLst>
            <a:outerShdw blurRad="101600" dist="50800" dir="2700000" algn="ctr" rotWithShape="0">
              <a:srgbClr val="000000">
                <a:alpha val="29000"/>
              </a:srgbClr>
            </a:outerShdw>
          </a:effectLst>
        </p:grpSpPr>
        <p:sp>
          <p:nvSpPr>
            <p:cNvPr id="284" name="AutoShape 58">
              <a:extLst>
                <a:ext uri="{FF2B5EF4-FFF2-40B4-BE49-F238E27FC236}">
                  <a16:creationId xmlns:a16="http://schemas.microsoft.com/office/drawing/2014/main" xmlns="" id="{5EB41C15-E3C3-4F8D-A986-EACD7B01FEBF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540" y="1611"/>
              <a:ext cx="680" cy="109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85" name="Freeform 60">
              <a:extLst>
                <a:ext uri="{FF2B5EF4-FFF2-40B4-BE49-F238E27FC236}">
                  <a16:creationId xmlns:a16="http://schemas.microsoft.com/office/drawing/2014/main" xmlns="" id="{E5BAED5E-0C26-4A02-9422-288EFF74422A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2" y="1609"/>
              <a:ext cx="680" cy="1098"/>
            </a:xfrm>
            <a:custGeom>
              <a:avLst/>
              <a:gdLst>
                <a:gd name="T0" fmla="*/ 288 w 288"/>
                <a:gd name="T1" fmla="*/ 45 h 465"/>
                <a:gd name="T2" fmla="*/ 288 w 288"/>
                <a:gd name="T3" fmla="*/ 420 h 465"/>
                <a:gd name="T4" fmla="*/ 243 w 288"/>
                <a:gd name="T5" fmla="*/ 465 h 465"/>
                <a:gd name="T6" fmla="*/ 45 w 288"/>
                <a:gd name="T7" fmla="*/ 465 h 465"/>
                <a:gd name="T8" fmla="*/ 0 w 288"/>
                <a:gd name="T9" fmla="*/ 420 h 465"/>
                <a:gd name="T10" fmla="*/ 0 w 288"/>
                <a:gd name="T11" fmla="*/ 45 h 465"/>
                <a:gd name="T12" fmla="*/ 45 w 288"/>
                <a:gd name="T13" fmla="*/ 0 h 465"/>
                <a:gd name="T14" fmla="*/ 249 w 288"/>
                <a:gd name="T15" fmla="*/ 0 h 465"/>
                <a:gd name="T16" fmla="*/ 249 w 288"/>
                <a:gd name="T17" fmla="*/ 0 h 465"/>
                <a:gd name="T18" fmla="*/ 288 w 288"/>
                <a:gd name="T19" fmla="*/ 45 h 4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8" h="465">
                  <a:moveTo>
                    <a:pt x="288" y="45"/>
                  </a:moveTo>
                  <a:cubicBezTo>
                    <a:pt x="288" y="420"/>
                    <a:pt x="288" y="420"/>
                    <a:pt x="288" y="420"/>
                  </a:cubicBezTo>
                  <a:cubicBezTo>
                    <a:pt x="288" y="448"/>
                    <a:pt x="271" y="465"/>
                    <a:pt x="243" y="465"/>
                  </a:cubicBezTo>
                  <a:cubicBezTo>
                    <a:pt x="45" y="465"/>
                    <a:pt x="45" y="465"/>
                    <a:pt x="45" y="465"/>
                  </a:cubicBezTo>
                  <a:cubicBezTo>
                    <a:pt x="17" y="465"/>
                    <a:pt x="0" y="448"/>
                    <a:pt x="0" y="420"/>
                  </a:cubicBezTo>
                  <a:cubicBezTo>
                    <a:pt x="0" y="45"/>
                    <a:pt x="0" y="45"/>
                    <a:pt x="0" y="45"/>
                  </a:cubicBezTo>
                  <a:cubicBezTo>
                    <a:pt x="0" y="17"/>
                    <a:pt x="17" y="0"/>
                    <a:pt x="45" y="0"/>
                  </a:cubicBezTo>
                  <a:cubicBezTo>
                    <a:pt x="249" y="0"/>
                    <a:pt x="249" y="0"/>
                    <a:pt x="249" y="0"/>
                  </a:cubicBezTo>
                  <a:cubicBezTo>
                    <a:pt x="249" y="0"/>
                    <a:pt x="249" y="0"/>
                    <a:pt x="249" y="0"/>
                  </a:cubicBezTo>
                  <a:cubicBezTo>
                    <a:pt x="273" y="3"/>
                    <a:pt x="288" y="19"/>
                    <a:pt x="288" y="4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86" name="Freeform 61">
              <a:extLst>
                <a:ext uri="{FF2B5EF4-FFF2-40B4-BE49-F238E27FC236}">
                  <a16:creationId xmlns:a16="http://schemas.microsoft.com/office/drawing/2014/main" xmlns="" id="{3D4C5FB4-57E1-4DC6-BE4B-3BADB24696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75" y="1642"/>
              <a:ext cx="614" cy="1032"/>
            </a:xfrm>
            <a:custGeom>
              <a:avLst/>
              <a:gdLst>
                <a:gd name="T0" fmla="*/ 235 w 260"/>
                <a:gd name="T1" fmla="*/ 0 h 437"/>
                <a:gd name="T2" fmla="*/ 31 w 260"/>
                <a:gd name="T3" fmla="*/ 0 h 437"/>
                <a:gd name="T4" fmla="*/ 0 w 260"/>
                <a:gd name="T5" fmla="*/ 31 h 437"/>
                <a:gd name="T6" fmla="*/ 0 w 260"/>
                <a:gd name="T7" fmla="*/ 406 h 437"/>
                <a:gd name="T8" fmla="*/ 31 w 260"/>
                <a:gd name="T9" fmla="*/ 437 h 437"/>
                <a:gd name="T10" fmla="*/ 229 w 260"/>
                <a:gd name="T11" fmla="*/ 437 h 437"/>
                <a:gd name="T12" fmla="*/ 260 w 260"/>
                <a:gd name="T13" fmla="*/ 406 h 437"/>
                <a:gd name="T14" fmla="*/ 260 w 260"/>
                <a:gd name="T15" fmla="*/ 31 h 437"/>
                <a:gd name="T16" fmla="*/ 229 w 260"/>
                <a:gd name="T17" fmla="*/ 0 h 437"/>
                <a:gd name="T18" fmla="*/ 87 w 260"/>
                <a:gd name="T19" fmla="*/ 21 h 437"/>
                <a:gd name="T20" fmla="*/ 173 w 260"/>
                <a:gd name="T21" fmla="*/ 21 h 437"/>
                <a:gd name="T22" fmla="*/ 173 w 260"/>
                <a:gd name="T23" fmla="*/ 28 h 437"/>
                <a:gd name="T24" fmla="*/ 87 w 260"/>
                <a:gd name="T25" fmla="*/ 28 h 437"/>
                <a:gd name="T26" fmla="*/ 87 w 260"/>
                <a:gd name="T27" fmla="*/ 21 h 437"/>
                <a:gd name="T28" fmla="*/ 246 w 260"/>
                <a:gd name="T29" fmla="*/ 401 h 437"/>
                <a:gd name="T30" fmla="*/ 14 w 260"/>
                <a:gd name="T31" fmla="*/ 401 h 437"/>
                <a:gd name="T32" fmla="*/ 14 w 260"/>
                <a:gd name="T33" fmla="*/ 46 h 437"/>
                <a:gd name="T34" fmla="*/ 246 w 260"/>
                <a:gd name="T35" fmla="*/ 46 h 437"/>
                <a:gd name="T36" fmla="*/ 246 w 260"/>
                <a:gd name="T37" fmla="*/ 401 h 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0" h="437">
                  <a:moveTo>
                    <a:pt x="235" y="0"/>
                  </a:moveTo>
                  <a:cubicBezTo>
                    <a:pt x="31" y="0"/>
                    <a:pt x="31" y="0"/>
                    <a:pt x="31" y="0"/>
                  </a:cubicBezTo>
                  <a:cubicBezTo>
                    <a:pt x="11" y="0"/>
                    <a:pt x="0" y="11"/>
                    <a:pt x="0" y="31"/>
                  </a:cubicBezTo>
                  <a:cubicBezTo>
                    <a:pt x="0" y="406"/>
                    <a:pt x="0" y="406"/>
                    <a:pt x="0" y="406"/>
                  </a:cubicBezTo>
                  <a:cubicBezTo>
                    <a:pt x="0" y="427"/>
                    <a:pt x="11" y="437"/>
                    <a:pt x="31" y="437"/>
                  </a:cubicBezTo>
                  <a:cubicBezTo>
                    <a:pt x="229" y="437"/>
                    <a:pt x="229" y="437"/>
                    <a:pt x="229" y="437"/>
                  </a:cubicBezTo>
                  <a:cubicBezTo>
                    <a:pt x="249" y="437"/>
                    <a:pt x="260" y="427"/>
                    <a:pt x="260" y="406"/>
                  </a:cubicBezTo>
                  <a:cubicBezTo>
                    <a:pt x="260" y="31"/>
                    <a:pt x="260" y="31"/>
                    <a:pt x="260" y="31"/>
                  </a:cubicBezTo>
                  <a:cubicBezTo>
                    <a:pt x="260" y="11"/>
                    <a:pt x="249" y="0"/>
                    <a:pt x="229" y="0"/>
                  </a:cubicBezTo>
                  <a:moveTo>
                    <a:pt x="87" y="21"/>
                  </a:moveTo>
                  <a:cubicBezTo>
                    <a:pt x="173" y="21"/>
                    <a:pt x="173" y="21"/>
                    <a:pt x="173" y="21"/>
                  </a:cubicBezTo>
                  <a:cubicBezTo>
                    <a:pt x="173" y="28"/>
                    <a:pt x="173" y="28"/>
                    <a:pt x="173" y="28"/>
                  </a:cubicBezTo>
                  <a:cubicBezTo>
                    <a:pt x="87" y="28"/>
                    <a:pt x="87" y="28"/>
                    <a:pt x="87" y="28"/>
                  </a:cubicBezTo>
                  <a:lnTo>
                    <a:pt x="87" y="21"/>
                  </a:lnTo>
                  <a:close/>
                  <a:moveTo>
                    <a:pt x="246" y="401"/>
                  </a:moveTo>
                  <a:cubicBezTo>
                    <a:pt x="14" y="401"/>
                    <a:pt x="14" y="401"/>
                    <a:pt x="14" y="401"/>
                  </a:cubicBezTo>
                  <a:cubicBezTo>
                    <a:pt x="14" y="46"/>
                    <a:pt x="14" y="46"/>
                    <a:pt x="14" y="46"/>
                  </a:cubicBezTo>
                  <a:cubicBezTo>
                    <a:pt x="246" y="46"/>
                    <a:pt x="246" y="46"/>
                    <a:pt x="246" y="46"/>
                  </a:cubicBezTo>
                  <a:lnTo>
                    <a:pt x="246" y="401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grpSp>
        <p:nvGrpSpPr>
          <p:cNvPr id="287" name="Group 5">
            <a:extLst>
              <a:ext uri="{FF2B5EF4-FFF2-40B4-BE49-F238E27FC236}">
                <a16:creationId xmlns:a16="http://schemas.microsoft.com/office/drawing/2014/main" xmlns="" id="{8F76FF80-0EE6-446D-A135-C21A98BD97D2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84839" y="1659487"/>
            <a:ext cx="359019" cy="396787"/>
            <a:chOff x="2476" y="1713"/>
            <a:chExt cx="808" cy="893"/>
          </a:xfrm>
          <a:effectLst>
            <a:outerShdw blurRad="101600" dist="76200" dir="2700000" algn="ctr" rotWithShape="0">
              <a:srgbClr val="000000">
                <a:alpha val="29000"/>
              </a:srgbClr>
            </a:outerShdw>
          </a:effectLst>
        </p:grpSpPr>
        <p:sp>
          <p:nvSpPr>
            <p:cNvPr id="288" name="AutoShape 4">
              <a:extLst>
                <a:ext uri="{FF2B5EF4-FFF2-40B4-BE49-F238E27FC236}">
                  <a16:creationId xmlns:a16="http://schemas.microsoft.com/office/drawing/2014/main" xmlns="" id="{F8FEC4D4-AB63-4FDF-AB37-9482AF42A289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476" y="1713"/>
              <a:ext cx="808" cy="8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89" name="Freeform 6">
              <a:extLst>
                <a:ext uri="{FF2B5EF4-FFF2-40B4-BE49-F238E27FC236}">
                  <a16:creationId xmlns:a16="http://schemas.microsoft.com/office/drawing/2014/main" xmlns="" id="{71BD02F8-77C5-486F-A07D-DEF9F259FB29}"/>
                </a:ext>
              </a:extLst>
            </p:cNvPr>
            <p:cNvSpPr>
              <a:spLocks/>
            </p:cNvSpPr>
            <p:nvPr/>
          </p:nvSpPr>
          <p:spPr bwMode="auto">
            <a:xfrm>
              <a:off x="2478" y="1713"/>
              <a:ext cx="808" cy="895"/>
            </a:xfrm>
            <a:custGeom>
              <a:avLst/>
              <a:gdLst>
                <a:gd name="T0" fmla="*/ 342 w 342"/>
                <a:gd name="T1" fmla="*/ 149 h 379"/>
                <a:gd name="T2" fmla="*/ 270 w 342"/>
                <a:gd name="T3" fmla="*/ 290 h 379"/>
                <a:gd name="T4" fmla="*/ 261 w 342"/>
                <a:gd name="T5" fmla="*/ 297 h 379"/>
                <a:gd name="T6" fmla="*/ 219 w 342"/>
                <a:gd name="T7" fmla="*/ 256 h 379"/>
                <a:gd name="T8" fmla="*/ 224 w 342"/>
                <a:gd name="T9" fmla="*/ 252 h 379"/>
                <a:gd name="T10" fmla="*/ 209 w 342"/>
                <a:gd name="T11" fmla="*/ 237 h 379"/>
                <a:gd name="T12" fmla="*/ 240 w 342"/>
                <a:gd name="T13" fmla="*/ 379 h 379"/>
                <a:gd name="T14" fmla="*/ 101 w 342"/>
                <a:gd name="T15" fmla="*/ 379 h 379"/>
                <a:gd name="T16" fmla="*/ 131 w 342"/>
                <a:gd name="T17" fmla="*/ 237 h 379"/>
                <a:gd name="T18" fmla="*/ 117 w 342"/>
                <a:gd name="T19" fmla="*/ 252 h 379"/>
                <a:gd name="T20" fmla="*/ 122 w 342"/>
                <a:gd name="T21" fmla="*/ 256 h 379"/>
                <a:gd name="T22" fmla="*/ 80 w 342"/>
                <a:gd name="T23" fmla="*/ 297 h 379"/>
                <a:gd name="T24" fmla="*/ 71 w 342"/>
                <a:gd name="T25" fmla="*/ 290 h 379"/>
                <a:gd name="T26" fmla="*/ 0 w 342"/>
                <a:gd name="T27" fmla="*/ 149 h 379"/>
                <a:gd name="T28" fmla="*/ 71 w 342"/>
                <a:gd name="T29" fmla="*/ 8 h 379"/>
                <a:gd name="T30" fmla="*/ 80 w 342"/>
                <a:gd name="T31" fmla="*/ 0 h 379"/>
                <a:gd name="T32" fmla="*/ 122 w 342"/>
                <a:gd name="T33" fmla="*/ 42 h 379"/>
                <a:gd name="T34" fmla="*/ 117 w 342"/>
                <a:gd name="T35" fmla="*/ 46 h 379"/>
                <a:gd name="T36" fmla="*/ 156 w 342"/>
                <a:gd name="T37" fmla="*/ 85 h 379"/>
                <a:gd name="T38" fmla="*/ 144 w 342"/>
                <a:gd name="T39" fmla="*/ 95 h 379"/>
                <a:gd name="T40" fmla="*/ 132 w 342"/>
                <a:gd name="T41" fmla="*/ 106 h 379"/>
                <a:gd name="T42" fmla="*/ 170 w 342"/>
                <a:gd name="T43" fmla="*/ 91 h 379"/>
                <a:gd name="T44" fmla="*/ 209 w 342"/>
                <a:gd name="T45" fmla="*/ 106 h 379"/>
                <a:gd name="T46" fmla="*/ 197 w 342"/>
                <a:gd name="T47" fmla="*/ 95 h 379"/>
                <a:gd name="T48" fmla="*/ 185 w 342"/>
                <a:gd name="T49" fmla="*/ 85 h 379"/>
                <a:gd name="T50" fmla="*/ 224 w 342"/>
                <a:gd name="T51" fmla="*/ 46 h 379"/>
                <a:gd name="T52" fmla="*/ 219 w 342"/>
                <a:gd name="T53" fmla="*/ 42 h 379"/>
                <a:gd name="T54" fmla="*/ 261 w 342"/>
                <a:gd name="T55" fmla="*/ 0 h 379"/>
                <a:gd name="T56" fmla="*/ 270 w 342"/>
                <a:gd name="T57" fmla="*/ 8 h 379"/>
                <a:gd name="T58" fmla="*/ 342 w 342"/>
                <a:gd name="T59" fmla="*/ 149 h 3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42" h="379">
                  <a:moveTo>
                    <a:pt x="342" y="149"/>
                  </a:moveTo>
                  <a:cubicBezTo>
                    <a:pt x="342" y="203"/>
                    <a:pt x="316" y="254"/>
                    <a:pt x="270" y="290"/>
                  </a:cubicBezTo>
                  <a:cubicBezTo>
                    <a:pt x="261" y="297"/>
                    <a:pt x="261" y="297"/>
                    <a:pt x="261" y="297"/>
                  </a:cubicBezTo>
                  <a:cubicBezTo>
                    <a:pt x="219" y="256"/>
                    <a:pt x="219" y="256"/>
                    <a:pt x="219" y="256"/>
                  </a:cubicBezTo>
                  <a:cubicBezTo>
                    <a:pt x="224" y="252"/>
                    <a:pt x="224" y="252"/>
                    <a:pt x="224" y="252"/>
                  </a:cubicBezTo>
                  <a:cubicBezTo>
                    <a:pt x="209" y="237"/>
                    <a:pt x="209" y="237"/>
                    <a:pt x="209" y="237"/>
                  </a:cubicBezTo>
                  <a:cubicBezTo>
                    <a:pt x="240" y="379"/>
                    <a:pt x="240" y="379"/>
                    <a:pt x="240" y="379"/>
                  </a:cubicBezTo>
                  <a:cubicBezTo>
                    <a:pt x="101" y="379"/>
                    <a:pt x="101" y="379"/>
                    <a:pt x="101" y="379"/>
                  </a:cubicBezTo>
                  <a:cubicBezTo>
                    <a:pt x="131" y="237"/>
                    <a:pt x="131" y="237"/>
                    <a:pt x="131" y="237"/>
                  </a:cubicBezTo>
                  <a:cubicBezTo>
                    <a:pt x="117" y="252"/>
                    <a:pt x="117" y="252"/>
                    <a:pt x="117" y="252"/>
                  </a:cubicBezTo>
                  <a:cubicBezTo>
                    <a:pt x="122" y="256"/>
                    <a:pt x="122" y="256"/>
                    <a:pt x="122" y="256"/>
                  </a:cubicBezTo>
                  <a:cubicBezTo>
                    <a:pt x="80" y="297"/>
                    <a:pt x="80" y="297"/>
                    <a:pt x="80" y="297"/>
                  </a:cubicBezTo>
                  <a:cubicBezTo>
                    <a:pt x="71" y="290"/>
                    <a:pt x="71" y="290"/>
                    <a:pt x="71" y="290"/>
                  </a:cubicBezTo>
                  <a:cubicBezTo>
                    <a:pt x="25" y="254"/>
                    <a:pt x="0" y="203"/>
                    <a:pt x="0" y="149"/>
                  </a:cubicBezTo>
                  <a:cubicBezTo>
                    <a:pt x="0" y="95"/>
                    <a:pt x="25" y="44"/>
                    <a:pt x="71" y="8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22" y="42"/>
                    <a:pt x="122" y="42"/>
                    <a:pt x="122" y="42"/>
                  </a:cubicBezTo>
                  <a:cubicBezTo>
                    <a:pt x="117" y="46"/>
                    <a:pt x="117" y="46"/>
                    <a:pt x="117" y="46"/>
                  </a:cubicBezTo>
                  <a:cubicBezTo>
                    <a:pt x="156" y="85"/>
                    <a:pt x="156" y="85"/>
                    <a:pt x="156" y="85"/>
                  </a:cubicBezTo>
                  <a:cubicBezTo>
                    <a:pt x="144" y="95"/>
                    <a:pt x="144" y="95"/>
                    <a:pt x="144" y="95"/>
                  </a:cubicBezTo>
                  <a:cubicBezTo>
                    <a:pt x="140" y="98"/>
                    <a:pt x="136" y="102"/>
                    <a:pt x="132" y="106"/>
                  </a:cubicBezTo>
                  <a:cubicBezTo>
                    <a:pt x="143" y="97"/>
                    <a:pt x="156" y="91"/>
                    <a:pt x="170" y="91"/>
                  </a:cubicBezTo>
                  <a:cubicBezTo>
                    <a:pt x="185" y="91"/>
                    <a:pt x="198" y="97"/>
                    <a:pt x="209" y="106"/>
                  </a:cubicBezTo>
                  <a:cubicBezTo>
                    <a:pt x="205" y="102"/>
                    <a:pt x="201" y="98"/>
                    <a:pt x="197" y="95"/>
                  </a:cubicBezTo>
                  <a:cubicBezTo>
                    <a:pt x="185" y="85"/>
                    <a:pt x="185" y="85"/>
                    <a:pt x="185" y="85"/>
                  </a:cubicBezTo>
                  <a:cubicBezTo>
                    <a:pt x="224" y="46"/>
                    <a:pt x="224" y="46"/>
                    <a:pt x="224" y="46"/>
                  </a:cubicBezTo>
                  <a:cubicBezTo>
                    <a:pt x="219" y="42"/>
                    <a:pt x="219" y="42"/>
                    <a:pt x="219" y="42"/>
                  </a:cubicBezTo>
                  <a:cubicBezTo>
                    <a:pt x="261" y="0"/>
                    <a:pt x="261" y="0"/>
                    <a:pt x="261" y="0"/>
                  </a:cubicBezTo>
                  <a:cubicBezTo>
                    <a:pt x="270" y="8"/>
                    <a:pt x="270" y="8"/>
                    <a:pt x="270" y="8"/>
                  </a:cubicBezTo>
                  <a:cubicBezTo>
                    <a:pt x="316" y="44"/>
                    <a:pt x="342" y="95"/>
                    <a:pt x="342" y="14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90" name="Freeform 7">
              <a:extLst>
                <a:ext uri="{FF2B5EF4-FFF2-40B4-BE49-F238E27FC236}">
                  <a16:creationId xmlns:a16="http://schemas.microsoft.com/office/drawing/2014/main" xmlns="" id="{8375717A-68A8-4DEE-80D3-ED791056025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09" y="1758"/>
              <a:ext cx="742" cy="817"/>
            </a:xfrm>
            <a:custGeom>
              <a:avLst/>
              <a:gdLst>
                <a:gd name="T0" fmla="*/ 88 w 314"/>
                <a:gd name="T1" fmla="*/ 238 h 346"/>
                <a:gd name="T2" fmla="*/ 66 w 314"/>
                <a:gd name="T3" fmla="*/ 260 h 346"/>
                <a:gd name="T4" fmla="*/ 0 w 314"/>
                <a:gd name="T5" fmla="*/ 130 h 346"/>
                <a:gd name="T6" fmla="*/ 66 w 314"/>
                <a:gd name="T7" fmla="*/ 0 h 346"/>
                <a:gd name="T8" fmla="*/ 88 w 314"/>
                <a:gd name="T9" fmla="*/ 22 h 346"/>
                <a:gd name="T10" fmla="*/ 33 w 314"/>
                <a:gd name="T11" fmla="*/ 130 h 346"/>
                <a:gd name="T12" fmla="*/ 88 w 314"/>
                <a:gd name="T13" fmla="*/ 238 h 346"/>
                <a:gd name="T14" fmla="*/ 201 w 314"/>
                <a:gd name="T15" fmla="*/ 130 h 346"/>
                <a:gd name="T16" fmla="*/ 157 w 314"/>
                <a:gd name="T17" fmla="*/ 87 h 346"/>
                <a:gd name="T18" fmla="*/ 114 w 314"/>
                <a:gd name="T19" fmla="*/ 130 h 346"/>
                <a:gd name="T20" fmla="*/ 143 w 314"/>
                <a:gd name="T21" fmla="*/ 170 h 346"/>
                <a:gd name="T22" fmla="*/ 105 w 314"/>
                <a:gd name="T23" fmla="*/ 346 h 346"/>
                <a:gd name="T24" fmla="*/ 209 w 314"/>
                <a:gd name="T25" fmla="*/ 346 h 346"/>
                <a:gd name="T26" fmla="*/ 172 w 314"/>
                <a:gd name="T27" fmla="*/ 170 h 346"/>
                <a:gd name="T28" fmla="*/ 201 w 314"/>
                <a:gd name="T29" fmla="*/ 130 h 346"/>
                <a:gd name="T30" fmla="*/ 89 w 314"/>
                <a:gd name="T31" fmla="*/ 130 h 346"/>
                <a:gd name="T32" fmla="*/ 122 w 314"/>
                <a:gd name="T33" fmla="*/ 65 h 346"/>
                <a:gd name="T34" fmla="*/ 101 w 314"/>
                <a:gd name="T35" fmla="*/ 43 h 346"/>
                <a:gd name="T36" fmla="*/ 57 w 314"/>
                <a:gd name="T37" fmla="*/ 130 h 346"/>
                <a:gd name="T38" fmla="*/ 101 w 314"/>
                <a:gd name="T39" fmla="*/ 216 h 346"/>
                <a:gd name="T40" fmla="*/ 122 w 314"/>
                <a:gd name="T41" fmla="*/ 195 h 346"/>
                <a:gd name="T42" fmla="*/ 89 w 314"/>
                <a:gd name="T43" fmla="*/ 130 h 346"/>
                <a:gd name="T44" fmla="*/ 249 w 314"/>
                <a:gd name="T45" fmla="*/ 0 h 346"/>
                <a:gd name="T46" fmla="*/ 227 w 314"/>
                <a:gd name="T47" fmla="*/ 22 h 346"/>
                <a:gd name="T48" fmla="*/ 282 w 314"/>
                <a:gd name="T49" fmla="*/ 130 h 346"/>
                <a:gd name="T50" fmla="*/ 227 w 314"/>
                <a:gd name="T51" fmla="*/ 238 h 346"/>
                <a:gd name="T52" fmla="*/ 249 w 314"/>
                <a:gd name="T53" fmla="*/ 260 h 346"/>
                <a:gd name="T54" fmla="*/ 314 w 314"/>
                <a:gd name="T55" fmla="*/ 130 h 346"/>
                <a:gd name="T56" fmla="*/ 249 w 314"/>
                <a:gd name="T57" fmla="*/ 0 h 346"/>
                <a:gd name="T58" fmla="*/ 214 w 314"/>
                <a:gd name="T59" fmla="*/ 43 h 346"/>
                <a:gd name="T60" fmla="*/ 193 w 314"/>
                <a:gd name="T61" fmla="*/ 65 h 346"/>
                <a:gd name="T62" fmla="*/ 226 w 314"/>
                <a:gd name="T63" fmla="*/ 130 h 346"/>
                <a:gd name="T64" fmla="*/ 193 w 314"/>
                <a:gd name="T65" fmla="*/ 195 h 346"/>
                <a:gd name="T66" fmla="*/ 214 w 314"/>
                <a:gd name="T67" fmla="*/ 216 h 346"/>
                <a:gd name="T68" fmla="*/ 258 w 314"/>
                <a:gd name="T69" fmla="*/ 130 h 346"/>
                <a:gd name="T70" fmla="*/ 214 w 314"/>
                <a:gd name="T71" fmla="*/ 43 h 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314" h="346">
                  <a:moveTo>
                    <a:pt x="88" y="238"/>
                  </a:moveTo>
                  <a:cubicBezTo>
                    <a:pt x="66" y="260"/>
                    <a:pt x="66" y="260"/>
                    <a:pt x="66" y="260"/>
                  </a:cubicBezTo>
                  <a:cubicBezTo>
                    <a:pt x="26" y="228"/>
                    <a:pt x="0" y="181"/>
                    <a:pt x="0" y="130"/>
                  </a:cubicBezTo>
                  <a:cubicBezTo>
                    <a:pt x="0" y="78"/>
                    <a:pt x="26" y="32"/>
                    <a:pt x="66" y="0"/>
                  </a:cubicBezTo>
                  <a:cubicBezTo>
                    <a:pt x="88" y="22"/>
                    <a:pt x="88" y="22"/>
                    <a:pt x="88" y="22"/>
                  </a:cubicBezTo>
                  <a:cubicBezTo>
                    <a:pt x="54" y="48"/>
                    <a:pt x="33" y="87"/>
                    <a:pt x="33" y="130"/>
                  </a:cubicBezTo>
                  <a:cubicBezTo>
                    <a:pt x="33" y="173"/>
                    <a:pt x="54" y="211"/>
                    <a:pt x="88" y="238"/>
                  </a:cubicBezTo>
                  <a:close/>
                  <a:moveTo>
                    <a:pt x="201" y="130"/>
                  </a:moveTo>
                  <a:cubicBezTo>
                    <a:pt x="201" y="106"/>
                    <a:pt x="181" y="87"/>
                    <a:pt x="157" y="87"/>
                  </a:cubicBezTo>
                  <a:cubicBezTo>
                    <a:pt x="134" y="87"/>
                    <a:pt x="114" y="106"/>
                    <a:pt x="114" y="130"/>
                  </a:cubicBezTo>
                  <a:cubicBezTo>
                    <a:pt x="114" y="149"/>
                    <a:pt x="126" y="164"/>
                    <a:pt x="143" y="170"/>
                  </a:cubicBezTo>
                  <a:cubicBezTo>
                    <a:pt x="105" y="346"/>
                    <a:pt x="105" y="346"/>
                    <a:pt x="105" y="346"/>
                  </a:cubicBezTo>
                  <a:cubicBezTo>
                    <a:pt x="209" y="346"/>
                    <a:pt x="209" y="346"/>
                    <a:pt x="209" y="346"/>
                  </a:cubicBezTo>
                  <a:cubicBezTo>
                    <a:pt x="172" y="170"/>
                    <a:pt x="172" y="170"/>
                    <a:pt x="172" y="170"/>
                  </a:cubicBezTo>
                  <a:cubicBezTo>
                    <a:pt x="189" y="164"/>
                    <a:pt x="201" y="149"/>
                    <a:pt x="201" y="130"/>
                  </a:cubicBezTo>
                  <a:close/>
                  <a:moveTo>
                    <a:pt x="89" y="130"/>
                  </a:moveTo>
                  <a:cubicBezTo>
                    <a:pt x="89" y="104"/>
                    <a:pt x="102" y="81"/>
                    <a:pt x="122" y="65"/>
                  </a:cubicBezTo>
                  <a:cubicBezTo>
                    <a:pt x="101" y="43"/>
                    <a:pt x="101" y="43"/>
                    <a:pt x="101" y="43"/>
                  </a:cubicBezTo>
                  <a:cubicBezTo>
                    <a:pt x="74" y="64"/>
                    <a:pt x="57" y="95"/>
                    <a:pt x="57" y="130"/>
                  </a:cubicBezTo>
                  <a:cubicBezTo>
                    <a:pt x="57" y="164"/>
                    <a:pt x="74" y="195"/>
                    <a:pt x="101" y="216"/>
                  </a:cubicBezTo>
                  <a:cubicBezTo>
                    <a:pt x="122" y="195"/>
                    <a:pt x="122" y="195"/>
                    <a:pt x="122" y="195"/>
                  </a:cubicBezTo>
                  <a:cubicBezTo>
                    <a:pt x="102" y="179"/>
                    <a:pt x="89" y="156"/>
                    <a:pt x="89" y="130"/>
                  </a:cubicBezTo>
                  <a:close/>
                  <a:moveTo>
                    <a:pt x="249" y="0"/>
                  </a:moveTo>
                  <a:cubicBezTo>
                    <a:pt x="227" y="22"/>
                    <a:pt x="227" y="22"/>
                    <a:pt x="227" y="22"/>
                  </a:cubicBezTo>
                  <a:cubicBezTo>
                    <a:pt x="261" y="48"/>
                    <a:pt x="282" y="87"/>
                    <a:pt x="282" y="130"/>
                  </a:cubicBezTo>
                  <a:cubicBezTo>
                    <a:pt x="282" y="173"/>
                    <a:pt x="261" y="211"/>
                    <a:pt x="227" y="238"/>
                  </a:cubicBezTo>
                  <a:cubicBezTo>
                    <a:pt x="249" y="260"/>
                    <a:pt x="249" y="260"/>
                    <a:pt x="249" y="260"/>
                  </a:cubicBezTo>
                  <a:cubicBezTo>
                    <a:pt x="289" y="228"/>
                    <a:pt x="314" y="181"/>
                    <a:pt x="314" y="130"/>
                  </a:cubicBezTo>
                  <a:cubicBezTo>
                    <a:pt x="314" y="78"/>
                    <a:pt x="289" y="32"/>
                    <a:pt x="249" y="0"/>
                  </a:cubicBezTo>
                  <a:close/>
                  <a:moveTo>
                    <a:pt x="214" y="43"/>
                  </a:moveTo>
                  <a:cubicBezTo>
                    <a:pt x="193" y="65"/>
                    <a:pt x="193" y="65"/>
                    <a:pt x="193" y="65"/>
                  </a:cubicBezTo>
                  <a:cubicBezTo>
                    <a:pt x="213" y="81"/>
                    <a:pt x="226" y="104"/>
                    <a:pt x="226" y="130"/>
                  </a:cubicBezTo>
                  <a:cubicBezTo>
                    <a:pt x="226" y="156"/>
                    <a:pt x="213" y="179"/>
                    <a:pt x="193" y="195"/>
                  </a:cubicBezTo>
                  <a:cubicBezTo>
                    <a:pt x="214" y="216"/>
                    <a:pt x="214" y="216"/>
                    <a:pt x="214" y="216"/>
                  </a:cubicBezTo>
                  <a:cubicBezTo>
                    <a:pt x="241" y="195"/>
                    <a:pt x="258" y="164"/>
                    <a:pt x="258" y="130"/>
                  </a:cubicBezTo>
                  <a:cubicBezTo>
                    <a:pt x="258" y="95"/>
                    <a:pt x="241" y="64"/>
                    <a:pt x="214" y="43"/>
                  </a:cubicBez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grpSp>
        <p:nvGrpSpPr>
          <p:cNvPr id="291" name="Group 17">
            <a:extLst>
              <a:ext uri="{FF2B5EF4-FFF2-40B4-BE49-F238E27FC236}">
                <a16:creationId xmlns:a16="http://schemas.microsoft.com/office/drawing/2014/main" xmlns="" id="{B16593D0-E9E0-4266-9CE2-55F5E4C12195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359896" y="1710642"/>
            <a:ext cx="364112" cy="275170"/>
            <a:chOff x="4385" y="1212"/>
            <a:chExt cx="393" cy="297"/>
          </a:xfrm>
          <a:effectLst>
            <a:outerShdw blurRad="101600" dist="76200" dir="2700000" algn="ctr" rotWithShape="0">
              <a:srgbClr val="000000">
                <a:alpha val="29000"/>
              </a:srgbClr>
            </a:outerShdw>
          </a:effectLst>
        </p:grpSpPr>
        <p:sp>
          <p:nvSpPr>
            <p:cNvPr id="292" name="AutoShape 16">
              <a:extLst>
                <a:ext uri="{FF2B5EF4-FFF2-40B4-BE49-F238E27FC236}">
                  <a16:creationId xmlns:a16="http://schemas.microsoft.com/office/drawing/2014/main" xmlns="" id="{8D983554-6837-4C39-A5E6-5C9F77C4DDF9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4385" y="1212"/>
              <a:ext cx="393" cy="2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93" name="Freeform 18">
              <a:extLst>
                <a:ext uri="{FF2B5EF4-FFF2-40B4-BE49-F238E27FC236}">
                  <a16:creationId xmlns:a16="http://schemas.microsoft.com/office/drawing/2014/main" xmlns="" id="{212E5E73-0042-41C4-90C6-1F2DADAD6D70}"/>
                </a:ext>
              </a:extLst>
            </p:cNvPr>
            <p:cNvSpPr>
              <a:spLocks/>
            </p:cNvSpPr>
            <p:nvPr/>
          </p:nvSpPr>
          <p:spPr bwMode="auto">
            <a:xfrm>
              <a:off x="4386" y="1211"/>
              <a:ext cx="393" cy="299"/>
            </a:xfrm>
            <a:custGeom>
              <a:avLst/>
              <a:gdLst>
                <a:gd name="T0" fmla="*/ 273 w 273"/>
                <a:gd name="T1" fmla="*/ 75 h 209"/>
                <a:gd name="T2" fmla="*/ 243 w 273"/>
                <a:gd name="T3" fmla="*/ 104 h 209"/>
                <a:gd name="T4" fmla="*/ 238 w 273"/>
                <a:gd name="T5" fmla="*/ 109 h 209"/>
                <a:gd name="T6" fmla="*/ 214 w 273"/>
                <a:gd name="T7" fmla="*/ 133 h 209"/>
                <a:gd name="T8" fmla="*/ 208 w 273"/>
                <a:gd name="T9" fmla="*/ 138 h 209"/>
                <a:gd name="T10" fmla="*/ 184 w 273"/>
                <a:gd name="T11" fmla="*/ 162 h 209"/>
                <a:gd name="T12" fmla="*/ 179 w 273"/>
                <a:gd name="T13" fmla="*/ 167 h 209"/>
                <a:gd name="T14" fmla="*/ 136 w 273"/>
                <a:gd name="T15" fmla="*/ 209 h 209"/>
                <a:gd name="T16" fmla="*/ 94 w 273"/>
                <a:gd name="T17" fmla="*/ 167 h 209"/>
                <a:gd name="T18" fmla="*/ 89 w 273"/>
                <a:gd name="T19" fmla="*/ 162 h 209"/>
                <a:gd name="T20" fmla="*/ 65 w 273"/>
                <a:gd name="T21" fmla="*/ 138 h 209"/>
                <a:gd name="T22" fmla="*/ 59 w 273"/>
                <a:gd name="T23" fmla="*/ 133 h 209"/>
                <a:gd name="T24" fmla="*/ 35 w 273"/>
                <a:gd name="T25" fmla="*/ 109 h 209"/>
                <a:gd name="T26" fmla="*/ 30 w 273"/>
                <a:gd name="T27" fmla="*/ 104 h 209"/>
                <a:gd name="T28" fmla="*/ 0 w 273"/>
                <a:gd name="T29" fmla="*/ 75 h 209"/>
                <a:gd name="T30" fmla="*/ 8 w 273"/>
                <a:gd name="T31" fmla="*/ 65 h 209"/>
                <a:gd name="T32" fmla="*/ 137 w 273"/>
                <a:gd name="T33" fmla="*/ 0 h 209"/>
                <a:gd name="T34" fmla="*/ 265 w 273"/>
                <a:gd name="T35" fmla="*/ 65 h 209"/>
                <a:gd name="T36" fmla="*/ 273 w 273"/>
                <a:gd name="T37" fmla="*/ 75 h 2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73" h="209">
                  <a:moveTo>
                    <a:pt x="273" y="75"/>
                  </a:moveTo>
                  <a:cubicBezTo>
                    <a:pt x="243" y="104"/>
                    <a:pt x="243" y="104"/>
                    <a:pt x="243" y="104"/>
                  </a:cubicBezTo>
                  <a:cubicBezTo>
                    <a:pt x="238" y="109"/>
                    <a:pt x="238" y="109"/>
                    <a:pt x="238" y="109"/>
                  </a:cubicBezTo>
                  <a:cubicBezTo>
                    <a:pt x="214" y="133"/>
                    <a:pt x="214" y="133"/>
                    <a:pt x="214" y="133"/>
                  </a:cubicBezTo>
                  <a:cubicBezTo>
                    <a:pt x="208" y="138"/>
                    <a:pt x="208" y="138"/>
                    <a:pt x="208" y="138"/>
                  </a:cubicBezTo>
                  <a:cubicBezTo>
                    <a:pt x="184" y="162"/>
                    <a:pt x="184" y="162"/>
                    <a:pt x="184" y="162"/>
                  </a:cubicBezTo>
                  <a:cubicBezTo>
                    <a:pt x="179" y="167"/>
                    <a:pt x="179" y="167"/>
                    <a:pt x="179" y="167"/>
                  </a:cubicBezTo>
                  <a:cubicBezTo>
                    <a:pt x="136" y="209"/>
                    <a:pt x="136" y="209"/>
                    <a:pt x="136" y="209"/>
                  </a:cubicBezTo>
                  <a:cubicBezTo>
                    <a:pt x="94" y="167"/>
                    <a:pt x="94" y="167"/>
                    <a:pt x="94" y="167"/>
                  </a:cubicBezTo>
                  <a:cubicBezTo>
                    <a:pt x="89" y="162"/>
                    <a:pt x="89" y="162"/>
                    <a:pt x="89" y="162"/>
                  </a:cubicBezTo>
                  <a:cubicBezTo>
                    <a:pt x="65" y="138"/>
                    <a:pt x="65" y="138"/>
                    <a:pt x="65" y="138"/>
                  </a:cubicBezTo>
                  <a:cubicBezTo>
                    <a:pt x="59" y="133"/>
                    <a:pt x="59" y="133"/>
                    <a:pt x="59" y="133"/>
                  </a:cubicBezTo>
                  <a:cubicBezTo>
                    <a:pt x="35" y="109"/>
                    <a:pt x="35" y="109"/>
                    <a:pt x="35" y="109"/>
                  </a:cubicBezTo>
                  <a:cubicBezTo>
                    <a:pt x="30" y="104"/>
                    <a:pt x="30" y="104"/>
                    <a:pt x="30" y="104"/>
                  </a:cubicBezTo>
                  <a:cubicBezTo>
                    <a:pt x="0" y="75"/>
                    <a:pt x="0" y="75"/>
                    <a:pt x="0" y="75"/>
                  </a:cubicBezTo>
                  <a:cubicBezTo>
                    <a:pt x="8" y="65"/>
                    <a:pt x="8" y="65"/>
                    <a:pt x="8" y="65"/>
                  </a:cubicBezTo>
                  <a:cubicBezTo>
                    <a:pt x="41" y="23"/>
                    <a:pt x="87" y="0"/>
                    <a:pt x="137" y="0"/>
                  </a:cubicBezTo>
                  <a:cubicBezTo>
                    <a:pt x="186" y="0"/>
                    <a:pt x="232" y="23"/>
                    <a:pt x="265" y="65"/>
                  </a:cubicBezTo>
                  <a:lnTo>
                    <a:pt x="273" y="7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94" name="Freeform 19">
              <a:extLst>
                <a:ext uri="{FF2B5EF4-FFF2-40B4-BE49-F238E27FC236}">
                  <a16:creationId xmlns:a16="http://schemas.microsoft.com/office/drawing/2014/main" xmlns="" id="{C2F3481A-1E48-4324-B027-1FDE8E2A2B9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14" y="1231"/>
              <a:ext cx="338" cy="252"/>
            </a:xfrm>
            <a:custGeom>
              <a:avLst/>
              <a:gdLst>
                <a:gd name="T0" fmla="*/ 118 w 235"/>
                <a:gd name="T1" fmla="*/ 66 h 176"/>
                <a:gd name="T2" fmla="*/ 191 w 235"/>
                <a:gd name="T3" fmla="*/ 103 h 176"/>
                <a:gd name="T4" fmla="*/ 206 w 235"/>
                <a:gd name="T5" fmla="*/ 89 h 176"/>
                <a:gd name="T6" fmla="*/ 118 w 235"/>
                <a:gd name="T7" fmla="*/ 44 h 176"/>
                <a:gd name="T8" fmla="*/ 29 w 235"/>
                <a:gd name="T9" fmla="*/ 89 h 176"/>
                <a:gd name="T10" fmla="*/ 44 w 235"/>
                <a:gd name="T11" fmla="*/ 103 h 176"/>
                <a:gd name="T12" fmla="*/ 118 w 235"/>
                <a:gd name="T13" fmla="*/ 66 h 176"/>
                <a:gd name="T14" fmla="*/ 74 w 235"/>
                <a:gd name="T15" fmla="*/ 132 h 176"/>
                <a:gd name="T16" fmla="*/ 59 w 235"/>
                <a:gd name="T17" fmla="*/ 118 h 176"/>
                <a:gd name="T18" fmla="*/ 118 w 235"/>
                <a:gd name="T19" fmla="*/ 88 h 176"/>
                <a:gd name="T20" fmla="*/ 176 w 235"/>
                <a:gd name="T21" fmla="*/ 118 h 176"/>
                <a:gd name="T22" fmla="*/ 161 w 235"/>
                <a:gd name="T23" fmla="*/ 132 h 176"/>
                <a:gd name="T24" fmla="*/ 118 w 235"/>
                <a:gd name="T25" fmla="*/ 110 h 176"/>
                <a:gd name="T26" fmla="*/ 74 w 235"/>
                <a:gd name="T27" fmla="*/ 132 h 176"/>
                <a:gd name="T28" fmla="*/ 147 w 235"/>
                <a:gd name="T29" fmla="*/ 147 h 176"/>
                <a:gd name="T30" fmla="*/ 118 w 235"/>
                <a:gd name="T31" fmla="*/ 176 h 176"/>
                <a:gd name="T32" fmla="*/ 88 w 235"/>
                <a:gd name="T33" fmla="*/ 147 h 176"/>
                <a:gd name="T34" fmla="*/ 118 w 235"/>
                <a:gd name="T35" fmla="*/ 132 h 176"/>
                <a:gd name="T36" fmla="*/ 147 w 235"/>
                <a:gd name="T37" fmla="*/ 147 h 176"/>
                <a:gd name="T38" fmla="*/ 15 w 235"/>
                <a:gd name="T39" fmla="*/ 74 h 176"/>
                <a:gd name="T40" fmla="*/ 0 w 235"/>
                <a:gd name="T41" fmla="*/ 59 h 176"/>
                <a:gd name="T42" fmla="*/ 118 w 235"/>
                <a:gd name="T43" fmla="*/ 0 h 176"/>
                <a:gd name="T44" fmla="*/ 235 w 235"/>
                <a:gd name="T45" fmla="*/ 59 h 176"/>
                <a:gd name="T46" fmla="*/ 220 w 235"/>
                <a:gd name="T47" fmla="*/ 74 h 176"/>
                <a:gd name="T48" fmla="*/ 118 w 235"/>
                <a:gd name="T49" fmla="*/ 22 h 176"/>
                <a:gd name="T50" fmla="*/ 15 w 235"/>
                <a:gd name="T51" fmla="*/ 74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35" h="176">
                  <a:moveTo>
                    <a:pt x="118" y="66"/>
                  </a:moveTo>
                  <a:cubicBezTo>
                    <a:pt x="147" y="66"/>
                    <a:pt x="173" y="80"/>
                    <a:pt x="191" y="103"/>
                  </a:cubicBezTo>
                  <a:cubicBezTo>
                    <a:pt x="206" y="89"/>
                    <a:pt x="206" y="89"/>
                    <a:pt x="206" y="89"/>
                  </a:cubicBezTo>
                  <a:cubicBezTo>
                    <a:pt x="184" y="61"/>
                    <a:pt x="153" y="44"/>
                    <a:pt x="118" y="44"/>
                  </a:cubicBezTo>
                  <a:cubicBezTo>
                    <a:pt x="82" y="44"/>
                    <a:pt x="51" y="61"/>
                    <a:pt x="29" y="89"/>
                  </a:cubicBezTo>
                  <a:cubicBezTo>
                    <a:pt x="44" y="103"/>
                    <a:pt x="44" y="103"/>
                    <a:pt x="44" y="103"/>
                  </a:cubicBezTo>
                  <a:cubicBezTo>
                    <a:pt x="62" y="80"/>
                    <a:pt x="88" y="66"/>
                    <a:pt x="118" y="66"/>
                  </a:cubicBezTo>
                  <a:close/>
                  <a:moveTo>
                    <a:pt x="74" y="132"/>
                  </a:moveTo>
                  <a:cubicBezTo>
                    <a:pt x="59" y="118"/>
                    <a:pt x="59" y="118"/>
                    <a:pt x="59" y="118"/>
                  </a:cubicBezTo>
                  <a:cubicBezTo>
                    <a:pt x="73" y="99"/>
                    <a:pt x="94" y="88"/>
                    <a:pt x="118" y="88"/>
                  </a:cubicBezTo>
                  <a:cubicBezTo>
                    <a:pt x="141" y="88"/>
                    <a:pt x="162" y="99"/>
                    <a:pt x="176" y="118"/>
                  </a:cubicBezTo>
                  <a:cubicBezTo>
                    <a:pt x="161" y="132"/>
                    <a:pt x="161" y="132"/>
                    <a:pt x="161" y="132"/>
                  </a:cubicBezTo>
                  <a:cubicBezTo>
                    <a:pt x="151" y="118"/>
                    <a:pt x="135" y="110"/>
                    <a:pt x="118" y="110"/>
                  </a:cubicBezTo>
                  <a:cubicBezTo>
                    <a:pt x="100" y="110"/>
                    <a:pt x="84" y="118"/>
                    <a:pt x="74" y="132"/>
                  </a:cubicBezTo>
                  <a:close/>
                  <a:moveTo>
                    <a:pt x="147" y="147"/>
                  </a:moveTo>
                  <a:cubicBezTo>
                    <a:pt x="118" y="176"/>
                    <a:pt x="118" y="176"/>
                    <a:pt x="118" y="176"/>
                  </a:cubicBezTo>
                  <a:cubicBezTo>
                    <a:pt x="88" y="147"/>
                    <a:pt x="88" y="147"/>
                    <a:pt x="88" y="147"/>
                  </a:cubicBezTo>
                  <a:cubicBezTo>
                    <a:pt x="95" y="138"/>
                    <a:pt x="106" y="132"/>
                    <a:pt x="118" y="132"/>
                  </a:cubicBezTo>
                  <a:cubicBezTo>
                    <a:pt x="129" y="132"/>
                    <a:pt x="140" y="138"/>
                    <a:pt x="147" y="147"/>
                  </a:cubicBezTo>
                  <a:close/>
                  <a:moveTo>
                    <a:pt x="15" y="74"/>
                  </a:moveTo>
                  <a:cubicBezTo>
                    <a:pt x="0" y="59"/>
                    <a:pt x="0" y="59"/>
                    <a:pt x="0" y="59"/>
                  </a:cubicBezTo>
                  <a:cubicBezTo>
                    <a:pt x="29" y="23"/>
                    <a:pt x="71" y="0"/>
                    <a:pt x="118" y="0"/>
                  </a:cubicBezTo>
                  <a:cubicBezTo>
                    <a:pt x="164" y="0"/>
                    <a:pt x="206" y="23"/>
                    <a:pt x="235" y="59"/>
                  </a:cubicBezTo>
                  <a:cubicBezTo>
                    <a:pt x="220" y="74"/>
                    <a:pt x="220" y="74"/>
                    <a:pt x="220" y="74"/>
                  </a:cubicBezTo>
                  <a:cubicBezTo>
                    <a:pt x="195" y="42"/>
                    <a:pt x="158" y="22"/>
                    <a:pt x="118" y="22"/>
                  </a:cubicBezTo>
                  <a:cubicBezTo>
                    <a:pt x="77" y="22"/>
                    <a:pt x="40" y="42"/>
                    <a:pt x="15" y="74"/>
                  </a:cubicBez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grpSp>
        <p:nvGrpSpPr>
          <p:cNvPr id="295" name="Group 94">
            <a:extLst>
              <a:ext uri="{FF2B5EF4-FFF2-40B4-BE49-F238E27FC236}">
                <a16:creationId xmlns:a16="http://schemas.microsoft.com/office/drawing/2014/main" xmlns="" id="{89EF69DF-F165-4605-92EF-C8038EB5C928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873788" y="1660471"/>
            <a:ext cx="397711" cy="404095"/>
            <a:chOff x="2444" y="1717"/>
            <a:chExt cx="872" cy="886"/>
          </a:xfrm>
          <a:effectLst>
            <a:outerShdw blurRad="101600" dist="50800" dir="2700000" algn="ctr" rotWithShape="0">
              <a:srgbClr val="000000">
                <a:alpha val="29000"/>
              </a:srgbClr>
            </a:outerShdw>
          </a:effectLst>
        </p:grpSpPr>
        <p:sp>
          <p:nvSpPr>
            <p:cNvPr id="296" name="AutoShape 93">
              <a:extLst>
                <a:ext uri="{FF2B5EF4-FFF2-40B4-BE49-F238E27FC236}">
                  <a16:creationId xmlns:a16="http://schemas.microsoft.com/office/drawing/2014/main" xmlns="" id="{36FD37AE-6F6E-444A-9883-EC06172FA4DE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444" y="1717"/>
              <a:ext cx="872" cy="88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97" name="Freeform 95">
              <a:extLst>
                <a:ext uri="{FF2B5EF4-FFF2-40B4-BE49-F238E27FC236}">
                  <a16:creationId xmlns:a16="http://schemas.microsoft.com/office/drawing/2014/main" xmlns="" id="{D6D4F6E7-0186-425C-B40A-3EC03B92A61A}"/>
                </a:ext>
              </a:extLst>
            </p:cNvPr>
            <p:cNvSpPr>
              <a:spLocks/>
            </p:cNvSpPr>
            <p:nvPr/>
          </p:nvSpPr>
          <p:spPr bwMode="auto">
            <a:xfrm>
              <a:off x="2444" y="1715"/>
              <a:ext cx="870" cy="888"/>
            </a:xfrm>
            <a:custGeom>
              <a:avLst/>
              <a:gdLst>
                <a:gd name="T0" fmla="*/ 368 w 368"/>
                <a:gd name="T1" fmla="*/ 152 h 376"/>
                <a:gd name="T2" fmla="*/ 298 w 368"/>
                <a:gd name="T3" fmla="*/ 291 h 376"/>
                <a:gd name="T4" fmla="*/ 281 w 368"/>
                <a:gd name="T5" fmla="*/ 304 h 376"/>
                <a:gd name="T6" fmla="*/ 242 w 368"/>
                <a:gd name="T7" fmla="*/ 264 h 376"/>
                <a:gd name="T8" fmla="*/ 221 w 368"/>
                <a:gd name="T9" fmla="*/ 243 h 376"/>
                <a:gd name="T10" fmla="*/ 221 w 368"/>
                <a:gd name="T11" fmla="*/ 376 h 376"/>
                <a:gd name="T12" fmla="*/ 147 w 368"/>
                <a:gd name="T13" fmla="*/ 376 h 376"/>
                <a:gd name="T14" fmla="*/ 147 w 368"/>
                <a:gd name="T15" fmla="*/ 243 h 376"/>
                <a:gd name="T16" fmla="*/ 126 w 368"/>
                <a:gd name="T17" fmla="*/ 264 h 376"/>
                <a:gd name="T18" fmla="*/ 126 w 368"/>
                <a:gd name="T19" fmla="*/ 264 h 376"/>
                <a:gd name="T20" fmla="*/ 87 w 368"/>
                <a:gd name="T21" fmla="*/ 304 h 376"/>
                <a:gd name="T22" fmla="*/ 70 w 368"/>
                <a:gd name="T23" fmla="*/ 291 h 376"/>
                <a:gd name="T24" fmla="*/ 0 w 368"/>
                <a:gd name="T25" fmla="*/ 152 h 376"/>
                <a:gd name="T26" fmla="*/ 70 w 368"/>
                <a:gd name="T27" fmla="*/ 13 h 376"/>
                <a:gd name="T28" fmla="*/ 87 w 368"/>
                <a:gd name="T29" fmla="*/ 0 h 376"/>
                <a:gd name="T30" fmla="*/ 126 w 368"/>
                <a:gd name="T31" fmla="*/ 40 h 376"/>
                <a:gd name="T32" fmla="*/ 126 w 368"/>
                <a:gd name="T33" fmla="*/ 40 h 376"/>
                <a:gd name="T34" fmla="*/ 174 w 368"/>
                <a:gd name="T35" fmla="*/ 89 h 376"/>
                <a:gd name="T36" fmla="*/ 194 w 368"/>
                <a:gd name="T37" fmla="*/ 89 h 376"/>
                <a:gd name="T38" fmla="*/ 242 w 368"/>
                <a:gd name="T39" fmla="*/ 40 h 376"/>
                <a:gd name="T40" fmla="*/ 281 w 368"/>
                <a:gd name="T41" fmla="*/ 0 h 376"/>
                <a:gd name="T42" fmla="*/ 298 w 368"/>
                <a:gd name="T43" fmla="*/ 13 h 376"/>
                <a:gd name="T44" fmla="*/ 368 w 368"/>
                <a:gd name="T45" fmla="*/ 152 h 3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68" h="376">
                  <a:moveTo>
                    <a:pt x="368" y="152"/>
                  </a:moveTo>
                  <a:cubicBezTo>
                    <a:pt x="368" y="205"/>
                    <a:pt x="343" y="256"/>
                    <a:pt x="298" y="291"/>
                  </a:cubicBezTo>
                  <a:cubicBezTo>
                    <a:pt x="281" y="304"/>
                    <a:pt x="281" y="304"/>
                    <a:pt x="281" y="304"/>
                  </a:cubicBezTo>
                  <a:cubicBezTo>
                    <a:pt x="242" y="264"/>
                    <a:pt x="242" y="264"/>
                    <a:pt x="242" y="264"/>
                  </a:cubicBezTo>
                  <a:cubicBezTo>
                    <a:pt x="221" y="243"/>
                    <a:pt x="221" y="243"/>
                    <a:pt x="221" y="243"/>
                  </a:cubicBezTo>
                  <a:cubicBezTo>
                    <a:pt x="221" y="376"/>
                    <a:pt x="221" y="376"/>
                    <a:pt x="221" y="376"/>
                  </a:cubicBezTo>
                  <a:cubicBezTo>
                    <a:pt x="147" y="376"/>
                    <a:pt x="147" y="376"/>
                    <a:pt x="147" y="376"/>
                  </a:cubicBezTo>
                  <a:cubicBezTo>
                    <a:pt x="147" y="243"/>
                    <a:pt x="147" y="243"/>
                    <a:pt x="147" y="243"/>
                  </a:cubicBezTo>
                  <a:cubicBezTo>
                    <a:pt x="126" y="264"/>
                    <a:pt x="126" y="264"/>
                    <a:pt x="126" y="264"/>
                  </a:cubicBezTo>
                  <a:cubicBezTo>
                    <a:pt x="126" y="264"/>
                    <a:pt x="126" y="264"/>
                    <a:pt x="126" y="264"/>
                  </a:cubicBezTo>
                  <a:cubicBezTo>
                    <a:pt x="87" y="304"/>
                    <a:pt x="87" y="304"/>
                    <a:pt x="87" y="304"/>
                  </a:cubicBezTo>
                  <a:cubicBezTo>
                    <a:pt x="70" y="291"/>
                    <a:pt x="70" y="291"/>
                    <a:pt x="70" y="291"/>
                  </a:cubicBezTo>
                  <a:cubicBezTo>
                    <a:pt x="25" y="256"/>
                    <a:pt x="0" y="205"/>
                    <a:pt x="0" y="152"/>
                  </a:cubicBezTo>
                  <a:cubicBezTo>
                    <a:pt x="0" y="99"/>
                    <a:pt x="26" y="48"/>
                    <a:pt x="70" y="13"/>
                  </a:cubicBezTo>
                  <a:cubicBezTo>
                    <a:pt x="87" y="0"/>
                    <a:pt x="87" y="0"/>
                    <a:pt x="87" y="0"/>
                  </a:cubicBezTo>
                  <a:cubicBezTo>
                    <a:pt x="126" y="40"/>
                    <a:pt x="126" y="40"/>
                    <a:pt x="126" y="40"/>
                  </a:cubicBezTo>
                  <a:cubicBezTo>
                    <a:pt x="126" y="40"/>
                    <a:pt x="126" y="40"/>
                    <a:pt x="126" y="40"/>
                  </a:cubicBezTo>
                  <a:cubicBezTo>
                    <a:pt x="174" y="89"/>
                    <a:pt x="174" y="89"/>
                    <a:pt x="174" y="89"/>
                  </a:cubicBezTo>
                  <a:cubicBezTo>
                    <a:pt x="181" y="88"/>
                    <a:pt x="187" y="88"/>
                    <a:pt x="194" y="89"/>
                  </a:cubicBezTo>
                  <a:cubicBezTo>
                    <a:pt x="242" y="40"/>
                    <a:pt x="242" y="40"/>
                    <a:pt x="242" y="40"/>
                  </a:cubicBezTo>
                  <a:cubicBezTo>
                    <a:pt x="281" y="0"/>
                    <a:pt x="281" y="0"/>
                    <a:pt x="281" y="0"/>
                  </a:cubicBezTo>
                  <a:cubicBezTo>
                    <a:pt x="298" y="13"/>
                    <a:pt x="298" y="13"/>
                    <a:pt x="298" y="13"/>
                  </a:cubicBezTo>
                  <a:cubicBezTo>
                    <a:pt x="343" y="48"/>
                    <a:pt x="368" y="99"/>
                    <a:pt x="368" y="15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98" name="Freeform 96">
              <a:extLst>
                <a:ext uri="{FF2B5EF4-FFF2-40B4-BE49-F238E27FC236}">
                  <a16:creationId xmlns:a16="http://schemas.microsoft.com/office/drawing/2014/main" xmlns="" id="{72B3E889-EC66-4EDD-89D5-713B09F936A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01" y="1790"/>
              <a:ext cx="756" cy="756"/>
            </a:xfrm>
            <a:custGeom>
              <a:avLst/>
              <a:gdLst>
                <a:gd name="T0" fmla="*/ 61 w 320"/>
                <a:gd name="T1" fmla="*/ 240 h 320"/>
                <a:gd name="T2" fmla="*/ 0 w 320"/>
                <a:gd name="T3" fmla="*/ 120 h 320"/>
                <a:gd name="T4" fmla="*/ 61 w 320"/>
                <a:gd name="T5" fmla="*/ 0 h 320"/>
                <a:gd name="T6" fmla="*/ 81 w 320"/>
                <a:gd name="T7" fmla="*/ 20 h 320"/>
                <a:gd name="T8" fmla="*/ 30 w 320"/>
                <a:gd name="T9" fmla="*/ 120 h 320"/>
                <a:gd name="T10" fmla="*/ 81 w 320"/>
                <a:gd name="T11" fmla="*/ 220 h 320"/>
                <a:gd name="T12" fmla="*/ 61 w 320"/>
                <a:gd name="T13" fmla="*/ 240 h 320"/>
                <a:gd name="T14" fmla="*/ 100 w 320"/>
                <a:gd name="T15" fmla="*/ 200 h 320"/>
                <a:gd name="T16" fmla="*/ 60 w 320"/>
                <a:gd name="T17" fmla="*/ 120 h 320"/>
                <a:gd name="T18" fmla="*/ 100 w 320"/>
                <a:gd name="T19" fmla="*/ 40 h 320"/>
                <a:gd name="T20" fmla="*/ 120 w 320"/>
                <a:gd name="T21" fmla="*/ 60 h 320"/>
                <a:gd name="T22" fmla="*/ 90 w 320"/>
                <a:gd name="T23" fmla="*/ 120 h 320"/>
                <a:gd name="T24" fmla="*/ 120 w 320"/>
                <a:gd name="T25" fmla="*/ 180 h 320"/>
                <a:gd name="T26" fmla="*/ 100 w 320"/>
                <a:gd name="T27" fmla="*/ 200 h 320"/>
                <a:gd name="T28" fmla="*/ 173 w 320"/>
                <a:gd name="T29" fmla="*/ 158 h 320"/>
                <a:gd name="T30" fmla="*/ 173 w 320"/>
                <a:gd name="T31" fmla="*/ 320 h 320"/>
                <a:gd name="T32" fmla="*/ 147 w 320"/>
                <a:gd name="T33" fmla="*/ 320 h 320"/>
                <a:gd name="T34" fmla="*/ 147 w 320"/>
                <a:gd name="T35" fmla="*/ 158 h 320"/>
                <a:gd name="T36" fmla="*/ 120 w 320"/>
                <a:gd name="T37" fmla="*/ 120 h 320"/>
                <a:gd name="T38" fmla="*/ 160 w 320"/>
                <a:gd name="T39" fmla="*/ 80 h 320"/>
                <a:gd name="T40" fmla="*/ 200 w 320"/>
                <a:gd name="T41" fmla="*/ 120 h 320"/>
                <a:gd name="T42" fmla="*/ 173 w 320"/>
                <a:gd name="T43" fmla="*/ 158 h 320"/>
                <a:gd name="T44" fmla="*/ 220 w 320"/>
                <a:gd name="T45" fmla="*/ 200 h 320"/>
                <a:gd name="T46" fmla="*/ 200 w 320"/>
                <a:gd name="T47" fmla="*/ 180 h 320"/>
                <a:gd name="T48" fmla="*/ 230 w 320"/>
                <a:gd name="T49" fmla="*/ 120 h 320"/>
                <a:gd name="T50" fmla="*/ 200 w 320"/>
                <a:gd name="T51" fmla="*/ 60 h 320"/>
                <a:gd name="T52" fmla="*/ 220 w 320"/>
                <a:gd name="T53" fmla="*/ 40 h 320"/>
                <a:gd name="T54" fmla="*/ 260 w 320"/>
                <a:gd name="T55" fmla="*/ 120 h 320"/>
                <a:gd name="T56" fmla="*/ 220 w 320"/>
                <a:gd name="T57" fmla="*/ 200 h 320"/>
                <a:gd name="T58" fmla="*/ 259 w 320"/>
                <a:gd name="T59" fmla="*/ 240 h 320"/>
                <a:gd name="T60" fmla="*/ 239 w 320"/>
                <a:gd name="T61" fmla="*/ 220 h 320"/>
                <a:gd name="T62" fmla="*/ 290 w 320"/>
                <a:gd name="T63" fmla="*/ 120 h 320"/>
                <a:gd name="T64" fmla="*/ 239 w 320"/>
                <a:gd name="T65" fmla="*/ 20 h 320"/>
                <a:gd name="T66" fmla="*/ 259 w 320"/>
                <a:gd name="T67" fmla="*/ 0 h 320"/>
                <a:gd name="T68" fmla="*/ 320 w 320"/>
                <a:gd name="T69" fmla="*/ 120 h 320"/>
                <a:gd name="T70" fmla="*/ 259 w 320"/>
                <a:gd name="T71" fmla="*/ 240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320" h="320">
                  <a:moveTo>
                    <a:pt x="61" y="240"/>
                  </a:moveTo>
                  <a:cubicBezTo>
                    <a:pt x="24" y="211"/>
                    <a:pt x="0" y="168"/>
                    <a:pt x="0" y="120"/>
                  </a:cubicBezTo>
                  <a:cubicBezTo>
                    <a:pt x="0" y="72"/>
                    <a:pt x="24" y="29"/>
                    <a:pt x="61" y="0"/>
                  </a:cubicBezTo>
                  <a:cubicBezTo>
                    <a:pt x="81" y="20"/>
                    <a:pt x="81" y="20"/>
                    <a:pt x="81" y="20"/>
                  </a:cubicBezTo>
                  <a:cubicBezTo>
                    <a:pt x="50" y="45"/>
                    <a:pt x="30" y="80"/>
                    <a:pt x="30" y="120"/>
                  </a:cubicBezTo>
                  <a:cubicBezTo>
                    <a:pt x="30" y="160"/>
                    <a:pt x="50" y="195"/>
                    <a:pt x="81" y="220"/>
                  </a:cubicBezTo>
                  <a:lnTo>
                    <a:pt x="61" y="240"/>
                  </a:lnTo>
                  <a:close/>
                  <a:moveTo>
                    <a:pt x="100" y="200"/>
                  </a:moveTo>
                  <a:cubicBezTo>
                    <a:pt x="75" y="180"/>
                    <a:pt x="60" y="152"/>
                    <a:pt x="60" y="120"/>
                  </a:cubicBezTo>
                  <a:cubicBezTo>
                    <a:pt x="60" y="88"/>
                    <a:pt x="75" y="60"/>
                    <a:pt x="100" y="40"/>
                  </a:cubicBezTo>
                  <a:cubicBezTo>
                    <a:pt x="120" y="60"/>
                    <a:pt x="120" y="60"/>
                    <a:pt x="120" y="60"/>
                  </a:cubicBezTo>
                  <a:cubicBezTo>
                    <a:pt x="101" y="75"/>
                    <a:pt x="90" y="96"/>
                    <a:pt x="90" y="120"/>
                  </a:cubicBezTo>
                  <a:cubicBezTo>
                    <a:pt x="90" y="144"/>
                    <a:pt x="101" y="165"/>
                    <a:pt x="120" y="180"/>
                  </a:cubicBezTo>
                  <a:lnTo>
                    <a:pt x="100" y="200"/>
                  </a:lnTo>
                  <a:close/>
                  <a:moveTo>
                    <a:pt x="173" y="158"/>
                  </a:moveTo>
                  <a:cubicBezTo>
                    <a:pt x="173" y="320"/>
                    <a:pt x="173" y="320"/>
                    <a:pt x="173" y="320"/>
                  </a:cubicBezTo>
                  <a:cubicBezTo>
                    <a:pt x="147" y="320"/>
                    <a:pt x="147" y="320"/>
                    <a:pt x="147" y="320"/>
                  </a:cubicBezTo>
                  <a:cubicBezTo>
                    <a:pt x="147" y="158"/>
                    <a:pt x="147" y="158"/>
                    <a:pt x="147" y="158"/>
                  </a:cubicBezTo>
                  <a:cubicBezTo>
                    <a:pt x="131" y="152"/>
                    <a:pt x="120" y="137"/>
                    <a:pt x="120" y="120"/>
                  </a:cubicBezTo>
                  <a:cubicBezTo>
                    <a:pt x="120" y="98"/>
                    <a:pt x="138" y="80"/>
                    <a:pt x="160" y="80"/>
                  </a:cubicBezTo>
                  <a:cubicBezTo>
                    <a:pt x="182" y="80"/>
                    <a:pt x="200" y="98"/>
                    <a:pt x="200" y="120"/>
                  </a:cubicBezTo>
                  <a:cubicBezTo>
                    <a:pt x="200" y="137"/>
                    <a:pt x="189" y="152"/>
                    <a:pt x="173" y="158"/>
                  </a:cubicBezTo>
                  <a:close/>
                  <a:moveTo>
                    <a:pt x="220" y="200"/>
                  </a:moveTo>
                  <a:cubicBezTo>
                    <a:pt x="200" y="180"/>
                    <a:pt x="200" y="180"/>
                    <a:pt x="200" y="180"/>
                  </a:cubicBezTo>
                  <a:cubicBezTo>
                    <a:pt x="219" y="165"/>
                    <a:pt x="230" y="144"/>
                    <a:pt x="230" y="120"/>
                  </a:cubicBezTo>
                  <a:cubicBezTo>
                    <a:pt x="230" y="96"/>
                    <a:pt x="219" y="75"/>
                    <a:pt x="200" y="60"/>
                  </a:cubicBezTo>
                  <a:cubicBezTo>
                    <a:pt x="220" y="40"/>
                    <a:pt x="220" y="40"/>
                    <a:pt x="220" y="40"/>
                  </a:cubicBezTo>
                  <a:cubicBezTo>
                    <a:pt x="245" y="60"/>
                    <a:pt x="260" y="88"/>
                    <a:pt x="260" y="120"/>
                  </a:cubicBezTo>
                  <a:cubicBezTo>
                    <a:pt x="260" y="152"/>
                    <a:pt x="245" y="180"/>
                    <a:pt x="220" y="200"/>
                  </a:cubicBezTo>
                  <a:close/>
                  <a:moveTo>
                    <a:pt x="259" y="240"/>
                  </a:moveTo>
                  <a:cubicBezTo>
                    <a:pt x="239" y="220"/>
                    <a:pt x="239" y="220"/>
                    <a:pt x="239" y="220"/>
                  </a:cubicBezTo>
                  <a:cubicBezTo>
                    <a:pt x="270" y="195"/>
                    <a:pt x="290" y="160"/>
                    <a:pt x="290" y="120"/>
                  </a:cubicBezTo>
                  <a:cubicBezTo>
                    <a:pt x="290" y="80"/>
                    <a:pt x="270" y="45"/>
                    <a:pt x="239" y="20"/>
                  </a:cubicBezTo>
                  <a:cubicBezTo>
                    <a:pt x="259" y="0"/>
                    <a:pt x="259" y="0"/>
                    <a:pt x="259" y="0"/>
                  </a:cubicBezTo>
                  <a:cubicBezTo>
                    <a:pt x="296" y="29"/>
                    <a:pt x="320" y="72"/>
                    <a:pt x="320" y="120"/>
                  </a:cubicBezTo>
                  <a:cubicBezTo>
                    <a:pt x="320" y="168"/>
                    <a:pt x="296" y="211"/>
                    <a:pt x="259" y="240"/>
                  </a:cubicBez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grpSp>
        <p:nvGrpSpPr>
          <p:cNvPr id="299" name="Group 11">
            <a:extLst>
              <a:ext uri="{FF2B5EF4-FFF2-40B4-BE49-F238E27FC236}">
                <a16:creationId xmlns:a16="http://schemas.microsoft.com/office/drawing/2014/main" xmlns="" id="{E7BE9DCC-2081-4B7F-98AD-C3DD7164C6F0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263628" y="3422601"/>
            <a:ext cx="442312" cy="436399"/>
            <a:chOff x="3112" y="1970"/>
            <a:chExt cx="374" cy="369"/>
          </a:xfrm>
          <a:effectLst>
            <a:outerShdw blurRad="101600" dist="76200" dir="2700000" algn="ctr" rotWithShape="0">
              <a:srgbClr val="000000">
                <a:alpha val="29000"/>
              </a:srgbClr>
            </a:outerShdw>
          </a:effectLst>
        </p:grpSpPr>
        <p:sp>
          <p:nvSpPr>
            <p:cNvPr id="300" name="AutoShape 10">
              <a:extLst>
                <a:ext uri="{FF2B5EF4-FFF2-40B4-BE49-F238E27FC236}">
                  <a16:creationId xmlns:a16="http://schemas.microsoft.com/office/drawing/2014/main" xmlns="" id="{56C01240-8813-45A4-BD77-2D0FFB788D88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112" y="1970"/>
              <a:ext cx="374" cy="36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1" name="Freeform 12">
              <a:extLst>
                <a:ext uri="{FF2B5EF4-FFF2-40B4-BE49-F238E27FC236}">
                  <a16:creationId xmlns:a16="http://schemas.microsoft.com/office/drawing/2014/main" xmlns="" id="{A8E5AD80-3291-4482-82F1-7B38AA25ACDB}"/>
                </a:ext>
              </a:extLst>
            </p:cNvPr>
            <p:cNvSpPr>
              <a:spLocks/>
            </p:cNvSpPr>
            <p:nvPr/>
          </p:nvSpPr>
          <p:spPr bwMode="auto">
            <a:xfrm>
              <a:off x="3111" y="1971"/>
              <a:ext cx="375" cy="367"/>
            </a:xfrm>
            <a:custGeom>
              <a:avLst/>
              <a:gdLst>
                <a:gd name="T0" fmla="*/ 358 w 358"/>
                <a:gd name="T1" fmla="*/ 60 h 349"/>
                <a:gd name="T2" fmla="*/ 358 w 358"/>
                <a:gd name="T3" fmla="*/ 179 h 349"/>
                <a:gd name="T4" fmla="*/ 327 w 358"/>
                <a:gd name="T5" fmla="*/ 232 h 349"/>
                <a:gd name="T6" fmla="*/ 298 w 358"/>
                <a:gd name="T7" fmla="*/ 239 h 349"/>
                <a:gd name="T8" fmla="*/ 273 w 358"/>
                <a:gd name="T9" fmla="*/ 239 h 349"/>
                <a:gd name="T10" fmla="*/ 303 w 358"/>
                <a:gd name="T11" fmla="*/ 349 h 349"/>
                <a:gd name="T12" fmla="*/ 147 w 358"/>
                <a:gd name="T13" fmla="*/ 239 h 349"/>
                <a:gd name="T14" fmla="*/ 60 w 358"/>
                <a:gd name="T15" fmla="*/ 239 h 349"/>
                <a:gd name="T16" fmla="*/ 0 w 358"/>
                <a:gd name="T17" fmla="*/ 179 h 349"/>
                <a:gd name="T18" fmla="*/ 0 w 358"/>
                <a:gd name="T19" fmla="*/ 60 h 349"/>
                <a:gd name="T20" fmla="*/ 31 w 358"/>
                <a:gd name="T21" fmla="*/ 7 h 349"/>
                <a:gd name="T22" fmla="*/ 60 w 358"/>
                <a:gd name="T23" fmla="*/ 0 h 349"/>
                <a:gd name="T24" fmla="*/ 298 w 358"/>
                <a:gd name="T25" fmla="*/ 0 h 349"/>
                <a:gd name="T26" fmla="*/ 358 w 358"/>
                <a:gd name="T27" fmla="*/ 60 h 3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58" h="349">
                  <a:moveTo>
                    <a:pt x="358" y="60"/>
                  </a:moveTo>
                  <a:cubicBezTo>
                    <a:pt x="358" y="179"/>
                    <a:pt x="358" y="179"/>
                    <a:pt x="358" y="179"/>
                  </a:cubicBezTo>
                  <a:cubicBezTo>
                    <a:pt x="358" y="203"/>
                    <a:pt x="347" y="222"/>
                    <a:pt x="327" y="232"/>
                  </a:cubicBezTo>
                  <a:cubicBezTo>
                    <a:pt x="314" y="238"/>
                    <a:pt x="301" y="239"/>
                    <a:pt x="298" y="239"/>
                  </a:cubicBezTo>
                  <a:cubicBezTo>
                    <a:pt x="273" y="239"/>
                    <a:pt x="273" y="239"/>
                    <a:pt x="273" y="239"/>
                  </a:cubicBezTo>
                  <a:cubicBezTo>
                    <a:pt x="303" y="349"/>
                    <a:pt x="303" y="349"/>
                    <a:pt x="303" y="349"/>
                  </a:cubicBezTo>
                  <a:cubicBezTo>
                    <a:pt x="147" y="239"/>
                    <a:pt x="147" y="239"/>
                    <a:pt x="147" y="239"/>
                  </a:cubicBezTo>
                  <a:cubicBezTo>
                    <a:pt x="60" y="239"/>
                    <a:pt x="60" y="239"/>
                    <a:pt x="60" y="239"/>
                  </a:cubicBezTo>
                  <a:cubicBezTo>
                    <a:pt x="16" y="239"/>
                    <a:pt x="0" y="203"/>
                    <a:pt x="0" y="179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0" y="36"/>
                    <a:pt x="11" y="17"/>
                    <a:pt x="31" y="7"/>
                  </a:cubicBezTo>
                  <a:cubicBezTo>
                    <a:pt x="45" y="0"/>
                    <a:pt x="57" y="0"/>
                    <a:pt x="60" y="0"/>
                  </a:cubicBezTo>
                  <a:cubicBezTo>
                    <a:pt x="298" y="0"/>
                    <a:pt x="298" y="0"/>
                    <a:pt x="298" y="0"/>
                  </a:cubicBezTo>
                  <a:cubicBezTo>
                    <a:pt x="342" y="0"/>
                    <a:pt x="358" y="36"/>
                    <a:pt x="358" y="6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2" name="Freeform 13">
              <a:extLst>
                <a:ext uri="{FF2B5EF4-FFF2-40B4-BE49-F238E27FC236}">
                  <a16:creationId xmlns:a16="http://schemas.microsoft.com/office/drawing/2014/main" xmlns="" id="{C1529F75-4230-412B-AC61-25566222B011}"/>
                </a:ext>
              </a:extLst>
            </p:cNvPr>
            <p:cNvSpPr>
              <a:spLocks/>
            </p:cNvSpPr>
            <p:nvPr/>
          </p:nvSpPr>
          <p:spPr bwMode="auto">
            <a:xfrm>
              <a:off x="3136" y="1996"/>
              <a:ext cx="325" cy="281"/>
            </a:xfrm>
            <a:custGeom>
              <a:avLst/>
              <a:gdLst>
                <a:gd name="T0" fmla="*/ 36 w 310"/>
                <a:gd name="T1" fmla="*/ 0 h 267"/>
                <a:gd name="T2" fmla="*/ 0 w 310"/>
                <a:gd name="T3" fmla="*/ 36 h 267"/>
                <a:gd name="T4" fmla="*/ 0 w 310"/>
                <a:gd name="T5" fmla="*/ 155 h 267"/>
                <a:gd name="T6" fmla="*/ 36 w 310"/>
                <a:gd name="T7" fmla="*/ 191 h 267"/>
                <a:gd name="T8" fmla="*/ 130 w 310"/>
                <a:gd name="T9" fmla="*/ 191 h 267"/>
                <a:gd name="T10" fmla="*/ 239 w 310"/>
                <a:gd name="T11" fmla="*/ 267 h 267"/>
                <a:gd name="T12" fmla="*/ 218 w 310"/>
                <a:gd name="T13" fmla="*/ 191 h 267"/>
                <a:gd name="T14" fmla="*/ 274 w 310"/>
                <a:gd name="T15" fmla="*/ 191 h 267"/>
                <a:gd name="T16" fmla="*/ 310 w 310"/>
                <a:gd name="T17" fmla="*/ 155 h 267"/>
                <a:gd name="T18" fmla="*/ 310 w 310"/>
                <a:gd name="T19" fmla="*/ 36 h 267"/>
                <a:gd name="T20" fmla="*/ 274 w 310"/>
                <a:gd name="T21" fmla="*/ 0 h 267"/>
                <a:gd name="T22" fmla="*/ 36 w 310"/>
                <a:gd name="T23" fmla="*/ 0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10" h="267">
                  <a:moveTo>
                    <a:pt x="36" y="0"/>
                  </a:moveTo>
                  <a:cubicBezTo>
                    <a:pt x="36" y="0"/>
                    <a:pt x="0" y="0"/>
                    <a:pt x="0" y="36"/>
                  </a:cubicBezTo>
                  <a:cubicBezTo>
                    <a:pt x="0" y="155"/>
                    <a:pt x="0" y="155"/>
                    <a:pt x="0" y="155"/>
                  </a:cubicBezTo>
                  <a:cubicBezTo>
                    <a:pt x="0" y="155"/>
                    <a:pt x="0" y="191"/>
                    <a:pt x="36" y="191"/>
                  </a:cubicBezTo>
                  <a:cubicBezTo>
                    <a:pt x="130" y="191"/>
                    <a:pt x="130" y="191"/>
                    <a:pt x="130" y="191"/>
                  </a:cubicBezTo>
                  <a:cubicBezTo>
                    <a:pt x="239" y="267"/>
                    <a:pt x="239" y="267"/>
                    <a:pt x="239" y="267"/>
                  </a:cubicBezTo>
                  <a:cubicBezTo>
                    <a:pt x="218" y="191"/>
                    <a:pt x="218" y="191"/>
                    <a:pt x="218" y="191"/>
                  </a:cubicBezTo>
                  <a:cubicBezTo>
                    <a:pt x="274" y="191"/>
                    <a:pt x="274" y="191"/>
                    <a:pt x="274" y="191"/>
                  </a:cubicBezTo>
                  <a:cubicBezTo>
                    <a:pt x="274" y="191"/>
                    <a:pt x="310" y="191"/>
                    <a:pt x="310" y="155"/>
                  </a:cubicBezTo>
                  <a:cubicBezTo>
                    <a:pt x="310" y="36"/>
                    <a:pt x="310" y="36"/>
                    <a:pt x="310" y="36"/>
                  </a:cubicBezTo>
                  <a:cubicBezTo>
                    <a:pt x="310" y="36"/>
                    <a:pt x="310" y="0"/>
                    <a:pt x="274" y="0"/>
                  </a:cubicBezTo>
                  <a:lnTo>
                    <a:pt x="36" y="0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03" name="Group 30">
            <a:extLst>
              <a:ext uri="{FF2B5EF4-FFF2-40B4-BE49-F238E27FC236}">
                <a16:creationId xmlns:a16="http://schemas.microsoft.com/office/drawing/2014/main" xmlns="" id="{DE66BD4A-AEF9-4631-B218-4FC1BC48EE8A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552895" y="1105789"/>
            <a:ext cx="271990" cy="350607"/>
            <a:chOff x="2065" y="2160"/>
            <a:chExt cx="429" cy="553"/>
          </a:xfrm>
          <a:effectLst>
            <a:outerShdw blurRad="101600" dist="76200" dir="2700000" algn="ctr" rotWithShape="0">
              <a:srgbClr val="000000">
                <a:alpha val="29000"/>
              </a:srgbClr>
            </a:outerShdw>
          </a:effectLst>
        </p:grpSpPr>
        <p:sp>
          <p:nvSpPr>
            <p:cNvPr id="304" name="AutoShape 29">
              <a:extLst>
                <a:ext uri="{FF2B5EF4-FFF2-40B4-BE49-F238E27FC236}">
                  <a16:creationId xmlns:a16="http://schemas.microsoft.com/office/drawing/2014/main" xmlns="" id="{C53C6144-30A9-430F-8F6C-C1BE1C1BDF84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065" y="2160"/>
              <a:ext cx="429" cy="5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05" name="Freeform 31">
              <a:extLst>
                <a:ext uri="{FF2B5EF4-FFF2-40B4-BE49-F238E27FC236}">
                  <a16:creationId xmlns:a16="http://schemas.microsoft.com/office/drawing/2014/main" xmlns="" id="{6CFC425B-D2DB-43EF-B418-C58B2B75D0D1}"/>
                </a:ext>
              </a:extLst>
            </p:cNvPr>
            <p:cNvSpPr>
              <a:spLocks/>
            </p:cNvSpPr>
            <p:nvPr/>
          </p:nvSpPr>
          <p:spPr bwMode="auto">
            <a:xfrm>
              <a:off x="2066" y="2161"/>
              <a:ext cx="428" cy="551"/>
            </a:xfrm>
            <a:custGeom>
              <a:avLst/>
              <a:gdLst>
                <a:gd name="T0" fmla="*/ 362 w 362"/>
                <a:gd name="T1" fmla="*/ 232 h 466"/>
                <a:gd name="T2" fmla="*/ 351 w 362"/>
                <a:gd name="T3" fmla="*/ 277 h 466"/>
                <a:gd name="T4" fmla="*/ 321 w 362"/>
                <a:gd name="T5" fmla="*/ 316 h 466"/>
                <a:gd name="T6" fmla="*/ 312 w 362"/>
                <a:gd name="T7" fmla="*/ 323 h 466"/>
                <a:gd name="T8" fmla="*/ 271 w 362"/>
                <a:gd name="T9" fmla="*/ 288 h 466"/>
                <a:gd name="T10" fmla="*/ 251 w 362"/>
                <a:gd name="T11" fmla="*/ 293 h 466"/>
                <a:gd name="T12" fmla="*/ 251 w 362"/>
                <a:gd name="T13" fmla="*/ 414 h 466"/>
                <a:gd name="T14" fmla="*/ 200 w 362"/>
                <a:gd name="T15" fmla="*/ 466 h 466"/>
                <a:gd name="T16" fmla="*/ 51 w 362"/>
                <a:gd name="T17" fmla="*/ 466 h 466"/>
                <a:gd name="T18" fmla="*/ 0 w 362"/>
                <a:gd name="T19" fmla="*/ 414 h 466"/>
                <a:gd name="T20" fmla="*/ 0 w 362"/>
                <a:gd name="T21" fmla="*/ 51 h 466"/>
                <a:gd name="T22" fmla="*/ 51 w 362"/>
                <a:gd name="T23" fmla="*/ 0 h 466"/>
                <a:gd name="T24" fmla="*/ 200 w 362"/>
                <a:gd name="T25" fmla="*/ 0 h 466"/>
                <a:gd name="T26" fmla="*/ 251 w 362"/>
                <a:gd name="T27" fmla="*/ 51 h 466"/>
                <a:gd name="T28" fmla="*/ 251 w 362"/>
                <a:gd name="T29" fmla="*/ 162 h 466"/>
                <a:gd name="T30" fmla="*/ 260 w 362"/>
                <a:gd name="T31" fmla="*/ 176 h 466"/>
                <a:gd name="T32" fmla="*/ 268 w 362"/>
                <a:gd name="T33" fmla="*/ 178 h 466"/>
                <a:gd name="T34" fmla="*/ 312 w 362"/>
                <a:gd name="T35" fmla="*/ 140 h 466"/>
                <a:gd name="T36" fmla="*/ 321 w 362"/>
                <a:gd name="T37" fmla="*/ 148 h 466"/>
                <a:gd name="T38" fmla="*/ 362 w 362"/>
                <a:gd name="T39" fmla="*/ 232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62" h="466">
                  <a:moveTo>
                    <a:pt x="362" y="232"/>
                  </a:moveTo>
                  <a:cubicBezTo>
                    <a:pt x="362" y="248"/>
                    <a:pt x="358" y="263"/>
                    <a:pt x="351" y="277"/>
                  </a:cubicBezTo>
                  <a:cubicBezTo>
                    <a:pt x="344" y="292"/>
                    <a:pt x="334" y="305"/>
                    <a:pt x="321" y="316"/>
                  </a:cubicBezTo>
                  <a:cubicBezTo>
                    <a:pt x="312" y="323"/>
                    <a:pt x="312" y="323"/>
                    <a:pt x="312" y="323"/>
                  </a:cubicBezTo>
                  <a:cubicBezTo>
                    <a:pt x="271" y="288"/>
                    <a:pt x="271" y="288"/>
                    <a:pt x="271" y="288"/>
                  </a:cubicBezTo>
                  <a:cubicBezTo>
                    <a:pt x="265" y="291"/>
                    <a:pt x="258" y="292"/>
                    <a:pt x="251" y="293"/>
                  </a:cubicBezTo>
                  <a:cubicBezTo>
                    <a:pt x="251" y="414"/>
                    <a:pt x="251" y="414"/>
                    <a:pt x="251" y="414"/>
                  </a:cubicBezTo>
                  <a:cubicBezTo>
                    <a:pt x="251" y="443"/>
                    <a:pt x="228" y="466"/>
                    <a:pt x="200" y="466"/>
                  </a:cubicBezTo>
                  <a:cubicBezTo>
                    <a:pt x="51" y="466"/>
                    <a:pt x="51" y="466"/>
                    <a:pt x="51" y="466"/>
                  </a:cubicBezTo>
                  <a:cubicBezTo>
                    <a:pt x="23" y="466"/>
                    <a:pt x="0" y="443"/>
                    <a:pt x="0" y="414"/>
                  </a:cubicBezTo>
                  <a:cubicBezTo>
                    <a:pt x="0" y="51"/>
                    <a:pt x="0" y="51"/>
                    <a:pt x="0" y="51"/>
                  </a:cubicBezTo>
                  <a:cubicBezTo>
                    <a:pt x="0" y="23"/>
                    <a:pt x="23" y="0"/>
                    <a:pt x="51" y="0"/>
                  </a:cubicBezTo>
                  <a:cubicBezTo>
                    <a:pt x="200" y="0"/>
                    <a:pt x="200" y="0"/>
                    <a:pt x="200" y="0"/>
                  </a:cubicBezTo>
                  <a:cubicBezTo>
                    <a:pt x="228" y="0"/>
                    <a:pt x="251" y="23"/>
                    <a:pt x="251" y="51"/>
                  </a:cubicBezTo>
                  <a:cubicBezTo>
                    <a:pt x="251" y="162"/>
                    <a:pt x="251" y="162"/>
                    <a:pt x="251" y="162"/>
                  </a:cubicBezTo>
                  <a:cubicBezTo>
                    <a:pt x="255" y="166"/>
                    <a:pt x="258" y="171"/>
                    <a:pt x="260" y="176"/>
                  </a:cubicBezTo>
                  <a:cubicBezTo>
                    <a:pt x="263" y="176"/>
                    <a:pt x="266" y="177"/>
                    <a:pt x="268" y="178"/>
                  </a:cubicBezTo>
                  <a:cubicBezTo>
                    <a:pt x="312" y="140"/>
                    <a:pt x="312" y="140"/>
                    <a:pt x="312" y="140"/>
                  </a:cubicBezTo>
                  <a:cubicBezTo>
                    <a:pt x="321" y="148"/>
                    <a:pt x="321" y="148"/>
                    <a:pt x="321" y="148"/>
                  </a:cubicBezTo>
                  <a:cubicBezTo>
                    <a:pt x="347" y="170"/>
                    <a:pt x="362" y="200"/>
                    <a:pt x="362" y="23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06" name="Freeform 32">
              <a:extLst>
                <a:ext uri="{FF2B5EF4-FFF2-40B4-BE49-F238E27FC236}">
                  <a16:creationId xmlns:a16="http://schemas.microsoft.com/office/drawing/2014/main" xmlns="" id="{B07AB9AA-04EB-403B-B428-35AD00F192F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83" y="2178"/>
              <a:ext cx="394" cy="517"/>
            </a:xfrm>
            <a:custGeom>
              <a:avLst/>
              <a:gdLst>
                <a:gd name="T0" fmla="*/ 239 w 334"/>
                <a:gd name="T1" fmla="*/ 175 h 438"/>
                <a:gd name="T2" fmla="*/ 237 w 334"/>
                <a:gd name="T3" fmla="*/ 174 h 438"/>
                <a:gd name="T4" fmla="*/ 236 w 334"/>
                <a:gd name="T5" fmla="*/ 172 h 438"/>
                <a:gd name="T6" fmla="*/ 223 w 334"/>
                <a:gd name="T7" fmla="*/ 153 h 438"/>
                <a:gd name="T8" fmla="*/ 223 w 334"/>
                <a:gd name="T9" fmla="*/ 37 h 438"/>
                <a:gd name="T10" fmla="*/ 186 w 334"/>
                <a:gd name="T11" fmla="*/ 0 h 438"/>
                <a:gd name="T12" fmla="*/ 37 w 334"/>
                <a:gd name="T13" fmla="*/ 0 h 438"/>
                <a:gd name="T14" fmla="*/ 0 w 334"/>
                <a:gd name="T15" fmla="*/ 37 h 438"/>
                <a:gd name="T16" fmla="*/ 0 w 334"/>
                <a:gd name="T17" fmla="*/ 400 h 438"/>
                <a:gd name="T18" fmla="*/ 37 w 334"/>
                <a:gd name="T19" fmla="*/ 438 h 438"/>
                <a:gd name="T20" fmla="*/ 186 w 334"/>
                <a:gd name="T21" fmla="*/ 438 h 438"/>
                <a:gd name="T22" fmla="*/ 223 w 334"/>
                <a:gd name="T23" fmla="*/ 400 h 438"/>
                <a:gd name="T24" fmla="*/ 223 w 334"/>
                <a:gd name="T25" fmla="*/ 265 h 438"/>
                <a:gd name="T26" fmla="*/ 231 w 334"/>
                <a:gd name="T27" fmla="*/ 265 h 438"/>
                <a:gd name="T28" fmla="*/ 281 w 334"/>
                <a:gd name="T29" fmla="*/ 220 h 438"/>
                <a:gd name="T30" fmla="*/ 239 w 334"/>
                <a:gd name="T31" fmla="*/ 175 h 438"/>
                <a:gd name="T32" fmla="*/ 87 w 334"/>
                <a:gd name="T33" fmla="*/ 27 h 438"/>
                <a:gd name="T34" fmla="*/ 136 w 334"/>
                <a:gd name="T35" fmla="*/ 27 h 438"/>
                <a:gd name="T36" fmla="*/ 136 w 334"/>
                <a:gd name="T37" fmla="*/ 34 h 438"/>
                <a:gd name="T38" fmla="*/ 87 w 334"/>
                <a:gd name="T39" fmla="*/ 34 h 438"/>
                <a:gd name="T40" fmla="*/ 87 w 334"/>
                <a:gd name="T41" fmla="*/ 27 h 438"/>
                <a:gd name="T42" fmla="*/ 111 w 334"/>
                <a:gd name="T43" fmla="*/ 418 h 438"/>
                <a:gd name="T44" fmla="*/ 96 w 334"/>
                <a:gd name="T45" fmla="*/ 403 h 438"/>
                <a:gd name="T46" fmla="*/ 111 w 334"/>
                <a:gd name="T47" fmla="*/ 387 h 438"/>
                <a:gd name="T48" fmla="*/ 127 w 334"/>
                <a:gd name="T49" fmla="*/ 403 h 438"/>
                <a:gd name="T50" fmla="*/ 111 w 334"/>
                <a:gd name="T51" fmla="*/ 418 h 438"/>
                <a:gd name="T52" fmla="*/ 209 w 334"/>
                <a:gd name="T53" fmla="*/ 370 h 438"/>
                <a:gd name="T54" fmla="*/ 14 w 334"/>
                <a:gd name="T55" fmla="*/ 370 h 438"/>
                <a:gd name="T56" fmla="*/ 14 w 334"/>
                <a:gd name="T57" fmla="*/ 59 h 438"/>
                <a:gd name="T58" fmla="*/ 209 w 334"/>
                <a:gd name="T59" fmla="*/ 59 h 438"/>
                <a:gd name="T60" fmla="*/ 209 w 334"/>
                <a:gd name="T61" fmla="*/ 142 h 438"/>
                <a:gd name="T62" fmla="*/ 167 w 334"/>
                <a:gd name="T63" fmla="*/ 130 h 438"/>
                <a:gd name="T64" fmla="*/ 93 w 334"/>
                <a:gd name="T65" fmla="*/ 198 h 438"/>
                <a:gd name="T66" fmla="*/ 93 w 334"/>
                <a:gd name="T67" fmla="*/ 201 h 438"/>
                <a:gd name="T68" fmla="*/ 93 w 334"/>
                <a:gd name="T69" fmla="*/ 204 h 438"/>
                <a:gd name="T70" fmla="*/ 90 w 334"/>
                <a:gd name="T71" fmla="*/ 205 h 438"/>
                <a:gd name="T72" fmla="*/ 67 w 334"/>
                <a:gd name="T73" fmla="*/ 234 h 438"/>
                <a:gd name="T74" fmla="*/ 101 w 334"/>
                <a:gd name="T75" fmla="*/ 265 h 438"/>
                <a:gd name="T76" fmla="*/ 209 w 334"/>
                <a:gd name="T77" fmla="*/ 265 h 438"/>
                <a:gd name="T78" fmla="*/ 209 w 334"/>
                <a:gd name="T79" fmla="*/ 370 h 438"/>
                <a:gd name="T80" fmla="*/ 334 w 334"/>
                <a:gd name="T81" fmla="*/ 218 h 438"/>
                <a:gd name="T82" fmla="*/ 298 w 334"/>
                <a:gd name="T83" fmla="*/ 291 h 438"/>
                <a:gd name="T84" fmla="*/ 289 w 334"/>
                <a:gd name="T85" fmla="*/ 283 h 438"/>
                <a:gd name="T86" fmla="*/ 320 w 334"/>
                <a:gd name="T87" fmla="*/ 218 h 438"/>
                <a:gd name="T88" fmla="*/ 289 w 334"/>
                <a:gd name="T89" fmla="*/ 153 h 438"/>
                <a:gd name="T90" fmla="*/ 298 w 334"/>
                <a:gd name="T91" fmla="*/ 145 h 438"/>
                <a:gd name="T92" fmla="*/ 334 w 334"/>
                <a:gd name="T93" fmla="*/ 218 h 438"/>
                <a:gd name="T94" fmla="*/ 307 w 334"/>
                <a:gd name="T95" fmla="*/ 218 h 438"/>
                <a:gd name="T96" fmla="*/ 279 w 334"/>
                <a:gd name="T97" fmla="*/ 275 h 438"/>
                <a:gd name="T98" fmla="*/ 270 w 334"/>
                <a:gd name="T99" fmla="*/ 266 h 438"/>
                <a:gd name="T100" fmla="*/ 293 w 334"/>
                <a:gd name="T101" fmla="*/ 218 h 438"/>
                <a:gd name="T102" fmla="*/ 270 w 334"/>
                <a:gd name="T103" fmla="*/ 169 h 438"/>
                <a:gd name="T104" fmla="*/ 279 w 334"/>
                <a:gd name="T105" fmla="*/ 161 h 438"/>
                <a:gd name="T106" fmla="*/ 307 w 334"/>
                <a:gd name="T107" fmla="*/ 218 h 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34" h="438">
                  <a:moveTo>
                    <a:pt x="239" y="175"/>
                  </a:moveTo>
                  <a:cubicBezTo>
                    <a:pt x="237" y="174"/>
                    <a:pt x="237" y="174"/>
                    <a:pt x="237" y="174"/>
                  </a:cubicBezTo>
                  <a:cubicBezTo>
                    <a:pt x="236" y="172"/>
                    <a:pt x="236" y="172"/>
                    <a:pt x="236" y="172"/>
                  </a:cubicBezTo>
                  <a:cubicBezTo>
                    <a:pt x="233" y="165"/>
                    <a:pt x="228" y="159"/>
                    <a:pt x="223" y="153"/>
                  </a:cubicBezTo>
                  <a:cubicBezTo>
                    <a:pt x="223" y="37"/>
                    <a:pt x="223" y="37"/>
                    <a:pt x="223" y="37"/>
                  </a:cubicBezTo>
                  <a:cubicBezTo>
                    <a:pt x="223" y="17"/>
                    <a:pt x="206" y="0"/>
                    <a:pt x="186" y="0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17" y="0"/>
                    <a:pt x="0" y="17"/>
                    <a:pt x="0" y="37"/>
                  </a:cubicBezTo>
                  <a:cubicBezTo>
                    <a:pt x="0" y="400"/>
                    <a:pt x="0" y="400"/>
                    <a:pt x="0" y="400"/>
                  </a:cubicBezTo>
                  <a:cubicBezTo>
                    <a:pt x="0" y="421"/>
                    <a:pt x="17" y="438"/>
                    <a:pt x="37" y="438"/>
                  </a:cubicBezTo>
                  <a:cubicBezTo>
                    <a:pt x="186" y="438"/>
                    <a:pt x="186" y="438"/>
                    <a:pt x="186" y="438"/>
                  </a:cubicBezTo>
                  <a:cubicBezTo>
                    <a:pt x="206" y="438"/>
                    <a:pt x="223" y="421"/>
                    <a:pt x="223" y="400"/>
                  </a:cubicBezTo>
                  <a:cubicBezTo>
                    <a:pt x="223" y="265"/>
                    <a:pt x="223" y="265"/>
                    <a:pt x="223" y="265"/>
                  </a:cubicBezTo>
                  <a:cubicBezTo>
                    <a:pt x="231" y="265"/>
                    <a:pt x="231" y="265"/>
                    <a:pt x="231" y="265"/>
                  </a:cubicBezTo>
                  <a:cubicBezTo>
                    <a:pt x="258" y="265"/>
                    <a:pt x="281" y="245"/>
                    <a:pt x="281" y="220"/>
                  </a:cubicBezTo>
                  <a:cubicBezTo>
                    <a:pt x="281" y="197"/>
                    <a:pt x="263" y="178"/>
                    <a:pt x="239" y="175"/>
                  </a:cubicBezTo>
                  <a:close/>
                  <a:moveTo>
                    <a:pt x="87" y="27"/>
                  </a:moveTo>
                  <a:cubicBezTo>
                    <a:pt x="136" y="27"/>
                    <a:pt x="136" y="27"/>
                    <a:pt x="136" y="27"/>
                  </a:cubicBezTo>
                  <a:cubicBezTo>
                    <a:pt x="136" y="34"/>
                    <a:pt x="136" y="34"/>
                    <a:pt x="136" y="34"/>
                  </a:cubicBezTo>
                  <a:cubicBezTo>
                    <a:pt x="87" y="34"/>
                    <a:pt x="87" y="34"/>
                    <a:pt x="87" y="34"/>
                  </a:cubicBezTo>
                  <a:lnTo>
                    <a:pt x="87" y="27"/>
                  </a:lnTo>
                  <a:close/>
                  <a:moveTo>
                    <a:pt x="111" y="418"/>
                  </a:moveTo>
                  <a:cubicBezTo>
                    <a:pt x="103" y="418"/>
                    <a:pt x="96" y="411"/>
                    <a:pt x="96" y="403"/>
                  </a:cubicBezTo>
                  <a:cubicBezTo>
                    <a:pt x="96" y="394"/>
                    <a:pt x="103" y="387"/>
                    <a:pt x="111" y="387"/>
                  </a:cubicBezTo>
                  <a:cubicBezTo>
                    <a:pt x="120" y="387"/>
                    <a:pt x="127" y="394"/>
                    <a:pt x="127" y="403"/>
                  </a:cubicBezTo>
                  <a:cubicBezTo>
                    <a:pt x="127" y="411"/>
                    <a:pt x="120" y="418"/>
                    <a:pt x="111" y="418"/>
                  </a:cubicBezTo>
                  <a:close/>
                  <a:moveTo>
                    <a:pt x="209" y="370"/>
                  </a:moveTo>
                  <a:cubicBezTo>
                    <a:pt x="14" y="370"/>
                    <a:pt x="14" y="370"/>
                    <a:pt x="14" y="370"/>
                  </a:cubicBezTo>
                  <a:cubicBezTo>
                    <a:pt x="14" y="59"/>
                    <a:pt x="14" y="59"/>
                    <a:pt x="14" y="59"/>
                  </a:cubicBezTo>
                  <a:cubicBezTo>
                    <a:pt x="209" y="59"/>
                    <a:pt x="209" y="59"/>
                    <a:pt x="209" y="59"/>
                  </a:cubicBezTo>
                  <a:cubicBezTo>
                    <a:pt x="209" y="142"/>
                    <a:pt x="209" y="142"/>
                    <a:pt x="209" y="142"/>
                  </a:cubicBezTo>
                  <a:cubicBezTo>
                    <a:pt x="197" y="134"/>
                    <a:pt x="183" y="130"/>
                    <a:pt x="167" y="130"/>
                  </a:cubicBezTo>
                  <a:cubicBezTo>
                    <a:pt x="126" y="130"/>
                    <a:pt x="93" y="160"/>
                    <a:pt x="93" y="198"/>
                  </a:cubicBezTo>
                  <a:cubicBezTo>
                    <a:pt x="93" y="199"/>
                    <a:pt x="93" y="200"/>
                    <a:pt x="93" y="201"/>
                  </a:cubicBezTo>
                  <a:cubicBezTo>
                    <a:pt x="93" y="204"/>
                    <a:pt x="93" y="204"/>
                    <a:pt x="93" y="204"/>
                  </a:cubicBezTo>
                  <a:cubicBezTo>
                    <a:pt x="90" y="205"/>
                    <a:pt x="90" y="205"/>
                    <a:pt x="90" y="205"/>
                  </a:cubicBezTo>
                  <a:cubicBezTo>
                    <a:pt x="76" y="210"/>
                    <a:pt x="67" y="221"/>
                    <a:pt x="67" y="234"/>
                  </a:cubicBezTo>
                  <a:cubicBezTo>
                    <a:pt x="67" y="251"/>
                    <a:pt x="82" y="265"/>
                    <a:pt x="101" y="265"/>
                  </a:cubicBezTo>
                  <a:cubicBezTo>
                    <a:pt x="209" y="265"/>
                    <a:pt x="209" y="265"/>
                    <a:pt x="209" y="265"/>
                  </a:cubicBezTo>
                  <a:lnTo>
                    <a:pt x="209" y="370"/>
                  </a:lnTo>
                  <a:close/>
                  <a:moveTo>
                    <a:pt x="334" y="218"/>
                  </a:moveTo>
                  <a:cubicBezTo>
                    <a:pt x="333" y="245"/>
                    <a:pt x="321" y="272"/>
                    <a:pt x="298" y="291"/>
                  </a:cubicBezTo>
                  <a:cubicBezTo>
                    <a:pt x="289" y="283"/>
                    <a:pt x="289" y="283"/>
                    <a:pt x="289" y="283"/>
                  </a:cubicBezTo>
                  <a:cubicBezTo>
                    <a:pt x="309" y="266"/>
                    <a:pt x="320" y="242"/>
                    <a:pt x="320" y="218"/>
                  </a:cubicBezTo>
                  <a:cubicBezTo>
                    <a:pt x="320" y="193"/>
                    <a:pt x="309" y="170"/>
                    <a:pt x="289" y="153"/>
                  </a:cubicBezTo>
                  <a:cubicBezTo>
                    <a:pt x="298" y="145"/>
                    <a:pt x="298" y="145"/>
                    <a:pt x="298" y="145"/>
                  </a:cubicBezTo>
                  <a:cubicBezTo>
                    <a:pt x="321" y="164"/>
                    <a:pt x="334" y="190"/>
                    <a:pt x="334" y="218"/>
                  </a:cubicBezTo>
                  <a:close/>
                  <a:moveTo>
                    <a:pt x="307" y="218"/>
                  </a:moveTo>
                  <a:cubicBezTo>
                    <a:pt x="307" y="239"/>
                    <a:pt x="297" y="260"/>
                    <a:pt x="279" y="275"/>
                  </a:cubicBezTo>
                  <a:cubicBezTo>
                    <a:pt x="270" y="266"/>
                    <a:pt x="270" y="266"/>
                    <a:pt x="270" y="266"/>
                  </a:cubicBezTo>
                  <a:cubicBezTo>
                    <a:pt x="285" y="254"/>
                    <a:pt x="293" y="236"/>
                    <a:pt x="293" y="218"/>
                  </a:cubicBezTo>
                  <a:cubicBezTo>
                    <a:pt x="293" y="200"/>
                    <a:pt x="285" y="182"/>
                    <a:pt x="270" y="169"/>
                  </a:cubicBezTo>
                  <a:cubicBezTo>
                    <a:pt x="279" y="161"/>
                    <a:pt x="279" y="161"/>
                    <a:pt x="279" y="161"/>
                  </a:cubicBezTo>
                  <a:cubicBezTo>
                    <a:pt x="297" y="176"/>
                    <a:pt x="307" y="196"/>
                    <a:pt x="307" y="218"/>
                  </a:cubicBez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grpSp>
        <p:nvGrpSpPr>
          <p:cNvPr id="307" name="Group 42">
            <a:extLst>
              <a:ext uri="{FF2B5EF4-FFF2-40B4-BE49-F238E27FC236}">
                <a16:creationId xmlns:a16="http://schemas.microsoft.com/office/drawing/2014/main" xmlns="" id="{1D3C1148-BBF8-433E-AA41-CF7CA5AA7699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863910" y="1117963"/>
            <a:ext cx="304324" cy="348705"/>
            <a:chOff x="3061" y="2169"/>
            <a:chExt cx="480" cy="550"/>
          </a:xfrm>
          <a:effectLst>
            <a:outerShdw blurRad="101600" dist="76200" dir="2700000" algn="ctr" rotWithShape="0">
              <a:srgbClr val="000000">
                <a:alpha val="29000"/>
              </a:srgbClr>
            </a:outerShdw>
          </a:effectLst>
        </p:grpSpPr>
        <p:sp>
          <p:nvSpPr>
            <p:cNvPr id="308" name="AutoShape 41">
              <a:extLst>
                <a:ext uri="{FF2B5EF4-FFF2-40B4-BE49-F238E27FC236}">
                  <a16:creationId xmlns:a16="http://schemas.microsoft.com/office/drawing/2014/main" xmlns="" id="{2EF7F663-D222-4B29-AAC1-0C3F79FFE2E9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061" y="2169"/>
              <a:ext cx="480" cy="5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09" name="Freeform 43">
              <a:extLst>
                <a:ext uri="{FF2B5EF4-FFF2-40B4-BE49-F238E27FC236}">
                  <a16:creationId xmlns:a16="http://schemas.microsoft.com/office/drawing/2014/main" xmlns="" id="{DEE5DF94-04BC-42FF-8453-3B8742092297}"/>
                </a:ext>
              </a:extLst>
            </p:cNvPr>
            <p:cNvSpPr>
              <a:spLocks/>
            </p:cNvSpPr>
            <p:nvPr/>
          </p:nvSpPr>
          <p:spPr bwMode="auto">
            <a:xfrm>
              <a:off x="3061" y="2169"/>
              <a:ext cx="481" cy="549"/>
            </a:xfrm>
            <a:custGeom>
              <a:avLst/>
              <a:gdLst>
                <a:gd name="T0" fmla="*/ 406 w 409"/>
                <a:gd name="T1" fmla="*/ 150 h 467"/>
                <a:gd name="T2" fmla="*/ 405 w 409"/>
                <a:gd name="T3" fmla="*/ 162 h 467"/>
                <a:gd name="T4" fmla="*/ 365 w 409"/>
                <a:gd name="T5" fmla="*/ 162 h 467"/>
                <a:gd name="T6" fmla="*/ 344 w 409"/>
                <a:gd name="T7" fmla="*/ 162 h 467"/>
                <a:gd name="T8" fmla="*/ 344 w 409"/>
                <a:gd name="T9" fmla="*/ 252 h 467"/>
                <a:gd name="T10" fmla="*/ 316 w 409"/>
                <a:gd name="T11" fmla="*/ 277 h 467"/>
                <a:gd name="T12" fmla="*/ 301 w 409"/>
                <a:gd name="T13" fmla="*/ 277 h 467"/>
                <a:gd name="T14" fmla="*/ 325 w 409"/>
                <a:gd name="T15" fmla="*/ 328 h 467"/>
                <a:gd name="T16" fmla="*/ 252 w 409"/>
                <a:gd name="T17" fmla="*/ 288 h 467"/>
                <a:gd name="T18" fmla="*/ 252 w 409"/>
                <a:gd name="T19" fmla="*/ 416 h 467"/>
                <a:gd name="T20" fmla="*/ 200 w 409"/>
                <a:gd name="T21" fmla="*/ 467 h 467"/>
                <a:gd name="T22" fmla="*/ 51 w 409"/>
                <a:gd name="T23" fmla="*/ 467 h 467"/>
                <a:gd name="T24" fmla="*/ 0 w 409"/>
                <a:gd name="T25" fmla="*/ 416 h 467"/>
                <a:gd name="T26" fmla="*/ 0 w 409"/>
                <a:gd name="T27" fmla="*/ 52 h 467"/>
                <a:gd name="T28" fmla="*/ 51 w 409"/>
                <a:gd name="T29" fmla="*/ 0 h 467"/>
                <a:gd name="T30" fmla="*/ 200 w 409"/>
                <a:gd name="T31" fmla="*/ 0 h 467"/>
                <a:gd name="T32" fmla="*/ 252 w 409"/>
                <a:gd name="T33" fmla="*/ 52 h 467"/>
                <a:gd name="T34" fmla="*/ 252 w 409"/>
                <a:gd name="T35" fmla="*/ 116 h 467"/>
                <a:gd name="T36" fmla="*/ 299 w 409"/>
                <a:gd name="T37" fmla="*/ 116 h 467"/>
                <a:gd name="T38" fmla="*/ 299 w 409"/>
                <a:gd name="T39" fmla="*/ 96 h 467"/>
                <a:gd name="T40" fmla="*/ 299 w 409"/>
                <a:gd name="T41" fmla="*/ 76 h 467"/>
                <a:gd name="T42" fmla="*/ 299 w 409"/>
                <a:gd name="T43" fmla="*/ 76 h 467"/>
                <a:gd name="T44" fmla="*/ 299 w 409"/>
                <a:gd name="T45" fmla="*/ 56 h 467"/>
                <a:gd name="T46" fmla="*/ 311 w 409"/>
                <a:gd name="T47" fmla="*/ 55 h 467"/>
                <a:gd name="T48" fmla="*/ 383 w 409"/>
                <a:gd name="T49" fmla="*/ 78 h 467"/>
                <a:gd name="T50" fmla="*/ 406 w 409"/>
                <a:gd name="T51" fmla="*/ 150 h 4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409" h="467">
                  <a:moveTo>
                    <a:pt x="406" y="150"/>
                  </a:moveTo>
                  <a:cubicBezTo>
                    <a:pt x="405" y="162"/>
                    <a:pt x="405" y="162"/>
                    <a:pt x="405" y="162"/>
                  </a:cubicBezTo>
                  <a:cubicBezTo>
                    <a:pt x="365" y="162"/>
                    <a:pt x="365" y="162"/>
                    <a:pt x="365" y="162"/>
                  </a:cubicBezTo>
                  <a:cubicBezTo>
                    <a:pt x="344" y="162"/>
                    <a:pt x="344" y="162"/>
                    <a:pt x="344" y="162"/>
                  </a:cubicBezTo>
                  <a:cubicBezTo>
                    <a:pt x="344" y="252"/>
                    <a:pt x="344" y="252"/>
                    <a:pt x="344" y="252"/>
                  </a:cubicBezTo>
                  <a:cubicBezTo>
                    <a:pt x="344" y="262"/>
                    <a:pt x="337" y="277"/>
                    <a:pt x="316" y="277"/>
                  </a:cubicBezTo>
                  <a:cubicBezTo>
                    <a:pt x="301" y="277"/>
                    <a:pt x="301" y="277"/>
                    <a:pt x="301" y="277"/>
                  </a:cubicBezTo>
                  <a:cubicBezTo>
                    <a:pt x="325" y="328"/>
                    <a:pt x="325" y="328"/>
                    <a:pt x="325" y="328"/>
                  </a:cubicBezTo>
                  <a:cubicBezTo>
                    <a:pt x="252" y="288"/>
                    <a:pt x="252" y="288"/>
                    <a:pt x="252" y="288"/>
                  </a:cubicBezTo>
                  <a:cubicBezTo>
                    <a:pt x="252" y="416"/>
                    <a:pt x="252" y="416"/>
                    <a:pt x="252" y="416"/>
                  </a:cubicBezTo>
                  <a:cubicBezTo>
                    <a:pt x="252" y="444"/>
                    <a:pt x="229" y="467"/>
                    <a:pt x="200" y="467"/>
                  </a:cubicBezTo>
                  <a:cubicBezTo>
                    <a:pt x="51" y="467"/>
                    <a:pt x="51" y="467"/>
                    <a:pt x="51" y="467"/>
                  </a:cubicBezTo>
                  <a:cubicBezTo>
                    <a:pt x="23" y="467"/>
                    <a:pt x="0" y="444"/>
                    <a:pt x="0" y="416"/>
                  </a:cubicBezTo>
                  <a:cubicBezTo>
                    <a:pt x="0" y="52"/>
                    <a:pt x="0" y="52"/>
                    <a:pt x="0" y="52"/>
                  </a:cubicBezTo>
                  <a:cubicBezTo>
                    <a:pt x="0" y="23"/>
                    <a:pt x="23" y="0"/>
                    <a:pt x="51" y="0"/>
                  </a:cubicBezTo>
                  <a:cubicBezTo>
                    <a:pt x="200" y="0"/>
                    <a:pt x="200" y="0"/>
                    <a:pt x="200" y="0"/>
                  </a:cubicBezTo>
                  <a:cubicBezTo>
                    <a:pt x="229" y="0"/>
                    <a:pt x="252" y="23"/>
                    <a:pt x="252" y="52"/>
                  </a:cubicBezTo>
                  <a:cubicBezTo>
                    <a:pt x="252" y="116"/>
                    <a:pt x="252" y="116"/>
                    <a:pt x="252" y="116"/>
                  </a:cubicBezTo>
                  <a:cubicBezTo>
                    <a:pt x="299" y="116"/>
                    <a:pt x="299" y="116"/>
                    <a:pt x="299" y="116"/>
                  </a:cubicBezTo>
                  <a:cubicBezTo>
                    <a:pt x="299" y="96"/>
                    <a:pt x="299" y="96"/>
                    <a:pt x="299" y="96"/>
                  </a:cubicBezTo>
                  <a:cubicBezTo>
                    <a:pt x="299" y="76"/>
                    <a:pt x="299" y="76"/>
                    <a:pt x="299" y="76"/>
                  </a:cubicBezTo>
                  <a:cubicBezTo>
                    <a:pt x="299" y="76"/>
                    <a:pt x="299" y="76"/>
                    <a:pt x="299" y="76"/>
                  </a:cubicBezTo>
                  <a:cubicBezTo>
                    <a:pt x="299" y="56"/>
                    <a:pt x="299" y="56"/>
                    <a:pt x="299" y="56"/>
                  </a:cubicBezTo>
                  <a:cubicBezTo>
                    <a:pt x="311" y="55"/>
                    <a:pt x="311" y="55"/>
                    <a:pt x="311" y="55"/>
                  </a:cubicBezTo>
                  <a:cubicBezTo>
                    <a:pt x="338" y="52"/>
                    <a:pt x="364" y="60"/>
                    <a:pt x="383" y="78"/>
                  </a:cubicBezTo>
                  <a:cubicBezTo>
                    <a:pt x="401" y="97"/>
                    <a:pt x="409" y="123"/>
                    <a:pt x="406" y="15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10" name="Freeform 44">
              <a:extLst>
                <a:ext uri="{FF2B5EF4-FFF2-40B4-BE49-F238E27FC236}">
                  <a16:creationId xmlns:a16="http://schemas.microsoft.com/office/drawing/2014/main" xmlns="" id="{4D0AFF6A-48FC-48AE-AA47-7F7EF8F9078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77" y="2185"/>
              <a:ext cx="449" cy="516"/>
            </a:xfrm>
            <a:custGeom>
              <a:avLst/>
              <a:gdLst>
                <a:gd name="T0" fmla="*/ 302 w 381"/>
                <a:gd name="T1" fmla="*/ 116 h 439"/>
                <a:gd name="T2" fmla="*/ 224 w 381"/>
                <a:gd name="T3" fmla="*/ 116 h 439"/>
                <a:gd name="T4" fmla="*/ 224 w 381"/>
                <a:gd name="T5" fmla="*/ 38 h 439"/>
                <a:gd name="T6" fmla="*/ 186 w 381"/>
                <a:gd name="T7" fmla="*/ 0 h 439"/>
                <a:gd name="T8" fmla="*/ 37 w 381"/>
                <a:gd name="T9" fmla="*/ 0 h 439"/>
                <a:gd name="T10" fmla="*/ 0 w 381"/>
                <a:gd name="T11" fmla="*/ 38 h 439"/>
                <a:gd name="T12" fmla="*/ 0 w 381"/>
                <a:gd name="T13" fmla="*/ 402 h 439"/>
                <a:gd name="T14" fmla="*/ 37 w 381"/>
                <a:gd name="T15" fmla="*/ 439 h 439"/>
                <a:gd name="T16" fmla="*/ 186 w 381"/>
                <a:gd name="T17" fmla="*/ 439 h 439"/>
                <a:gd name="T18" fmla="*/ 224 w 381"/>
                <a:gd name="T19" fmla="*/ 402 h 439"/>
                <a:gd name="T20" fmla="*/ 224 w 381"/>
                <a:gd name="T21" fmla="*/ 250 h 439"/>
                <a:gd name="T22" fmla="*/ 239 w 381"/>
                <a:gd name="T23" fmla="*/ 258 h 439"/>
                <a:gd name="T24" fmla="*/ 280 w 381"/>
                <a:gd name="T25" fmla="*/ 281 h 439"/>
                <a:gd name="T26" fmla="*/ 265 w 381"/>
                <a:gd name="T27" fmla="*/ 249 h 439"/>
                <a:gd name="T28" fmla="*/ 302 w 381"/>
                <a:gd name="T29" fmla="*/ 249 h 439"/>
                <a:gd name="T30" fmla="*/ 316 w 381"/>
                <a:gd name="T31" fmla="*/ 238 h 439"/>
                <a:gd name="T32" fmla="*/ 316 w 381"/>
                <a:gd name="T33" fmla="*/ 127 h 439"/>
                <a:gd name="T34" fmla="*/ 302 w 381"/>
                <a:gd name="T35" fmla="*/ 116 h 439"/>
                <a:gd name="T36" fmla="*/ 87 w 381"/>
                <a:gd name="T37" fmla="*/ 27 h 439"/>
                <a:gd name="T38" fmla="*/ 137 w 381"/>
                <a:gd name="T39" fmla="*/ 27 h 439"/>
                <a:gd name="T40" fmla="*/ 137 w 381"/>
                <a:gd name="T41" fmla="*/ 35 h 439"/>
                <a:gd name="T42" fmla="*/ 87 w 381"/>
                <a:gd name="T43" fmla="*/ 35 h 439"/>
                <a:gd name="T44" fmla="*/ 87 w 381"/>
                <a:gd name="T45" fmla="*/ 27 h 439"/>
                <a:gd name="T46" fmla="*/ 112 w 381"/>
                <a:gd name="T47" fmla="*/ 420 h 439"/>
                <a:gd name="T48" fmla="*/ 96 w 381"/>
                <a:gd name="T49" fmla="*/ 404 h 439"/>
                <a:gd name="T50" fmla="*/ 112 w 381"/>
                <a:gd name="T51" fmla="*/ 389 h 439"/>
                <a:gd name="T52" fmla="*/ 127 w 381"/>
                <a:gd name="T53" fmla="*/ 404 h 439"/>
                <a:gd name="T54" fmla="*/ 112 w 381"/>
                <a:gd name="T55" fmla="*/ 420 h 439"/>
                <a:gd name="T56" fmla="*/ 210 w 381"/>
                <a:gd name="T57" fmla="*/ 116 h 439"/>
                <a:gd name="T58" fmla="*/ 107 w 381"/>
                <a:gd name="T59" fmla="*/ 116 h 439"/>
                <a:gd name="T60" fmla="*/ 93 w 381"/>
                <a:gd name="T61" fmla="*/ 127 h 439"/>
                <a:gd name="T62" fmla="*/ 93 w 381"/>
                <a:gd name="T63" fmla="*/ 238 h 439"/>
                <a:gd name="T64" fmla="*/ 107 w 381"/>
                <a:gd name="T65" fmla="*/ 249 h 439"/>
                <a:gd name="T66" fmla="*/ 210 w 381"/>
                <a:gd name="T67" fmla="*/ 249 h 439"/>
                <a:gd name="T68" fmla="*/ 210 w 381"/>
                <a:gd name="T69" fmla="*/ 372 h 439"/>
                <a:gd name="T70" fmla="*/ 14 w 381"/>
                <a:gd name="T71" fmla="*/ 372 h 439"/>
                <a:gd name="T72" fmla="*/ 14 w 381"/>
                <a:gd name="T73" fmla="*/ 59 h 439"/>
                <a:gd name="T74" fmla="*/ 210 w 381"/>
                <a:gd name="T75" fmla="*/ 59 h 439"/>
                <a:gd name="T76" fmla="*/ 210 w 381"/>
                <a:gd name="T77" fmla="*/ 116 h 439"/>
                <a:gd name="T78" fmla="*/ 299 w 381"/>
                <a:gd name="T79" fmla="*/ 84 h 439"/>
                <a:gd name="T80" fmla="*/ 299 w 381"/>
                <a:gd name="T81" fmla="*/ 75 h 439"/>
                <a:gd name="T82" fmla="*/ 344 w 381"/>
                <a:gd name="T83" fmla="*/ 89 h 439"/>
                <a:gd name="T84" fmla="*/ 358 w 381"/>
                <a:gd name="T85" fmla="*/ 134 h 439"/>
                <a:gd name="T86" fmla="*/ 349 w 381"/>
                <a:gd name="T87" fmla="*/ 134 h 439"/>
                <a:gd name="T88" fmla="*/ 336 w 381"/>
                <a:gd name="T89" fmla="*/ 97 h 439"/>
                <a:gd name="T90" fmla="*/ 299 w 381"/>
                <a:gd name="T91" fmla="*/ 84 h 439"/>
                <a:gd name="T92" fmla="*/ 321 w 381"/>
                <a:gd name="T93" fmla="*/ 112 h 439"/>
                <a:gd name="T94" fmla="*/ 329 w 381"/>
                <a:gd name="T95" fmla="*/ 134 h 439"/>
                <a:gd name="T96" fmla="*/ 339 w 381"/>
                <a:gd name="T97" fmla="*/ 134 h 439"/>
                <a:gd name="T98" fmla="*/ 329 w 381"/>
                <a:gd name="T99" fmla="*/ 104 h 439"/>
                <a:gd name="T100" fmla="*/ 299 w 381"/>
                <a:gd name="T101" fmla="*/ 94 h 439"/>
                <a:gd name="T102" fmla="*/ 299 w 381"/>
                <a:gd name="T103" fmla="*/ 104 h 439"/>
                <a:gd name="T104" fmla="*/ 321 w 381"/>
                <a:gd name="T105" fmla="*/ 112 h 439"/>
                <a:gd name="T106" fmla="*/ 351 w 381"/>
                <a:gd name="T107" fmla="*/ 82 h 439"/>
                <a:gd name="T108" fmla="*/ 368 w 381"/>
                <a:gd name="T109" fmla="*/ 134 h 439"/>
                <a:gd name="T110" fmla="*/ 378 w 381"/>
                <a:gd name="T111" fmla="*/ 134 h 439"/>
                <a:gd name="T112" fmla="*/ 359 w 381"/>
                <a:gd name="T113" fmla="*/ 74 h 439"/>
                <a:gd name="T114" fmla="*/ 299 w 381"/>
                <a:gd name="T115" fmla="*/ 55 h 439"/>
                <a:gd name="T116" fmla="*/ 299 w 381"/>
                <a:gd name="T117" fmla="*/ 65 h 439"/>
                <a:gd name="T118" fmla="*/ 351 w 381"/>
                <a:gd name="T119" fmla="*/ 82 h 4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81" h="439">
                  <a:moveTo>
                    <a:pt x="302" y="116"/>
                  </a:moveTo>
                  <a:cubicBezTo>
                    <a:pt x="224" y="116"/>
                    <a:pt x="224" y="116"/>
                    <a:pt x="224" y="116"/>
                  </a:cubicBezTo>
                  <a:cubicBezTo>
                    <a:pt x="224" y="38"/>
                    <a:pt x="224" y="38"/>
                    <a:pt x="224" y="38"/>
                  </a:cubicBezTo>
                  <a:cubicBezTo>
                    <a:pt x="224" y="17"/>
                    <a:pt x="207" y="0"/>
                    <a:pt x="186" y="0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17" y="0"/>
                    <a:pt x="0" y="17"/>
                    <a:pt x="0" y="38"/>
                  </a:cubicBezTo>
                  <a:cubicBezTo>
                    <a:pt x="0" y="402"/>
                    <a:pt x="0" y="402"/>
                    <a:pt x="0" y="402"/>
                  </a:cubicBezTo>
                  <a:cubicBezTo>
                    <a:pt x="0" y="422"/>
                    <a:pt x="17" y="439"/>
                    <a:pt x="37" y="439"/>
                  </a:cubicBezTo>
                  <a:cubicBezTo>
                    <a:pt x="186" y="439"/>
                    <a:pt x="186" y="439"/>
                    <a:pt x="186" y="439"/>
                  </a:cubicBezTo>
                  <a:cubicBezTo>
                    <a:pt x="207" y="439"/>
                    <a:pt x="224" y="422"/>
                    <a:pt x="224" y="402"/>
                  </a:cubicBezTo>
                  <a:cubicBezTo>
                    <a:pt x="224" y="250"/>
                    <a:pt x="224" y="250"/>
                    <a:pt x="224" y="250"/>
                  </a:cubicBezTo>
                  <a:cubicBezTo>
                    <a:pt x="239" y="258"/>
                    <a:pt x="239" y="258"/>
                    <a:pt x="239" y="258"/>
                  </a:cubicBezTo>
                  <a:cubicBezTo>
                    <a:pt x="253" y="266"/>
                    <a:pt x="266" y="273"/>
                    <a:pt x="280" y="281"/>
                  </a:cubicBezTo>
                  <a:cubicBezTo>
                    <a:pt x="265" y="249"/>
                    <a:pt x="265" y="249"/>
                    <a:pt x="265" y="249"/>
                  </a:cubicBezTo>
                  <a:cubicBezTo>
                    <a:pt x="302" y="249"/>
                    <a:pt x="302" y="249"/>
                    <a:pt x="302" y="249"/>
                  </a:cubicBezTo>
                  <a:cubicBezTo>
                    <a:pt x="316" y="249"/>
                    <a:pt x="316" y="239"/>
                    <a:pt x="316" y="238"/>
                  </a:cubicBezTo>
                  <a:cubicBezTo>
                    <a:pt x="316" y="127"/>
                    <a:pt x="316" y="127"/>
                    <a:pt x="316" y="127"/>
                  </a:cubicBezTo>
                  <a:cubicBezTo>
                    <a:pt x="316" y="116"/>
                    <a:pt x="303" y="116"/>
                    <a:pt x="302" y="116"/>
                  </a:cubicBezTo>
                  <a:close/>
                  <a:moveTo>
                    <a:pt x="87" y="27"/>
                  </a:moveTo>
                  <a:cubicBezTo>
                    <a:pt x="137" y="27"/>
                    <a:pt x="137" y="27"/>
                    <a:pt x="137" y="27"/>
                  </a:cubicBezTo>
                  <a:cubicBezTo>
                    <a:pt x="137" y="35"/>
                    <a:pt x="137" y="35"/>
                    <a:pt x="137" y="35"/>
                  </a:cubicBezTo>
                  <a:cubicBezTo>
                    <a:pt x="87" y="35"/>
                    <a:pt x="87" y="35"/>
                    <a:pt x="87" y="35"/>
                  </a:cubicBezTo>
                  <a:lnTo>
                    <a:pt x="87" y="27"/>
                  </a:lnTo>
                  <a:close/>
                  <a:moveTo>
                    <a:pt x="112" y="420"/>
                  </a:moveTo>
                  <a:cubicBezTo>
                    <a:pt x="103" y="420"/>
                    <a:pt x="96" y="413"/>
                    <a:pt x="96" y="404"/>
                  </a:cubicBezTo>
                  <a:cubicBezTo>
                    <a:pt x="96" y="396"/>
                    <a:pt x="103" y="389"/>
                    <a:pt x="112" y="389"/>
                  </a:cubicBezTo>
                  <a:cubicBezTo>
                    <a:pt x="120" y="389"/>
                    <a:pt x="127" y="396"/>
                    <a:pt x="127" y="404"/>
                  </a:cubicBezTo>
                  <a:cubicBezTo>
                    <a:pt x="127" y="413"/>
                    <a:pt x="120" y="420"/>
                    <a:pt x="112" y="420"/>
                  </a:cubicBezTo>
                  <a:close/>
                  <a:moveTo>
                    <a:pt x="210" y="116"/>
                  </a:moveTo>
                  <a:cubicBezTo>
                    <a:pt x="107" y="116"/>
                    <a:pt x="107" y="116"/>
                    <a:pt x="107" y="116"/>
                  </a:cubicBezTo>
                  <a:cubicBezTo>
                    <a:pt x="93" y="116"/>
                    <a:pt x="93" y="127"/>
                    <a:pt x="93" y="127"/>
                  </a:cubicBezTo>
                  <a:cubicBezTo>
                    <a:pt x="93" y="238"/>
                    <a:pt x="93" y="238"/>
                    <a:pt x="93" y="238"/>
                  </a:cubicBezTo>
                  <a:cubicBezTo>
                    <a:pt x="93" y="249"/>
                    <a:pt x="106" y="249"/>
                    <a:pt x="107" y="249"/>
                  </a:cubicBezTo>
                  <a:cubicBezTo>
                    <a:pt x="210" y="249"/>
                    <a:pt x="210" y="249"/>
                    <a:pt x="210" y="249"/>
                  </a:cubicBezTo>
                  <a:cubicBezTo>
                    <a:pt x="210" y="372"/>
                    <a:pt x="210" y="372"/>
                    <a:pt x="210" y="372"/>
                  </a:cubicBezTo>
                  <a:cubicBezTo>
                    <a:pt x="14" y="372"/>
                    <a:pt x="14" y="372"/>
                    <a:pt x="14" y="372"/>
                  </a:cubicBezTo>
                  <a:cubicBezTo>
                    <a:pt x="14" y="59"/>
                    <a:pt x="14" y="59"/>
                    <a:pt x="14" y="59"/>
                  </a:cubicBezTo>
                  <a:cubicBezTo>
                    <a:pt x="210" y="59"/>
                    <a:pt x="210" y="59"/>
                    <a:pt x="210" y="59"/>
                  </a:cubicBezTo>
                  <a:lnTo>
                    <a:pt x="210" y="116"/>
                  </a:lnTo>
                  <a:close/>
                  <a:moveTo>
                    <a:pt x="299" y="84"/>
                  </a:moveTo>
                  <a:cubicBezTo>
                    <a:pt x="299" y="75"/>
                    <a:pt x="299" y="75"/>
                    <a:pt x="299" y="75"/>
                  </a:cubicBezTo>
                  <a:cubicBezTo>
                    <a:pt x="315" y="73"/>
                    <a:pt x="332" y="77"/>
                    <a:pt x="344" y="89"/>
                  </a:cubicBezTo>
                  <a:cubicBezTo>
                    <a:pt x="356" y="101"/>
                    <a:pt x="360" y="118"/>
                    <a:pt x="358" y="134"/>
                  </a:cubicBezTo>
                  <a:cubicBezTo>
                    <a:pt x="349" y="134"/>
                    <a:pt x="349" y="134"/>
                    <a:pt x="349" y="134"/>
                  </a:cubicBezTo>
                  <a:cubicBezTo>
                    <a:pt x="350" y="120"/>
                    <a:pt x="346" y="107"/>
                    <a:pt x="336" y="97"/>
                  </a:cubicBezTo>
                  <a:cubicBezTo>
                    <a:pt x="326" y="87"/>
                    <a:pt x="313" y="83"/>
                    <a:pt x="299" y="84"/>
                  </a:cubicBezTo>
                  <a:close/>
                  <a:moveTo>
                    <a:pt x="321" y="112"/>
                  </a:moveTo>
                  <a:cubicBezTo>
                    <a:pt x="327" y="117"/>
                    <a:pt x="330" y="126"/>
                    <a:pt x="329" y="134"/>
                  </a:cubicBezTo>
                  <a:cubicBezTo>
                    <a:pt x="339" y="134"/>
                    <a:pt x="339" y="134"/>
                    <a:pt x="339" y="134"/>
                  </a:cubicBezTo>
                  <a:cubicBezTo>
                    <a:pt x="340" y="123"/>
                    <a:pt x="337" y="112"/>
                    <a:pt x="329" y="104"/>
                  </a:cubicBezTo>
                  <a:cubicBezTo>
                    <a:pt x="321" y="96"/>
                    <a:pt x="310" y="93"/>
                    <a:pt x="299" y="94"/>
                  </a:cubicBezTo>
                  <a:cubicBezTo>
                    <a:pt x="299" y="104"/>
                    <a:pt x="299" y="104"/>
                    <a:pt x="299" y="104"/>
                  </a:cubicBezTo>
                  <a:cubicBezTo>
                    <a:pt x="307" y="103"/>
                    <a:pt x="316" y="106"/>
                    <a:pt x="321" y="112"/>
                  </a:cubicBezTo>
                  <a:close/>
                  <a:moveTo>
                    <a:pt x="351" y="82"/>
                  </a:moveTo>
                  <a:cubicBezTo>
                    <a:pt x="365" y="96"/>
                    <a:pt x="371" y="115"/>
                    <a:pt x="368" y="134"/>
                  </a:cubicBezTo>
                  <a:cubicBezTo>
                    <a:pt x="378" y="134"/>
                    <a:pt x="378" y="134"/>
                    <a:pt x="378" y="134"/>
                  </a:cubicBezTo>
                  <a:cubicBezTo>
                    <a:pt x="381" y="112"/>
                    <a:pt x="375" y="90"/>
                    <a:pt x="359" y="74"/>
                  </a:cubicBezTo>
                  <a:cubicBezTo>
                    <a:pt x="343" y="58"/>
                    <a:pt x="321" y="52"/>
                    <a:pt x="299" y="55"/>
                  </a:cubicBezTo>
                  <a:cubicBezTo>
                    <a:pt x="299" y="65"/>
                    <a:pt x="299" y="65"/>
                    <a:pt x="299" y="65"/>
                  </a:cubicBezTo>
                  <a:cubicBezTo>
                    <a:pt x="318" y="62"/>
                    <a:pt x="337" y="68"/>
                    <a:pt x="351" y="82"/>
                  </a:cubicBez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grpSp>
        <p:nvGrpSpPr>
          <p:cNvPr id="313" name="Group 131">
            <a:extLst>
              <a:ext uri="{FF2B5EF4-FFF2-40B4-BE49-F238E27FC236}">
                <a16:creationId xmlns:a16="http://schemas.microsoft.com/office/drawing/2014/main" xmlns="" id="{FFB428E0-8919-43B4-892E-C8C128B3A70E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990485" y="1621831"/>
            <a:ext cx="594039" cy="594040"/>
            <a:chOff x="1805" y="3012"/>
            <a:chExt cx="457" cy="457"/>
          </a:xfrm>
          <a:effectLst>
            <a:outerShdw blurRad="101600" dist="76200" dir="2700000" algn="ctr" rotWithShape="0">
              <a:srgbClr val="000000">
                <a:alpha val="29000"/>
              </a:srgbClr>
            </a:outerShdw>
          </a:effectLst>
        </p:grpSpPr>
        <p:sp>
          <p:nvSpPr>
            <p:cNvPr id="314" name="AutoShape 130">
              <a:extLst>
                <a:ext uri="{FF2B5EF4-FFF2-40B4-BE49-F238E27FC236}">
                  <a16:creationId xmlns:a16="http://schemas.microsoft.com/office/drawing/2014/main" xmlns="" id="{54489692-C6E1-4E78-AD60-6FDAA2FB557C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805" y="3012"/>
              <a:ext cx="457" cy="45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15" name="Oval 132">
              <a:extLst>
                <a:ext uri="{FF2B5EF4-FFF2-40B4-BE49-F238E27FC236}">
                  <a16:creationId xmlns:a16="http://schemas.microsoft.com/office/drawing/2014/main" xmlns="" id="{BC61042E-B959-4518-AB4B-BAB076EC239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6" y="3011"/>
              <a:ext cx="457" cy="457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16" name="Freeform 133">
              <a:extLst>
                <a:ext uri="{FF2B5EF4-FFF2-40B4-BE49-F238E27FC236}">
                  <a16:creationId xmlns:a16="http://schemas.microsoft.com/office/drawing/2014/main" xmlns="" id="{AA4F05FE-56B3-4815-8660-A2D8619D6BA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29" y="3033"/>
              <a:ext cx="414" cy="412"/>
            </a:xfrm>
            <a:custGeom>
              <a:avLst/>
              <a:gdLst>
                <a:gd name="T0" fmla="*/ 168 w 456"/>
                <a:gd name="T1" fmla="*/ 84 h 455"/>
                <a:gd name="T2" fmla="*/ 175 w 456"/>
                <a:gd name="T3" fmla="*/ 103 h 455"/>
                <a:gd name="T4" fmla="*/ 190 w 456"/>
                <a:gd name="T5" fmla="*/ 127 h 455"/>
                <a:gd name="T6" fmla="*/ 222 w 456"/>
                <a:gd name="T7" fmla="*/ 115 h 455"/>
                <a:gd name="T8" fmla="*/ 187 w 456"/>
                <a:gd name="T9" fmla="*/ 109 h 455"/>
                <a:gd name="T10" fmla="*/ 248 w 456"/>
                <a:gd name="T11" fmla="*/ 191 h 455"/>
                <a:gd name="T12" fmla="*/ 329 w 456"/>
                <a:gd name="T13" fmla="*/ 118 h 455"/>
                <a:gd name="T14" fmla="*/ 169 w 456"/>
                <a:gd name="T15" fmla="*/ 79 h 455"/>
                <a:gd name="T16" fmla="*/ 136 w 456"/>
                <a:gd name="T17" fmla="*/ 70 h 455"/>
                <a:gd name="T18" fmla="*/ 375 w 456"/>
                <a:gd name="T19" fmla="*/ 187 h 455"/>
                <a:gd name="T20" fmla="*/ 389 w 456"/>
                <a:gd name="T21" fmla="*/ 209 h 455"/>
                <a:gd name="T22" fmla="*/ 430 w 456"/>
                <a:gd name="T23" fmla="*/ 217 h 455"/>
                <a:gd name="T24" fmla="*/ 437 w 456"/>
                <a:gd name="T25" fmla="*/ 210 h 455"/>
                <a:gd name="T26" fmla="*/ 400 w 456"/>
                <a:gd name="T27" fmla="*/ 143 h 455"/>
                <a:gd name="T28" fmla="*/ 398 w 456"/>
                <a:gd name="T29" fmla="*/ 172 h 455"/>
                <a:gd name="T30" fmla="*/ 214 w 456"/>
                <a:gd name="T31" fmla="*/ 295 h 455"/>
                <a:gd name="T32" fmla="*/ 157 w 456"/>
                <a:gd name="T33" fmla="*/ 275 h 455"/>
                <a:gd name="T34" fmla="*/ 158 w 456"/>
                <a:gd name="T35" fmla="*/ 241 h 455"/>
                <a:gd name="T36" fmla="*/ 212 w 456"/>
                <a:gd name="T37" fmla="*/ 197 h 455"/>
                <a:gd name="T38" fmla="*/ 213 w 456"/>
                <a:gd name="T39" fmla="*/ 183 h 455"/>
                <a:gd name="T40" fmla="*/ 205 w 456"/>
                <a:gd name="T41" fmla="*/ 143 h 455"/>
                <a:gd name="T42" fmla="*/ 154 w 456"/>
                <a:gd name="T43" fmla="*/ 156 h 455"/>
                <a:gd name="T44" fmla="*/ 174 w 456"/>
                <a:gd name="T45" fmla="*/ 113 h 455"/>
                <a:gd name="T46" fmla="*/ 143 w 456"/>
                <a:gd name="T47" fmla="*/ 88 h 455"/>
                <a:gd name="T48" fmla="*/ 136 w 456"/>
                <a:gd name="T49" fmla="*/ 107 h 455"/>
                <a:gd name="T50" fmla="*/ 72 w 456"/>
                <a:gd name="T51" fmla="*/ 105 h 455"/>
                <a:gd name="T52" fmla="*/ 51 w 456"/>
                <a:gd name="T53" fmla="*/ 168 h 455"/>
                <a:gd name="T54" fmla="*/ 83 w 456"/>
                <a:gd name="T55" fmla="*/ 239 h 455"/>
                <a:gd name="T56" fmla="*/ 142 w 456"/>
                <a:gd name="T57" fmla="*/ 282 h 455"/>
                <a:gd name="T58" fmla="*/ 204 w 456"/>
                <a:gd name="T59" fmla="*/ 373 h 455"/>
                <a:gd name="T60" fmla="*/ 260 w 456"/>
                <a:gd name="T61" fmla="*/ 394 h 455"/>
                <a:gd name="T62" fmla="*/ 439 w 456"/>
                <a:gd name="T63" fmla="*/ 236 h 455"/>
                <a:gd name="T64" fmla="*/ 344 w 456"/>
                <a:gd name="T65" fmla="*/ 269 h 455"/>
                <a:gd name="T66" fmla="*/ 372 w 456"/>
                <a:gd name="T67" fmla="*/ 157 h 455"/>
                <a:gd name="T68" fmla="*/ 381 w 456"/>
                <a:gd name="T69" fmla="*/ 153 h 455"/>
                <a:gd name="T70" fmla="*/ 333 w 456"/>
                <a:gd name="T71" fmla="*/ 84 h 455"/>
                <a:gd name="T72" fmla="*/ 336 w 456"/>
                <a:gd name="T73" fmla="*/ 54 h 455"/>
                <a:gd name="T74" fmla="*/ 287 w 456"/>
                <a:gd name="T75" fmla="*/ 27 h 455"/>
                <a:gd name="T76" fmla="*/ 226 w 456"/>
                <a:gd name="T77" fmla="*/ 40 h 455"/>
                <a:gd name="T78" fmla="*/ 212 w 456"/>
                <a:gd name="T79" fmla="*/ 71 h 455"/>
                <a:gd name="T80" fmla="*/ 251 w 456"/>
                <a:gd name="T81" fmla="*/ 127 h 455"/>
                <a:gd name="T82" fmla="*/ 367 w 456"/>
                <a:gd name="T83" fmla="*/ 173 h 455"/>
                <a:gd name="T84" fmla="*/ 410 w 456"/>
                <a:gd name="T85" fmla="*/ 216 h 455"/>
                <a:gd name="T86" fmla="*/ 161 w 456"/>
                <a:gd name="T87" fmla="*/ 129 h 455"/>
                <a:gd name="T88" fmla="*/ 75 w 456"/>
                <a:gd name="T89" fmla="*/ 90 h 455"/>
                <a:gd name="T90" fmla="*/ 128 w 456"/>
                <a:gd name="T91" fmla="*/ 60 h 455"/>
                <a:gd name="T92" fmla="*/ 171 w 456"/>
                <a:gd name="T93" fmla="*/ 262 h 455"/>
                <a:gd name="T94" fmla="*/ 132 w 456"/>
                <a:gd name="T95" fmla="*/ 73 h 455"/>
                <a:gd name="T96" fmla="*/ 125 w 456"/>
                <a:gd name="T97" fmla="*/ 82 h 455"/>
                <a:gd name="T98" fmla="*/ 202 w 456"/>
                <a:gd name="T99" fmla="*/ 275 h 455"/>
                <a:gd name="T100" fmla="*/ 130 w 456"/>
                <a:gd name="T101" fmla="*/ 59 h 455"/>
                <a:gd name="T102" fmla="*/ 109 w 456"/>
                <a:gd name="T103" fmla="*/ 77 h 455"/>
                <a:gd name="T104" fmla="*/ 80 w 456"/>
                <a:gd name="T105" fmla="*/ 77 h 455"/>
                <a:gd name="T106" fmla="*/ 104 w 456"/>
                <a:gd name="T107" fmla="*/ 88 h 455"/>
                <a:gd name="T108" fmla="*/ 84 w 456"/>
                <a:gd name="T109" fmla="*/ 95 h 455"/>
                <a:gd name="T110" fmla="*/ 114 w 456"/>
                <a:gd name="T111" fmla="*/ 107 h 455"/>
                <a:gd name="T112" fmla="*/ 176 w 456"/>
                <a:gd name="T113" fmla="*/ 84 h 455"/>
                <a:gd name="T114" fmla="*/ 138 w 456"/>
                <a:gd name="T115" fmla="*/ 43 h 455"/>
                <a:gd name="T116" fmla="*/ 171 w 456"/>
                <a:gd name="T117" fmla="*/ 48 h 455"/>
                <a:gd name="T118" fmla="*/ 164 w 456"/>
                <a:gd name="T119" fmla="*/ 70 h 455"/>
                <a:gd name="T120" fmla="*/ 195 w 456"/>
                <a:gd name="T121" fmla="*/ 51 h 455"/>
                <a:gd name="T122" fmla="*/ 161 w 456"/>
                <a:gd name="T123" fmla="*/ 37 h 4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456" h="455">
                  <a:moveTo>
                    <a:pt x="228" y="0"/>
                  </a:moveTo>
                  <a:cubicBezTo>
                    <a:pt x="102" y="0"/>
                    <a:pt x="0" y="102"/>
                    <a:pt x="0" y="228"/>
                  </a:cubicBezTo>
                  <a:cubicBezTo>
                    <a:pt x="0" y="353"/>
                    <a:pt x="102" y="455"/>
                    <a:pt x="228" y="455"/>
                  </a:cubicBezTo>
                  <a:cubicBezTo>
                    <a:pt x="354" y="455"/>
                    <a:pt x="456" y="353"/>
                    <a:pt x="456" y="228"/>
                  </a:cubicBezTo>
                  <a:cubicBezTo>
                    <a:pt x="456" y="102"/>
                    <a:pt x="354" y="0"/>
                    <a:pt x="228" y="0"/>
                  </a:cubicBezTo>
                  <a:close/>
                  <a:moveTo>
                    <a:pt x="228" y="438"/>
                  </a:moveTo>
                  <a:cubicBezTo>
                    <a:pt x="112" y="438"/>
                    <a:pt x="18" y="344"/>
                    <a:pt x="18" y="228"/>
                  </a:cubicBezTo>
                  <a:cubicBezTo>
                    <a:pt x="18" y="112"/>
                    <a:pt x="112" y="17"/>
                    <a:pt x="228" y="17"/>
                  </a:cubicBezTo>
                  <a:cubicBezTo>
                    <a:pt x="344" y="17"/>
                    <a:pt x="438" y="112"/>
                    <a:pt x="438" y="228"/>
                  </a:cubicBezTo>
                  <a:cubicBezTo>
                    <a:pt x="438" y="344"/>
                    <a:pt x="344" y="438"/>
                    <a:pt x="228" y="438"/>
                  </a:cubicBezTo>
                  <a:close/>
                  <a:moveTo>
                    <a:pt x="201" y="96"/>
                  </a:moveTo>
                  <a:cubicBezTo>
                    <a:pt x="200" y="94"/>
                    <a:pt x="198" y="95"/>
                    <a:pt x="195" y="95"/>
                  </a:cubicBezTo>
                  <a:cubicBezTo>
                    <a:pt x="193" y="95"/>
                    <a:pt x="193" y="93"/>
                    <a:pt x="191" y="91"/>
                  </a:cubicBezTo>
                  <a:cubicBezTo>
                    <a:pt x="189" y="89"/>
                    <a:pt x="188" y="89"/>
                    <a:pt x="185" y="89"/>
                  </a:cubicBezTo>
                  <a:cubicBezTo>
                    <a:pt x="182" y="88"/>
                    <a:pt x="181" y="91"/>
                    <a:pt x="180" y="92"/>
                  </a:cubicBezTo>
                  <a:cubicBezTo>
                    <a:pt x="180" y="92"/>
                    <a:pt x="179" y="91"/>
                    <a:pt x="178" y="91"/>
                  </a:cubicBezTo>
                  <a:cubicBezTo>
                    <a:pt x="176" y="91"/>
                    <a:pt x="177" y="92"/>
                    <a:pt x="176" y="93"/>
                  </a:cubicBezTo>
                  <a:cubicBezTo>
                    <a:pt x="175" y="93"/>
                    <a:pt x="175" y="92"/>
                    <a:pt x="176" y="90"/>
                  </a:cubicBezTo>
                  <a:cubicBezTo>
                    <a:pt x="177" y="89"/>
                    <a:pt x="176" y="89"/>
                    <a:pt x="175" y="86"/>
                  </a:cubicBezTo>
                  <a:cubicBezTo>
                    <a:pt x="174" y="83"/>
                    <a:pt x="171" y="84"/>
                    <a:pt x="168" y="84"/>
                  </a:cubicBezTo>
                  <a:cubicBezTo>
                    <a:pt x="166" y="85"/>
                    <a:pt x="163" y="88"/>
                    <a:pt x="163" y="89"/>
                  </a:cubicBezTo>
                  <a:cubicBezTo>
                    <a:pt x="163" y="90"/>
                    <a:pt x="164" y="90"/>
                    <a:pt x="164" y="91"/>
                  </a:cubicBezTo>
                  <a:cubicBezTo>
                    <a:pt x="165" y="92"/>
                    <a:pt x="164" y="91"/>
                    <a:pt x="163" y="92"/>
                  </a:cubicBezTo>
                  <a:cubicBezTo>
                    <a:pt x="162" y="94"/>
                    <a:pt x="164" y="93"/>
                    <a:pt x="165" y="94"/>
                  </a:cubicBezTo>
                  <a:cubicBezTo>
                    <a:pt x="167" y="95"/>
                    <a:pt x="166" y="95"/>
                    <a:pt x="165" y="95"/>
                  </a:cubicBezTo>
                  <a:cubicBezTo>
                    <a:pt x="165" y="96"/>
                    <a:pt x="163" y="94"/>
                    <a:pt x="162" y="94"/>
                  </a:cubicBezTo>
                  <a:cubicBezTo>
                    <a:pt x="161" y="93"/>
                    <a:pt x="161" y="91"/>
                    <a:pt x="160" y="89"/>
                  </a:cubicBezTo>
                  <a:cubicBezTo>
                    <a:pt x="160" y="87"/>
                    <a:pt x="162" y="86"/>
                    <a:pt x="163" y="85"/>
                  </a:cubicBezTo>
                  <a:cubicBezTo>
                    <a:pt x="164" y="85"/>
                    <a:pt x="168" y="85"/>
                    <a:pt x="164" y="83"/>
                  </a:cubicBezTo>
                  <a:cubicBezTo>
                    <a:pt x="160" y="82"/>
                    <a:pt x="155" y="86"/>
                    <a:pt x="153" y="88"/>
                  </a:cubicBezTo>
                  <a:cubicBezTo>
                    <a:pt x="152" y="90"/>
                    <a:pt x="152" y="93"/>
                    <a:pt x="152" y="95"/>
                  </a:cubicBezTo>
                  <a:cubicBezTo>
                    <a:pt x="153" y="97"/>
                    <a:pt x="155" y="96"/>
                    <a:pt x="155" y="96"/>
                  </a:cubicBezTo>
                  <a:cubicBezTo>
                    <a:pt x="156" y="95"/>
                    <a:pt x="157" y="96"/>
                    <a:pt x="157" y="97"/>
                  </a:cubicBezTo>
                  <a:cubicBezTo>
                    <a:pt x="156" y="98"/>
                    <a:pt x="156" y="97"/>
                    <a:pt x="154" y="97"/>
                  </a:cubicBezTo>
                  <a:cubicBezTo>
                    <a:pt x="153" y="97"/>
                    <a:pt x="154" y="98"/>
                    <a:pt x="155" y="100"/>
                  </a:cubicBezTo>
                  <a:cubicBezTo>
                    <a:pt x="156" y="101"/>
                    <a:pt x="160" y="99"/>
                    <a:pt x="161" y="101"/>
                  </a:cubicBezTo>
                  <a:cubicBezTo>
                    <a:pt x="162" y="102"/>
                    <a:pt x="164" y="102"/>
                    <a:pt x="165" y="102"/>
                  </a:cubicBezTo>
                  <a:cubicBezTo>
                    <a:pt x="167" y="102"/>
                    <a:pt x="170" y="102"/>
                    <a:pt x="171" y="102"/>
                  </a:cubicBezTo>
                  <a:cubicBezTo>
                    <a:pt x="172" y="103"/>
                    <a:pt x="172" y="102"/>
                    <a:pt x="173" y="102"/>
                  </a:cubicBezTo>
                  <a:cubicBezTo>
                    <a:pt x="173" y="102"/>
                    <a:pt x="174" y="103"/>
                    <a:pt x="175" y="103"/>
                  </a:cubicBezTo>
                  <a:cubicBezTo>
                    <a:pt x="176" y="103"/>
                    <a:pt x="174" y="102"/>
                    <a:pt x="175" y="102"/>
                  </a:cubicBezTo>
                  <a:cubicBezTo>
                    <a:pt x="176" y="102"/>
                    <a:pt x="178" y="102"/>
                    <a:pt x="180" y="102"/>
                  </a:cubicBezTo>
                  <a:cubicBezTo>
                    <a:pt x="182" y="103"/>
                    <a:pt x="180" y="101"/>
                    <a:pt x="181" y="100"/>
                  </a:cubicBezTo>
                  <a:cubicBezTo>
                    <a:pt x="181" y="99"/>
                    <a:pt x="184" y="101"/>
                    <a:pt x="185" y="103"/>
                  </a:cubicBezTo>
                  <a:cubicBezTo>
                    <a:pt x="185" y="104"/>
                    <a:pt x="187" y="104"/>
                    <a:pt x="189" y="105"/>
                  </a:cubicBezTo>
                  <a:cubicBezTo>
                    <a:pt x="190" y="105"/>
                    <a:pt x="189" y="105"/>
                    <a:pt x="189" y="106"/>
                  </a:cubicBezTo>
                  <a:cubicBezTo>
                    <a:pt x="188" y="106"/>
                    <a:pt x="188" y="106"/>
                    <a:pt x="187" y="106"/>
                  </a:cubicBezTo>
                  <a:cubicBezTo>
                    <a:pt x="185" y="106"/>
                    <a:pt x="186" y="107"/>
                    <a:pt x="187" y="108"/>
                  </a:cubicBezTo>
                  <a:cubicBezTo>
                    <a:pt x="188" y="109"/>
                    <a:pt x="189" y="107"/>
                    <a:pt x="190" y="107"/>
                  </a:cubicBezTo>
                  <a:cubicBezTo>
                    <a:pt x="191" y="107"/>
                    <a:pt x="191" y="107"/>
                    <a:pt x="193" y="108"/>
                  </a:cubicBezTo>
                  <a:cubicBezTo>
                    <a:pt x="194" y="110"/>
                    <a:pt x="196" y="111"/>
                    <a:pt x="197" y="113"/>
                  </a:cubicBezTo>
                  <a:cubicBezTo>
                    <a:pt x="198" y="114"/>
                    <a:pt x="198" y="114"/>
                    <a:pt x="197" y="115"/>
                  </a:cubicBezTo>
                  <a:cubicBezTo>
                    <a:pt x="196" y="116"/>
                    <a:pt x="194" y="117"/>
                    <a:pt x="193" y="119"/>
                  </a:cubicBezTo>
                  <a:cubicBezTo>
                    <a:pt x="192" y="120"/>
                    <a:pt x="193" y="120"/>
                    <a:pt x="194" y="122"/>
                  </a:cubicBezTo>
                  <a:cubicBezTo>
                    <a:pt x="195" y="123"/>
                    <a:pt x="192" y="122"/>
                    <a:pt x="191" y="123"/>
                  </a:cubicBezTo>
                  <a:cubicBezTo>
                    <a:pt x="189" y="123"/>
                    <a:pt x="189" y="123"/>
                    <a:pt x="187" y="122"/>
                  </a:cubicBezTo>
                  <a:cubicBezTo>
                    <a:pt x="185" y="122"/>
                    <a:pt x="184" y="123"/>
                    <a:pt x="183" y="124"/>
                  </a:cubicBezTo>
                  <a:cubicBezTo>
                    <a:pt x="182" y="125"/>
                    <a:pt x="182" y="126"/>
                    <a:pt x="184" y="127"/>
                  </a:cubicBezTo>
                  <a:cubicBezTo>
                    <a:pt x="186" y="128"/>
                    <a:pt x="187" y="127"/>
                    <a:pt x="189" y="126"/>
                  </a:cubicBezTo>
                  <a:cubicBezTo>
                    <a:pt x="190" y="125"/>
                    <a:pt x="190" y="127"/>
                    <a:pt x="190" y="127"/>
                  </a:cubicBezTo>
                  <a:cubicBezTo>
                    <a:pt x="191" y="128"/>
                    <a:pt x="193" y="125"/>
                    <a:pt x="194" y="127"/>
                  </a:cubicBezTo>
                  <a:cubicBezTo>
                    <a:pt x="195" y="128"/>
                    <a:pt x="197" y="129"/>
                    <a:pt x="198" y="129"/>
                  </a:cubicBezTo>
                  <a:cubicBezTo>
                    <a:pt x="199" y="129"/>
                    <a:pt x="199" y="129"/>
                    <a:pt x="199" y="131"/>
                  </a:cubicBezTo>
                  <a:cubicBezTo>
                    <a:pt x="200" y="133"/>
                    <a:pt x="206" y="135"/>
                    <a:pt x="208" y="136"/>
                  </a:cubicBezTo>
                  <a:cubicBezTo>
                    <a:pt x="209" y="136"/>
                    <a:pt x="211" y="136"/>
                    <a:pt x="214" y="137"/>
                  </a:cubicBezTo>
                  <a:cubicBezTo>
                    <a:pt x="216" y="137"/>
                    <a:pt x="214" y="135"/>
                    <a:pt x="212" y="134"/>
                  </a:cubicBezTo>
                  <a:cubicBezTo>
                    <a:pt x="211" y="133"/>
                    <a:pt x="209" y="131"/>
                    <a:pt x="208" y="130"/>
                  </a:cubicBezTo>
                  <a:cubicBezTo>
                    <a:pt x="206" y="128"/>
                    <a:pt x="211" y="131"/>
                    <a:pt x="212" y="132"/>
                  </a:cubicBezTo>
                  <a:cubicBezTo>
                    <a:pt x="214" y="133"/>
                    <a:pt x="214" y="132"/>
                    <a:pt x="216" y="133"/>
                  </a:cubicBezTo>
                  <a:cubicBezTo>
                    <a:pt x="218" y="135"/>
                    <a:pt x="217" y="133"/>
                    <a:pt x="217" y="131"/>
                  </a:cubicBezTo>
                  <a:cubicBezTo>
                    <a:pt x="218" y="130"/>
                    <a:pt x="217" y="128"/>
                    <a:pt x="216" y="127"/>
                  </a:cubicBezTo>
                  <a:cubicBezTo>
                    <a:pt x="214" y="125"/>
                    <a:pt x="214" y="125"/>
                    <a:pt x="213" y="124"/>
                  </a:cubicBezTo>
                  <a:cubicBezTo>
                    <a:pt x="212" y="122"/>
                    <a:pt x="212" y="122"/>
                    <a:pt x="210" y="121"/>
                  </a:cubicBezTo>
                  <a:cubicBezTo>
                    <a:pt x="208" y="119"/>
                    <a:pt x="211" y="120"/>
                    <a:pt x="211" y="118"/>
                  </a:cubicBezTo>
                  <a:cubicBezTo>
                    <a:pt x="211" y="117"/>
                    <a:pt x="213" y="118"/>
                    <a:pt x="214" y="119"/>
                  </a:cubicBezTo>
                  <a:cubicBezTo>
                    <a:pt x="214" y="120"/>
                    <a:pt x="216" y="120"/>
                    <a:pt x="216" y="121"/>
                  </a:cubicBezTo>
                  <a:cubicBezTo>
                    <a:pt x="216" y="123"/>
                    <a:pt x="218" y="121"/>
                    <a:pt x="220" y="124"/>
                  </a:cubicBezTo>
                  <a:cubicBezTo>
                    <a:pt x="222" y="127"/>
                    <a:pt x="221" y="121"/>
                    <a:pt x="223" y="121"/>
                  </a:cubicBezTo>
                  <a:cubicBezTo>
                    <a:pt x="225" y="121"/>
                    <a:pt x="226" y="119"/>
                    <a:pt x="226" y="117"/>
                  </a:cubicBezTo>
                  <a:cubicBezTo>
                    <a:pt x="227" y="115"/>
                    <a:pt x="224" y="117"/>
                    <a:pt x="222" y="115"/>
                  </a:cubicBezTo>
                  <a:cubicBezTo>
                    <a:pt x="221" y="114"/>
                    <a:pt x="222" y="116"/>
                    <a:pt x="220" y="113"/>
                  </a:cubicBezTo>
                  <a:cubicBezTo>
                    <a:pt x="217" y="111"/>
                    <a:pt x="216" y="113"/>
                    <a:pt x="214" y="111"/>
                  </a:cubicBezTo>
                  <a:cubicBezTo>
                    <a:pt x="212" y="109"/>
                    <a:pt x="212" y="109"/>
                    <a:pt x="209" y="109"/>
                  </a:cubicBezTo>
                  <a:cubicBezTo>
                    <a:pt x="207" y="108"/>
                    <a:pt x="210" y="107"/>
                    <a:pt x="211" y="105"/>
                  </a:cubicBezTo>
                  <a:cubicBezTo>
                    <a:pt x="213" y="104"/>
                    <a:pt x="209" y="104"/>
                    <a:pt x="210" y="103"/>
                  </a:cubicBezTo>
                  <a:cubicBezTo>
                    <a:pt x="210" y="102"/>
                    <a:pt x="211" y="102"/>
                    <a:pt x="210" y="101"/>
                  </a:cubicBezTo>
                  <a:cubicBezTo>
                    <a:pt x="209" y="99"/>
                    <a:pt x="209" y="101"/>
                    <a:pt x="208" y="101"/>
                  </a:cubicBezTo>
                  <a:cubicBezTo>
                    <a:pt x="206" y="102"/>
                    <a:pt x="207" y="101"/>
                    <a:pt x="208" y="100"/>
                  </a:cubicBezTo>
                  <a:cubicBezTo>
                    <a:pt x="209" y="98"/>
                    <a:pt x="204" y="98"/>
                    <a:pt x="202" y="98"/>
                  </a:cubicBezTo>
                  <a:cubicBezTo>
                    <a:pt x="200" y="98"/>
                    <a:pt x="201" y="98"/>
                    <a:pt x="201" y="96"/>
                  </a:cubicBezTo>
                  <a:close/>
                  <a:moveTo>
                    <a:pt x="248" y="105"/>
                  </a:moveTo>
                  <a:cubicBezTo>
                    <a:pt x="251" y="105"/>
                    <a:pt x="250" y="104"/>
                    <a:pt x="251" y="103"/>
                  </a:cubicBezTo>
                  <a:cubicBezTo>
                    <a:pt x="251" y="102"/>
                    <a:pt x="248" y="101"/>
                    <a:pt x="246" y="100"/>
                  </a:cubicBezTo>
                  <a:cubicBezTo>
                    <a:pt x="243" y="99"/>
                    <a:pt x="243" y="102"/>
                    <a:pt x="243" y="102"/>
                  </a:cubicBezTo>
                  <a:cubicBezTo>
                    <a:pt x="243" y="103"/>
                    <a:pt x="243" y="103"/>
                    <a:pt x="243" y="104"/>
                  </a:cubicBezTo>
                  <a:cubicBezTo>
                    <a:pt x="244" y="105"/>
                    <a:pt x="246" y="105"/>
                    <a:pt x="248" y="105"/>
                  </a:cubicBezTo>
                  <a:close/>
                  <a:moveTo>
                    <a:pt x="189" y="114"/>
                  </a:moveTo>
                  <a:cubicBezTo>
                    <a:pt x="190" y="114"/>
                    <a:pt x="191" y="115"/>
                    <a:pt x="191" y="113"/>
                  </a:cubicBezTo>
                  <a:cubicBezTo>
                    <a:pt x="191" y="111"/>
                    <a:pt x="191" y="110"/>
                    <a:pt x="190" y="110"/>
                  </a:cubicBezTo>
                  <a:cubicBezTo>
                    <a:pt x="189" y="109"/>
                    <a:pt x="188" y="109"/>
                    <a:pt x="187" y="109"/>
                  </a:cubicBezTo>
                  <a:cubicBezTo>
                    <a:pt x="187" y="109"/>
                    <a:pt x="185" y="110"/>
                    <a:pt x="185" y="111"/>
                  </a:cubicBezTo>
                  <a:cubicBezTo>
                    <a:pt x="185" y="113"/>
                    <a:pt x="184" y="113"/>
                    <a:pt x="185" y="114"/>
                  </a:cubicBezTo>
                  <a:cubicBezTo>
                    <a:pt x="186" y="114"/>
                    <a:pt x="188" y="115"/>
                    <a:pt x="189" y="114"/>
                  </a:cubicBezTo>
                  <a:close/>
                  <a:moveTo>
                    <a:pt x="242" y="176"/>
                  </a:moveTo>
                  <a:cubicBezTo>
                    <a:pt x="242" y="175"/>
                    <a:pt x="241" y="175"/>
                    <a:pt x="240" y="175"/>
                  </a:cubicBezTo>
                  <a:cubicBezTo>
                    <a:pt x="238" y="175"/>
                    <a:pt x="236" y="181"/>
                    <a:pt x="235" y="182"/>
                  </a:cubicBezTo>
                  <a:cubicBezTo>
                    <a:pt x="234" y="183"/>
                    <a:pt x="234" y="184"/>
                    <a:pt x="233" y="184"/>
                  </a:cubicBezTo>
                  <a:cubicBezTo>
                    <a:pt x="233" y="185"/>
                    <a:pt x="233" y="185"/>
                    <a:pt x="233" y="186"/>
                  </a:cubicBezTo>
                  <a:cubicBezTo>
                    <a:pt x="233" y="187"/>
                    <a:pt x="233" y="186"/>
                    <a:pt x="233" y="186"/>
                  </a:cubicBezTo>
                  <a:cubicBezTo>
                    <a:pt x="231" y="186"/>
                    <a:pt x="232" y="187"/>
                    <a:pt x="232" y="188"/>
                  </a:cubicBezTo>
                  <a:cubicBezTo>
                    <a:pt x="231" y="189"/>
                    <a:pt x="233" y="189"/>
                    <a:pt x="234" y="188"/>
                  </a:cubicBezTo>
                  <a:cubicBezTo>
                    <a:pt x="235" y="188"/>
                    <a:pt x="236" y="188"/>
                    <a:pt x="238" y="189"/>
                  </a:cubicBezTo>
                  <a:cubicBezTo>
                    <a:pt x="240" y="190"/>
                    <a:pt x="240" y="188"/>
                    <a:pt x="241" y="189"/>
                  </a:cubicBezTo>
                  <a:cubicBezTo>
                    <a:pt x="242" y="190"/>
                    <a:pt x="242" y="189"/>
                    <a:pt x="242" y="189"/>
                  </a:cubicBezTo>
                  <a:cubicBezTo>
                    <a:pt x="242" y="189"/>
                    <a:pt x="242" y="190"/>
                    <a:pt x="241" y="191"/>
                  </a:cubicBezTo>
                  <a:cubicBezTo>
                    <a:pt x="240" y="192"/>
                    <a:pt x="242" y="191"/>
                    <a:pt x="243" y="191"/>
                  </a:cubicBezTo>
                  <a:cubicBezTo>
                    <a:pt x="244" y="190"/>
                    <a:pt x="244" y="189"/>
                    <a:pt x="245" y="189"/>
                  </a:cubicBezTo>
                  <a:cubicBezTo>
                    <a:pt x="245" y="188"/>
                    <a:pt x="245" y="189"/>
                    <a:pt x="245" y="190"/>
                  </a:cubicBezTo>
                  <a:cubicBezTo>
                    <a:pt x="245" y="190"/>
                    <a:pt x="245" y="191"/>
                    <a:pt x="246" y="191"/>
                  </a:cubicBezTo>
                  <a:cubicBezTo>
                    <a:pt x="246" y="192"/>
                    <a:pt x="247" y="192"/>
                    <a:pt x="248" y="191"/>
                  </a:cubicBezTo>
                  <a:cubicBezTo>
                    <a:pt x="249" y="190"/>
                    <a:pt x="249" y="189"/>
                    <a:pt x="248" y="188"/>
                  </a:cubicBezTo>
                  <a:cubicBezTo>
                    <a:pt x="248" y="187"/>
                    <a:pt x="247" y="188"/>
                    <a:pt x="247" y="187"/>
                  </a:cubicBezTo>
                  <a:cubicBezTo>
                    <a:pt x="247" y="187"/>
                    <a:pt x="248" y="187"/>
                    <a:pt x="248" y="186"/>
                  </a:cubicBezTo>
                  <a:cubicBezTo>
                    <a:pt x="248" y="185"/>
                    <a:pt x="247" y="185"/>
                    <a:pt x="247" y="185"/>
                  </a:cubicBezTo>
                  <a:cubicBezTo>
                    <a:pt x="246" y="185"/>
                    <a:pt x="247" y="184"/>
                    <a:pt x="246" y="183"/>
                  </a:cubicBezTo>
                  <a:cubicBezTo>
                    <a:pt x="246" y="182"/>
                    <a:pt x="244" y="183"/>
                    <a:pt x="243" y="183"/>
                  </a:cubicBezTo>
                  <a:cubicBezTo>
                    <a:pt x="242" y="183"/>
                    <a:pt x="242" y="183"/>
                    <a:pt x="241" y="182"/>
                  </a:cubicBezTo>
                  <a:cubicBezTo>
                    <a:pt x="241" y="180"/>
                    <a:pt x="240" y="180"/>
                    <a:pt x="239" y="181"/>
                  </a:cubicBezTo>
                  <a:cubicBezTo>
                    <a:pt x="238" y="181"/>
                    <a:pt x="239" y="179"/>
                    <a:pt x="240" y="178"/>
                  </a:cubicBezTo>
                  <a:cubicBezTo>
                    <a:pt x="241" y="177"/>
                    <a:pt x="242" y="177"/>
                    <a:pt x="242" y="176"/>
                  </a:cubicBezTo>
                  <a:close/>
                  <a:moveTo>
                    <a:pt x="351" y="124"/>
                  </a:moveTo>
                  <a:cubicBezTo>
                    <a:pt x="352" y="123"/>
                    <a:pt x="351" y="122"/>
                    <a:pt x="349" y="121"/>
                  </a:cubicBezTo>
                  <a:cubicBezTo>
                    <a:pt x="348" y="119"/>
                    <a:pt x="348" y="119"/>
                    <a:pt x="347" y="118"/>
                  </a:cubicBezTo>
                  <a:cubicBezTo>
                    <a:pt x="345" y="117"/>
                    <a:pt x="346" y="117"/>
                    <a:pt x="344" y="117"/>
                  </a:cubicBezTo>
                  <a:cubicBezTo>
                    <a:pt x="341" y="117"/>
                    <a:pt x="342" y="118"/>
                    <a:pt x="341" y="119"/>
                  </a:cubicBezTo>
                  <a:cubicBezTo>
                    <a:pt x="339" y="120"/>
                    <a:pt x="340" y="119"/>
                    <a:pt x="338" y="119"/>
                  </a:cubicBezTo>
                  <a:cubicBezTo>
                    <a:pt x="335" y="118"/>
                    <a:pt x="336" y="119"/>
                    <a:pt x="335" y="119"/>
                  </a:cubicBezTo>
                  <a:cubicBezTo>
                    <a:pt x="333" y="119"/>
                    <a:pt x="333" y="119"/>
                    <a:pt x="333" y="120"/>
                  </a:cubicBezTo>
                  <a:cubicBezTo>
                    <a:pt x="333" y="122"/>
                    <a:pt x="333" y="121"/>
                    <a:pt x="331" y="121"/>
                  </a:cubicBezTo>
                  <a:cubicBezTo>
                    <a:pt x="329" y="121"/>
                    <a:pt x="330" y="119"/>
                    <a:pt x="329" y="118"/>
                  </a:cubicBezTo>
                  <a:cubicBezTo>
                    <a:pt x="327" y="116"/>
                    <a:pt x="323" y="120"/>
                    <a:pt x="323" y="121"/>
                  </a:cubicBezTo>
                  <a:cubicBezTo>
                    <a:pt x="323" y="123"/>
                    <a:pt x="324" y="122"/>
                    <a:pt x="325" y="122"/>
                  </a:cubicBezTo>
                  <a:cubicBezTo>
                    <a:pt x="326" y="121"/>
                    <a:pt x="327" y="121"/>
                    <a:pt x="328" y="121"/>
                  </a:cubicBezTo>
                  <a:cubicBezTo>
                    <a:pt x="329" y="121"/>
                    <a:pt x="328" y="123"/>
                    <a:pt x="327" y="123"/>
                  </a:cubicBezTo>
                  <a:cubicBezTo>
                    <a:pt x="325" y="123"/>
                    <a:pt x="326" y="123"/>
                    <a:pt x="325" y="124"/>
                  </a:cubicBezTo>
                  <a:cubicBezTo>
                    <a:pt x="323" y="125"/>
                    <a:pt x="328" y="125"/>
                    <a:pt x="329" y="127"/>
                  </a:cubicBezTo>
                  <a:cubicBezTo>
                    <a:pt x="330" y="128"/>
                    <a:pt x="327" y="127"/>
                    <a:pt x="329" y="128"/>
                  </a:cubicBezTo>
                  <a:cubicBezTo>
                    <a:pt x="331" y="129"/>
                    <a:pt x="333" y="129"/>
                    <a:pt x="336" y="130"/>
                  </a:cubicBezTo>
                  <a:cubicBezTo>
                    <a:pt x="339" y="131"/>
                    <a:pt x="342" y="129"/>
                    <a:pt x="345" y="128"/>
                  </a:cubicBezTo>
                  <a:cubicBezTo>
                    <a:pt x="348" y="127"/>
                    <a:pt x="349" y="126"/>
                    <a:pt x="351" y="124"/>
                  </a:cubicBezTo>
                  <a:close/>
                  <a:moveTo>
                    <a:pt x="183" y="275"/>
                  </a:moveTo>
                  <a:cubicBezTo>
                    <a:pt x="181" y="275"/>
                    <a:pt x="185" y="276"/>
                    <a:pt x="185" y="276"/>
                  </a:cubicBezTo>
                  <a:cubicBezTo>
                    <a:pt x="186" y="277"/>
                    <a:pt x="187" y="276"/>
                    <a:pt x="188" y="276"/>
                  </a:cubicBezTo>
                  <a:cubicBezTo>
                    <a:pt x="189" y="275"/>
                    <a:pt x="187" y="275"/>
                    <a:pt x="186" y="274"/>
                  </a:cubicBezTo>
                  <a:cubicBezTo>
                    <a:pt x="185" y="274"/>
                    <a:pt x="184" y="274"/>
                    <a:pt x="183" y="275"/>
                  </a:cubicBezTo>
                  <a:close/>
                  <a:moveTo>
                    <a:pt x="149" y="79"/>
                  </a:moveTo>
                  <a:cubicBezTo>
                    <a:pt x="150" y="80"/>
                    <a:pt x="155" y="79"/>
                    <a:pt x="156" y="79"/>
                  </a:cubicBezTo>
                  <a:cubicBezTo>
                    <a:pt x="156" y="79"/>
                    <a:pt x="158" y="80"/>
                    <a:pt x="160" y="80"/>
                  </a:cubicBezTo>
                  <a:cubicBezTo>
                    <a:pt x="161" y="81"/>
                    <a:pt x="162" y="80"/>
                    <a:pt x="165" y="80"/>
                  </a:cubicBezTo>
                  <a:cubicBezTo>
                    <a:pt x="167" y="80"/>
                    <a:pt x="167" y="80"/>
                    <a:pt x="169" y="79"/>
                  </a:cubicBezTo>
                  <a:cubicBezTo>
                    <a:pt x="171" y="78"/>
                    <a:pt x="170" y="79"/>
                    <a:pt x="173" y="80"/>
                  </a:cubicBezTo>
                  <a:cubicBezTo>
                    <a:pt x="176" y="81"/>
                    <a:pt x="176" y="80"/>
                    <a:pt x="178" y="79"/>
                  </a:cubicBezTo>
                  <a:cubicBezTo>
                    <a:pt x="180" y="78"/>
                    <a:pt x="178" y="77"/>
                    <a:pt x="178" y="75"/>
                  </a:cubicBezTo>
                  <a:cubicBezTo>
                    <a:pt x="177" y="74"/>
                    <a:pt x="176" y="74"/>
                    <a:pt x="175" y="74"/>
                  </a:cubicBezTo>
                  <a:cubicBezTo>
                    <a:pt x="174" y="73"/>
                    <a:pt x="172" y="73"/>
                    <a:pt x="170" y="73"/>
                  </a:cubicBezTo>
                  <a:cubicBezTo>
                    <a:pt x="168" y="73"/>
                    <a:pt x="168" y="73"/>
                    <a:pt x="167" y="73"/>
                  </a:cubicBezTo>
                  <a:cubicBezTo>
                    <a:pt x="166" y="73"/>
                    <a:pt x="163" y="74"/>
                    <a:pt x="162" y="75"/>
                  </a:cubicBezTo>
                  <a:cubicBezTo>
                    <a:pt x="160" y="76"/>
                    <a:pt x="161" y="76"/>
                    <a:pt x="160" y="75"/>
                  </a:cubicBezTo>
                  <a:cubicBezTo>
                    <a:pt x="159" y="75"/>
                    <a:pt x="159" y="74"/>
                    <a:pt x="157" y="75"/>
                  </a:cubicBezTo>
                  <a:cubicBezTo>
                    <a:pt x="155" y="75"/>
                    <a:pt x="155" y="74"/>
                    <a:pt x="154" y="73"/>
                  </a:cubicBezTo>
                  <a:cubicBezTo>
                    <a:pt x="152" y="73"/>
                    <a:pt x="153" y="72"/>
                    <a:pt x="153" y="71"/>
                  </a:cubicBezTo>
                  <a:cubicBezTo>
                    <a:pt x="154" y="70"/>
                    <a:pt x="153" y="70"/>
                    <a:pt x="152" y="70"/>
                  </a:cubicBezTo>
                  <a:cubicBezTo>
                    <a:pt x="151" y="70"/>
                    <a:pt x="151" y="70"/>
                    <a:pt x="150" y="69"/>
                  </a:cubicBezTo>
                  <a:cubicBezTo>
                    <a:pt x="149" y="69"/>
                    <a:pt x="149" y="68"/>
                    <a:pt x="146" y="68"/>
                  </a:cubicBezTo>
                  <a:cubicBezTo>
                    <a:pt x="144" y="69"/>
                    <a:pt x="146" y="69"/>
                    <a:pt x="144" y="69"/>
                  </a:cubicBezTo>
                  <a:cubicBezTo>
                    <a:pt x="142" y="70"/>
                    <a:pt x="143" y="69"/>
                    <a:pt x="142" y="68"/>
                  </a:cubicBezTo>
                  <a:cubicBezTo>
                    <a:pt x="140" y="66"/>
                    <a:pt x="140" y="68"/>
                    <a:pt x="139" y="67"/>
                  </a:cubicBezTo>
                  <a:cubicBezTo>
                    <a:pt x="137" y="67"/>
                    <a:pt x="138" y="67"/>
                    <a:pt x="136" y="67"/>
                  </a:cubicBezTo>
                  <a:cubicBezTo>
                    <a:pt x="133" y="66"/>
                    <a:pt x="135" y="67"/>
                    <a:pt x="134" y="68"/>
                  </a:cubicBezTo>
                  <a:cubicBezTo>
                    <a:pt x="134" y="69"/>
                    <a:pt x="135" y="69"/>
                    <a:pt x="136" y="70"/>
                  </a:cubicBezTo>
                  <a:cubicBezTo>
                    <a:pt x="138" y="70"/>
                    <a:pt x="137" y="70"/>
                    <a:pt x="137" y="70"/>
                  </a:cubicBezTo>
                  <a:cubicBezTo>
                    <a:pt x="138" y="71"/>
                    <a:pt x="140" y="71"/>
                    <a:pt x="142" y="71"/>
                  </a:cubicBezTo>
                  <a:cubicBezTo>
                    <a:pt x="144" y="71"/>
                    <a:pt x="145" y="72"/>
                    <a:pt x="146" y="74"/>
                  </a:cubicBezTo>
                  <a:cubicBezTo>
                    <a:pt x="147" y="76"/>
                    <a:pt x="146" y="75"/>
                    <a:pt x="146" y="77"/>
                  </a:cubicBezTo>
                  <a:cubicBezTo>
                    <a:pt x="146" y="79"/>
                    <a:pt x="148" y="79"/>
                    <a:pt x="149" y="79"/>
                  </a:cubicBezTo>
                  <a:close/>
                  <a:moveTo>
                    <a:pt x="171" y="132"/>
                  </a:moveTo>
                  <a:cubicBezTo>
                    <a:pt x="170" y="133"/>
                    <a:pt x="171" y="133"/>
                    <a:pt x="170" y="133"/>
                  </a:cubicBezTo>
                  <a:cubicBezTo>
                    <a:pt x="169" y="133"/>
                    <a:pt x="168" y="132"/>
                    <a:pt x="168" y="133"/>
                  </a:cubicBezTo>
                  <a:cubicBezTo>
                    <a:pt x="168" y="133"/>
                    <a:pt x="168" y="134"/>
                    <a:pt x="168" y="134"/>
                  </a:cubicBezTo>
                  <a:cubicBezTo>
                    <a:pt x="167" y="135"/>
                    <a:pt x="167" y="135"/>
                    <a:pt x="167" y="135"/>
                  </a:cubicBezTo>
                  <a:cubicBezTo>
                    <a:pt x="168" y="136"/>
                    <a:pt x="170" y="136"/>
                    <a:pt x="171" y="135"/>
                  </a:cubicBezTo>
                  <a:cubicBezTo>
                    <a:pt x="171" y="135"/>
                    <a:pt x="171" y="134"/>
                    <a:pt x="172" y="134"/>
                  </a:cubicBezTo>
                  <a:cubicBezTo>
                    <a:pt x="173" y="134"/>
                    <a:pt x="173" y="134"/>
                    <a:pt x="173" y="133"/>
                  </a:cubicBezTo>
                  <a:cubicBezTo>
                    <a:pt x="172" y="132"/>
                    <a:pt x="172" y="132"/>
                    <a:pt x="171" y="132"/>
                  </a:cubicBezTo>
                  <a:close/>
                  <a:moveTo>
                    <a:pt x="387" y="182"/>
                  </a:moveTo>
                  <a:cubicBezTo>
                    <a:pt x="386" y="182"/>
                    <a:pt x="385" y="182"/>
                    <a:pt x="383" y="182"/>
                  </a:cubicBezTo>
                  <a:cubicBezTo>
                    <a:pt x="382" y="181"/>
                    <a:pt x="383" y="182"/>
                    <a:pt x="382" y="183"/>
                  </a:cubicBezTo>
                  <a:cubicBezTo>
                    <a:pt x="382" y="184"/>
                    <a:pt x="381" y="184"/>
                    <a:pt x="379" y="184"/>
                  </a:cubicBezTo>
                  <a:cubicBezTo>
                    <a:pt x="377" y="184"/>
                    <a:pt x="378" y="184"/>
                    <a:pt x="376" y="184"/>
                  </a:cubicBezTo>
                  <a:cubicBezTo>
                    <a:pt x="375" y="184"/>
                    <a:pt x="374" y="186"/>
                    <a:pt x="375" y="187"/>
                  </a:cubicBezTo>
                  <a:cubicBezTo>
                    <a:pt x="375" y="188"/>
                    <a:pt x="377" y="188"/>
                    <a:pt x="378" y="188"/>
                  </a:cubicBezTo>
                  <a:cubicBezTo>
                    <a:pt x="380" y="188"/>
                    <a:pt x="380" y="188"/>
                    <a:pt x="381" y="190"/>
                  </a:cubicBezTo>
                  <a:cubicBezTo>
                    <a:pt x="381" y="191"/>
                    <a:pt x="383" y="191"/>
                    <a:pt x="383" y="193"/>
                  </a:cubicBezTo>
                  <a:cubicBezTo>
                    <a:pt x="384" y="195"/>
                    <a:pt x="384" y="200"/>
                    <a:pt x="382" y="201"/>
                  </a:cubicBezTo>
                  <a:cubicBezTo>
                    <a:pt x="381" y="203"/>
                    <a:pt x="379" y="202"/>
                    <a:pt x="377" y="202"/>
                  </a:cubicBezTo>
                  <a:cubicBezTo>
                    <a:pt x="375" y="201"/>
                    <a:pt x="374" y="201"/>
                    <a:pt x="371" y="202"/>
                  </a:cubicBezTo>
                  <a:cubicBezTo>
                    <a:pt x="369" y="202"/>
                    <a:pt x="369" y="201"/>
                    <a:pt x="366" y="201"/>
                  </a:cubicBezTo>
                  <a:cubicBezTo>
                    <a:pt x="364" y="201"/>
                    <a:pt x="365" y="202"/>
                    <a:pt x="364" y="204"/>
                  </a:cubicBezTo>
                  <a:cubicBezTo>
                    <a:pt x="362" y="206"/>
                    <a:pt x="364" y="207"/>
                    <a:pt x="364" y="210"/>
                  </a:cubicBezTo>
                  <a:cubicBezTo>
                    <a:pt x="364" y="212"/>
                    <a:pt x="364" y="213"/>
                    <a:pt x="362" y="215"/>
                  </a:cubicBezTo>
                  <a:cubicBezTo>
                    <a:pt x="361" y="216"/>
                    <a:pt x="364" y="217"/>
                    <a:pt x="364" y="219"/>
                  </a:cubicBezTo>
                  <a:cubicBezTo>
                    <a:pt x="363" y="221"/>
                    <a:pt x="364" y="221"/>
                    <a:pt x="365" y="222"/>
                  </a:cubicBezTo>
                  <a:cubicBezTo>
                    <a:pt x="367" y="222"/>
                    <a:pt x="368" y="221"/>
                    <a:pt x="369" y="222"/>
                  </a:cubicBezTo>
                  <a:cubicBezTo>
                    <a:pt x="371" y="222"/>
                    <a:pt x="370" y="223"/>
                    <a:pt x="371" y="224"/>
                  </a:cubicBezTo>
                  <a:cubicBezTo>
                    <a:pt x="372" y="225"/>
                    <a:pt x="373" y="224"/>
                    <a:pt x="374" y="223"/>
                  </a:cubicBezTo>
                  <a:cubicBezTo>
                    <a:pt x="374" y="222"/>
                    <a:pt x="377" y="222"/>
                    <a:pt x="379" y="222"/>
                  </a:cubicBezTo>
                  <a:cubicBezTo>
                    <a:pt x="381" y="223"/>
                    <a:pt x="381" y="222"/>
                    <a:pt x="382" y="221"/>
                  </a:cubicBezTo>
                  <a:cubicBezTo>
                    <a:pt x="383" y="220"/>
                    <a:pt x="384" y="219"/>
                    <a:pt x="385" y="218"/>
                  </a:cubicBezTo>
                  <a:cubicBezTo>
                    <a:pt x="386" y="217"/>
                    <a:pt x="387" y="216"/>
                    <a:pt x="386" y="215"/>
                  </a:cubicBezTo>
                  <a:cubicBezTo>
                    <a:pt x="385" y="213"/>
                    <a:pt x="388" y="210"/>
                    <a:pt x="389" y="209"/>
                  </a:cubicBezTo>
                  <a:cubicBezTo>
                    <a:pt x="391" y="209"/>
                    <a:pt x="394" y="204"/>
                    <a:pt x="395" y="202"/>
                  </a:cubicBezTo>
                  <a:cubicBezTo>
                    <a:pt x="396" y="201"/>
                    <a:pt x="401" y="202"/>
                    <a:pt x="403" y="202"/>
                  </a:cubicBezTo>
                  <a:cubicBezTo>
                    <a:pt x="405" y="203"/>
                    <a:pt x="408" y="200"/>
                    <a:pt x="409" y="199"/>
                  </a:cubicBezTo>
                  <a:cubicBezTo>
                    <a:pt x="411" y="198"/>
                    <a:pt x="413" y="199"/>
                    <a:pt x="414" y="202"/>
                  </a:cubicBezTo>
                  <a:cubicBezTo>
                    <a:pt x="415" y="204"/>
                    <a:pt x="418" y="207"/>
                    <a:pt x="421" y="208"/>
                  </a:cubicBezTo>
                  <a:cubicBezTo>
                    <a:pt x="425" y="209"/>
                    <a:pt x="426" y="211"/>
                    <a:pt x="428" y="212"/>
                  </a:cubicBezTo>
                  <a:cubicBezTo>
                    <a:pt x="429" y="213"/>
                    <a:pt x="428" y="213"/>
                    <a:pt x="428" y="215"/>
                  </a:cubicBezTo>
                  <a:cubicBezTo>
                    <a:pt x="428" y="216"/>
                    <a:pt x="429" y="216"/>
                    <a:pt x="428" y="217"/>
                  </a:cubicBezTo>
                  <a:cubicBezTo>
                    <a:pt x="427" y="218"/>
                    <a:pt x="427" y="218"/>
                    <a:pt x="426" y="218"/>
                  </a:cubicBezTo>
                  <a:cubicBezTo>
                    <a:pt x="425" y="218"/>
                    <a:pt x="426" y="218"/>
                    <a:pt x="425" y="218"/>
                  </a:cubicBezTo>
                  <a:cubicBezTo>
                    <a:pt x="424" y="218"/>
                    <a:pt x="423" y="218"/>
                    <a:pt x="422" y="218"/>
                  </a:cubicBezTo>
                  <a:cubicBezTo>
                    <a:pt x="421" y="218"/>
                    <a:pt x="420" y="218"/>
                    <a:pt x="419" y="219"/>
                  </a:cubicBezTo>
                  <a:cubicBezTo>
                    <a:pt x="418" y="220"/>
                    <a:pt x="420" y="220"/>
                    <a:pt x="421" y="220"/>
                  </a:cubicBezTo>
                  <a:cubicBezTo>
                    <a:pt x="421" y="220"/>
                    <a:pt x="422" y="221"/>
                    <a:pt x="423" y="221"/>
                  </a:cubicBezTo>
                  <a:cubicBezTo>
                    <a:pt x="424" y="221"/>
                    <a:pt x="424" y="221"/>
                    <a:pt x="424" y="222"/>
                  </a:cubicBezTo>
                  <a:cubicBezTo>
                    <a:pt x="425" y="222"/>
                    <a:pt x="426" y="222"/>
                    <a:pt x="426" y="221"/>
                  </a:cubicBezTo>
                  <a:cubicBezTo>
                    <a:pt x="427" y="220"/>
                    <a:pt x="426" y="220"/>
                    <a:pt x="427" y="219"/>
                  </a:cubicBezTo>
                  <a:cubicBezTo>
                    <a:pt x="427" y="218"/>
                    <a:pt x="427" y="219"/>
                    <a:pt x="428" y="219"/>
                  </a:cubicBezTo>
                  <a:cubicBezTo>
                    <a:pt x="428" y="219"/>
                    <a:pt x="428" y="219"/>
                    <a:pt x="429" y="218"/>
                  </a:cubicBezTo>
                  <a:cubicBezTo>
                    <a:pt x="429" y="217"/>
                    <a:pt x="430" y="217"/>
                    <a:pt x="430" y="217"/>
                  </a:cubicBezTo>
                  <a:cubicBezTo>
                    <a:pt x="431" y="216"/>
                    <a:pt x="431" y="216"/>
                    <a:pt x="432" y="215"/>
                  </a:cubicBezTo>
                  <a:cubicBezTo>
                    <a:pt x="432" y="214"/>
                    <a:pt x="431" y="214"/>
                    <a:pt x="430" y="213"/>
                  </a:cubicBezTo>
                  <a:cubicBezTo>
                    <a:pt x="429" y="212"/>
                    <a:pt x="430" y="212"/>
                    <a:pt x="430" y="211"/>
                  </a:cubicBezTo>
                  <a:cubicBezTo>
                    <a:pt x="431" y="210"/>
                    <a:pt x="431" y="211"/>
                    <a:pt x="432" y="211"/>
                  </a:cubicBezTo>
                  <a:cubicBezTo>
                    <a:pt x="433" y="211"/>
                    <a:pt x="433" y="212"/>
                    <a:pt x="434" y="213"/>
                  </a:cubicBezTo>
                  <a:cubicBezTo>
                    <a:pt x="435" y="213"/>
                    <a:pt x="435" y="213"/>
                    <a:pt x="435" y="212"/>
                  </a:cubicBezTo>
                  <a:cubicBezTo>
                    <a:pt x="434" y="211"/>
                    <a:pt x="430" y="208"/>
                    <a:pt x="429" y="208"/>
                  </a:cubicBezTo>
                  <a:cubicBezTo>
                    <a:pt x="428" y="207"/>
                    <a:pt x="428" y="207"/>
                    <a:pt x="429" y="207"/>
                  </a:cubicBezTo>
                  <a:cubicBezTo>
                    <a:pt x="429" y="206"/>
                    <a:pt x="426" y="206"/>
                    <a:pt x="425" y="205"/>
                  </a:cubicBezTo>
                  <a:cubicBezTo>
                    <a:pt x="424" y="205"/>
                    <a:pt x="423" y="204"/>
                    <a:pt x="423" y="202"/>
                  </a:cubicBezTo>
                  <a:cubicBezTo>
                    <a:pt x="422" y="201"/>
                    <a:pt x="422" y="200"/>
                    <a:pt x="419" y="199"/>
                  </a:cubicBezTo>
                  <a:cubicBezTo>
                    <a:pt x="417" y="197"/>
                    <a:pt x="419" y="197"/>
                    <a:pt x="419" y="196"/>
                  </a:cubicBezTo>
                  <a:cubicBezTo>
                    <a:pt x="419" y="194"/>
                    <a:pt x="420" y="195"/>
                    <a:pt x="421" y="194"/>
                  </a:cubicBezTo>
                  <a:cubicBezTo>
                    <a:pt x="422" y="193"/>
                    <a:pt x="422" y="195"/>
                    <a:pt x="422" y="197"/>
                  </a:cubicBezTo>
                  <a:cubicBezTo>
                    <a:pt x="423" y="198"/>
                    <a:pt x="423" y="197"/>
                    <a:pt x="424" y="196"/>
                  </a:cubicBezTo>
                  <a:cubicBezTo>
                    <a:pt x="424" y="195"/>
                    <a:pt x="424" y="196"/>
                    <a:pt x="426" y="197"/>
                  </a:cubicBezTo>
                  <a:cubicBezTo>
                    <a:pt x="427" y="199"/>
                    <a:pt x="426" y="199"/>
                    <a:pt x="428" y="201"/>
                  </a:cubicBezTo>
                  <a:cubicBezTo>
                    <a:pt x="429" y="202"/>
                    <a:pt x="430" y="202"/>
                    <a:pt x="432" y="203"/>
                  </a:cubicBezTo>
                  <a:cubicBezTo>
                    <a:pt x="433" y="204"/>
                    <a:pt x="436" y="206"/>
                    <a:pt x="437" y="207"/>
                  </a:cubicBezTo>
                  <a:cubicBezTo>
                    <a:pt x="438" y="207"/>
                    <a:pt x="437" y="207"/>
                    <a:pt x="437" y="210"/>
                  </a:cubicBezTo>
                  <a:cubicBezTo>
                    <a:pt x="437" y="212"/>
                    <a:pt x="439" y="212"/>
                    <a:pt x="439" y="213"/>
                  </a:cubicBezTo>
                  <a:cubicBezTo>
                    <a:pt x="439" y="213"/>
                    <a:pt x="439" y="213"/>
                    <a:pt x="439" y="213"/>
                  </a:cubicBezTo>
                  <a:cubicBezTo>
                    <a:pt x="438" y="196"/>
                    <a:pt x="435" y="179"/>
                    <a:pt x="430" y="164"/>
                  </a:cubicBezTo>
                  <a:cubicBezTo>
                    <a:pt x="430" y="164"/>
                    <a:pt x="430" y="164"/>
                    <a:pt x="430" y="164"/>
                  </a:cubicBezTo>
                  <a:cubicBezTo>
                    <a:pt x="427" y="166"/>
                    <a:pt x="427" y="168"/>
                    <a:pt x="424" y="167"/>
                  </a:cubicBezTo>
                  <a:cubicBezTo>
                    <a:pt x="422" y="167"/>
                    <a:pt x="423" y="164"/>
                    <a:pt x="420" y="165"/>
                  </a:cubicBezTo>
                  <a:cubicBezTo>
                    <a:pt x="417" y="166"/>
                    <a:pt x="417" y="167"/>
                    <a:pt x="416" y="166"/>
                  </a:cubicBezTo>
                  <a:cubicBezTo>
                    <a:pt x="415" y="164"/>
                    <a:pt x="414" y="163"/>
                    <a:pt x="413" y="163"/>
                  </a:cubicBezTo>
                  <a:cubicBezTo>
                    <a:pt x="413" y="163"/>
                    <a:pt x="411" y="162"/>
                    <a:pt x="412" y="161"/>
                  </a:cubicBezTo>
                  <a:cubicBezTo>
                    <a:pt x="413" y="161"/>
                    <a:pt x="413" y="162"/>
                    <a:pt x="415" y="161"/>
                  </a:cubicBezTo>
                  <a:cubicBezTo>
                    <a:pt x="416" y="160"/>
                    <a:pt x="414" y="156"/>
                    <a:pt x="417" y="157"/>
                  </a:cubicBezTo>
                  <a:cubicBezTo>
                    <a:pt x="419" y="158"/>
                    <a:pt x="418" y="161"/>
                    <a:pt x="421" y="161"/>
                  </a:cubicBezTo>
                  <a:cubicBezTo>
                    <a:pt x="425" y="160"/>
                    <a:pt x="426" y="160"/>
                    <a:pt x="428" y="158"/>
                  </a:cubicBezTo>
                  <a:cubicBezTo>
                    <a:pt x="428" y="158"/>
                    <a:pt x="428" y="158"/>
                    <a:pt x="428" y="158"/>
                  </a:cubicBezTo>
                  <a:cubicBezTo>
                    <a:pt x="424" y="147"/>
                    <a:pt x="419" y="136"/>
                    <a:pt x="414" y="126"/>
                  </a:cubicBezTo>
                  <a:cubicBezTo>
                    <a:pt x="412" y="128"/>
                    <a:pt x="409" y="130"/>
                    <a:pt x="408" y="131"/>
                  </a:cubicBezTo>
                  <a:cubicBezTo>
                    <a:pt x="405" y="132"/>
                    <a:pt x="406" y="132"/>
                    <a:pt x="403" y="134"/>
                  </a:cubicBezTo>
                  <a:cubicBezTo>
                    <a:pt x="400" y="135"/>
                    <a:pt x="401" y="135"/>
                    <a:pt x="400" y="138"/>
                  </a:cubicBezTo>
                  <a:cubicBezTo>
                    <a:pt x="399" y="140"/>
                    <a:pt x="400" y="140"/>
                    <a:pt x="401" y="141"/>
                  </a:cubicBezTo>
                  <a:cubicBezTo>
                    <a:pt x="402" y="142"/>
                    <a:pt x="401" y="142"/>
                    <a:pt x="400" y="143"/>
                  </a:cubicBezTo>
                  <a:cubicBezTo>
                    <a:pt x="399" y="144"/>
                    <a:pt x="401" y="144"/>
                    <a:pt x="401" y="145"/>
                  </a:cubicBezTo>
                  <a:cubicBezTo>
                    <a:pt x="401" y="146"/>
                    <a:pt x="400" y="145"/>
                    <a:pt x="400" y="146"/>
                  </a:cubicBezTo>
                  <a:cubicBezTo>
                    <a:pt x="400" y="147"/>
                    <a:pt x="401" y="146"/>
                    <a:pt x="402" y="147"/>
                  </a:cubicBezTo>
                  <a:cubicBezTo>
                    <a:pt x="403" y="147"/>
                    <a:pt x="402" y="147"/>
                    <a:pt x="401" y="148"/>
                  </a:cubicBezTo>
                  <a:cubicBezTo>
                    <a:pt x="400" y="150"/>
                    <a:pt x="403" y="150"/>
                    <a:pt x="405" y="151"/>
                  </a:cubicBezTo>
                  <a:cubicBezTo>
                    <a:pt x="407" y="153"/>
                    <a:pt x="407" y="151"/>
                    <a:pt x="409" y="150"/>
                  </a:cubicBezTo>
                  <a:cubicBezTo>
                    <a:pt x="410" y="150"/>
                    <a:pt x="411" y="148"/>
                    <a:pt x="412" y="148"/>
                  </a:cubicBezTo>
                  <a:cubicBezTo>
                    <a:pt x="413" y="147"/>
                    <a:pt x="413" y="147"/>
                    <a:pt x="414" y="146"/>
                  </a:cubicBezTo>
                  <a:cubicBezTo>
                    <a:pt x="415" y="144"/>
                    <a:pt x="415" y="146"/>
                    <a:pt x="416" y="148"/>
                  </a:cubicBezTo>
                  <a:cubicBezTo>
                    <a:pt x="417" y="149"/>
                    <a:pt x="416" y="149"/>
                    <a:pt x="415" y="150"/>
                  </a:cubicBezTo>
                  <a:cubicBezTo>
                    <a:pt x="414" y="152"/>
                    <a:pt x="417" y="153"/>
                    <a:pt x="417" y="154"/>
                  </a:cubicBezTo>
                  <a:cubicBezTo>
                    <a:pt x="416" y="156"/>
                    <a:pt x="416" y="154"/>
                    <a:pt x="415" y="153"/>
                  </a:cubicBezTo>
                  <a:cubicBezTo>
                    <a:pt x="414" y="152"/>
                    <a:pt x="413" y="153"/>
                    <a:pt x="410" y="154"/>
                  </a:cubicBezTo>
                  <a:cubicBezTo>
                    <a:pt x="408" y="155"/>
                    <a:pt x="408" y="154"/>
                    <a:pt x="408" y="158"/>
                  </a:cubicBezTo>
                  <a:cubicBezTo>
                    <a:pt x="407" y="162"/>
                    <a:pt x="410" y="162"/>
                    <a:pt x="410" y="163"/>
                  </a:cubicBezTo>
                  <a:cubicBezTo>
                    <a:pt x="409" y="164"/>
                    <a:pt x="410" y="164"/>
                    <a:pt x="409" y="166"/>
                  </a:cubicBezTo>
                  <a:cubicBezTo>
                    <a:pt x="408" y="169"/>
                    <a:pt x="408" y="167"/>
                    <a:pt x="407" y="167"/>
                  </a:cubicBezTo>
                  <a:cubicBezTo>
                    <a:pt x="406" y="167"/>
                    <a:pt x="406" y="167"/>
                    <a:pt x="405" y="168"/>
                  </a:cubicBezTo>
                  <a:cubicBezTo>
                    <a:pt x="404" y="168"/>
                    <a:pt x="404" y="168"/>
                    <a:pt x="402" y="168"/>
                  </a:cubicBezTo>
                  <a:cubicBezTo>
                    <a:pt x="400" y="168"/>
                    <a:pt x="400" y="170"/>
                    <a:pt x="398" y="172"/>
                  </a:cubicBezTo>
                  <a:cubicBezTo>
                    <a:pt x="396" y="175"/>
                    <a:pt x="398" y="173"/>
                    <a:pt x="397" y="174"/>
                  </a:cubicBezTo>
                  <a:cubicBezTo>
                    <a:pt x="395" y="176"/>
                    <a:pt x="395" y="176"/>
                    <a:pt x="393" y="176"/>
                  </a:cubicBezTo>
                  <a:cubicBezTo>
                    <a:pt x="392" y="177"/>
                    <a:pt x="392" y="177"/>
                    <a:pt x="391" y="179"/>
                  </a:cubicBezTo>
                  <a:cubicBezTo>
                    <a:pt x="390" y="181"/>
                    <a:pt x="387" y="182"/>
                    <a:pt x="387" y="182"/>
                  </a:cubicBezTo>
                  <a:close/>
                  <a:moveTo>
                    <a:pt x="291" y="336"/>
                  </a:moveTo>
                  <a:cubicBezTo>
                    <a:pt x="287" y="335"/>
                    <a:pt x="285" y="329"/>
                    <a:pt x="280" y="330"/>
                  </a:cubicBezTo>
                  <a:cubicBezTo>
                    <a:pt x="276" y="331"/>
                    <a:pt x="275" y="329"/>
                    <a:pt x="273" y="330"/>
                  </a:cubicBezTo>
                  <a:cubicBezTo>
                    <a:pt x="271" y="331"/>
                    <a:pt x="270" y="331"/>
                    <a:pt x="271" y="329"/>
                  </a:cubicBezTo>
                  <a:cubicBezTo>
                    <a:pt x="271" y="328"/>
                    <a:pt x="269" y="326"/>
                    <a:pt x="265" y="325"/>
                  </a:cubicBezTo>
                  <a:cubicBezTo>
                    <a:pt x="260" y="324"/>
                    <a:pt x="261" y="327"/>
                    <a:pt x="259" y="327"/>
                  </a:cubicBezTo>
                  <a:cubicBezTo>
                    <a:pt x="258" y="327"/>
                    <a:pt x="261" y="325"/>
                    <a:pt x="260" y="324"/>
                  </a:cubicBezTo>
                  <a:cubicBezTo>
                    <a:pt x="258" y="323"/>
                    <a:pt x="251" y="326"/>
                    <a:pt x="253" y="323"/>
                  </a:cubicBezTo>
                  <a:cubicBezTo>
                    <a:pt x="256" y="320"/>
                    <a:pt x="257" y="320"/>
                    <a:pt x="255" y="317"/>
                  </a:cubicBezTo>
                  <a:cubicBezTo>
                    <a:pt x="253" y="315"/>
                    <a:pt x="254" y="312"/>
                    <a:pt x="252" y="311"/>
                  </a:cubicBezTo>
                  <a:cubicBezTo>
                    <a:pt x="249" y="310"/>
                    <a:pt x="248" y="308"/>
                    <a:pt x="242" y="308"/>
                  </a:cubicBezTo>
                  <a:cubicBezTo>
                    <a:pt x="237" y="307"/>
                    <a:pt x="236" y="307"/>
                    <a:pt x="234" y="303"/>
                  </a:cubicBezTo>
                  <a:cubicBezTo>
                    <a:pt x="231" y="300"/>
                    <a:pt x="230" y="301"/>
                    <a:pt x="229" y="301"/>
                  </a:cubicBezTo>
                  <a:cubicBezTo>
                    <a:pt x="227" y="300"/>
                    <a:pt x="228" y="298"/>
                    <a:pt x="224" y="297"/>
                  </a:cubicBezTo>
                  <a:cubicBezTo>
                    <a:pt x="220" y="296"/>
                    <a:pt x="221" y="295"/>
                    <a:pt x="219" y="296"/>
                  </a:cubicBezTo>
                  <a:cubicBezTo>
                    <a:pt x="216" y="297"/>
                    <a:pt x="215" y="296"/>
                    <a:pt x="214" y="295"/>
                  </a:cubicBezTo>
                  <a:cubicBezTo>
                    <a:pt x="214" y="295"/>
                    <a:pt x="211" y="296"/>
                    <a:pt x="210" y="295"/>
                  </a:cubicBezTo>
                  <a:cubicBezTo>
                    <a:pt x="208" y="294"/>
                    <a:pt x="209" y="293"/>
                    <a:pt x="207" y="293"/>
                  </a:cubicBezTo>
                  <a:cubicBezTo>
                    <a:pt x="206" y="293"/>
                    <a:pt x="205" y="292"/>
                    <a:pt x="205" y="291"/>
                  </a:cubicBezTo>
                  <a:cubicBezTo>
                    <a:pt x="204" y="291"/>
                    <a:pt x="203" y="291"/>
                    <a:pt x="203" y="293"/>
                  </a:cubicBezTo>
                  <a:cubicBezTo>
                    <a:pt x="204" y="294"/>
                    <a:pt x="203" y="295"/>
                    <a:pt x="202" y="294"/>
                  </a:cubicBezTo>
                  <a:cubicBezTo>
                    <a:pt x="201" y="293"/>
                    <a:pt x="200" y="293"/>
                    <a:pt x="200" y="292"/>
                  </a:cubicBezTo>
                  <a:cubicBezTo>
                    <a:pt x="201" y="291"/>
                    <a:pt x="202" y="290"/>
                    <a:pt x="200" y="290"/>
                  </a:cubicBezTo>
                  <a:cubicBezTo>
                    <a:pt x="199" y="291"/>
                    <a:pt x="199" y="291"/>
                    <a:pt x="197" y="292"/>
                  </a:cubicBezTo>
                  <a:cubicBezTo>
                    <a:pt x="196" y="294"/>
                    <a:pt x="194" y="292"/>
                    <a:pt x="192" y="294"/>
                  </a:cubicBezTo>
                  <a:cubicBezTo>
                    <a:pt x="190" y="296"/>
                    <a:pt x="189" y="296"/>
                    <a:pt x="189" y="297"/>
                  </a:cubicBezTo>
                  <a:cubicBezTo>
                    <a:pt x="190" y="299"/>
                    <a:pt x="187" y="302"/>
                    <a:pt x="185" y="301"/>
                  </a:cubicBezTo>
                  <a:cubicBezTo>
                    <a:pt x="183" y="299"/>
                    <a:pt x="181" y="297"/>
                    <a:pt x="179" y="298"/>
                  </a:cubicBezTo>
                  <a:cubicBezTo>
                    <a:pt x="177" y="300"/>
                    <a:pt x="176" y="301"/>
                    <a:pt x="174" y="299"/>
                  </a:cubicBezTo>
                  <a:cubicBezTo>
                    <a:pt x="172" y="298"/>
                    <a:pt x="172" y="299"/>
                    <a:pt x="171" y="298"/>
                  </a:cubicBezTo>
                  <a:cubicBezTo>
                    <a:pt x="170" y="296"/>
                    <a:pt x="169" y="295"/>
                    <a:pt x="169" y="294"/>
                  </a:cubicBezTo>
                  <a:cubicBezTo>
                    <a:pt x="169" y="293"/>
                    <a:pt x="170" y="291"/>
                    <a:pt x="169" y="289"/>
                  </a:cubicBezTo>
                  <a:cubicBezTo>
                    <a:pt x="168" y="287"/>
                    <a:pt x="171" y="284"/>
                    <a:pt x="169" y="283"/>
                  </a:cubicBezTo>
                  <a:cubicBezTo>
                    <a:pt x="167" y="282"/>
                    <a:pt x="165" y="281"/>
                    <a:pt x="163" y="281"/>
                  </a:cubicBezTo>
                  <a:cubicBezTo>
                    <a:pt x="161" y="282"/>
                    <a:pt x="155" y="282"/>
                    <a:pt x="155" y="281"/>
                  </a:cubicBezTo>
                  <a:cubicBezTo>
                    <a:pt x="156" y="279"/>
                    <a:pt x="157" y="276"/>
                    <a:pt x="157" y="275"/>
                  </a:cubicBezTo>
                  <a:cubicBezTo>
                    <a:pt x="157" y="273"/>
                    <a:pt x="158" y="273"/>
                    <a:pt x="158" y="272"/>
                  </a:cubicBezTo>
                  <a:cubicBezTo>
                    <a:pt x="158" y="270"/>
                    <a:pt x="161" y="267"/>
                    <a:pt x="160" y="267"/>
                  </a:cubicBezTo>
                  <a:cubicBezTo>
                    <a:pt x="159" y="266"/>
                    <a:pt x="157" y="265"/>
                    <a:pt x="155" y="266"/>
                  </a:cubicBezTo>
                  <a:cubicBezTo>
                    <a:pt x="153" y="268"/>
                    <a:pt x="152" y="267"/>
                    <a:pt x="151" y="271"/>
                  </a:cubicBezTo>
                  <a:cubicBezTo>
                    <a:pt x="149" y="275"/>
                    <a:pt x="148" y="275"/>
                    <a:pt x="147" y="275"/>
                  </a:cubicBezTo>
                  <a:cubicBezTo>
                    <a:pt x="145" y="274"/>
                    <a:pt x="143" y="275"/>
                    <a:pt x="142" y="275"/>
                  </a:cubicBezTo>
                  <a:cubicBezTo>
                    <a:pt x="141" y="276"/>
                    <a:pt x="140" y="275"/>
                    <a:pt x="138" y="274"/>
                  </a:cubicBezTo>
                  <a:cubicBezTo>
                    <a:pt x="136" y="273"/>
                    <a:pt x="136" y="271"/>
                    <a:pt x="134" y="270"/>
                  </a:cubicBezTo>
                  <a:cubicBezTo>
                    <a:pt x="133" y="269"/>
                    <a:pt x="133" y="266"/>
                    <a:pt x="132" y="263"/>
                  </a:cubicBezTo>
                  <a:cubicBezTo>
                    <a:pt x="131" y="261"/>
                    <a:pt x="131" y="256"/>
                    <a:pt x="133" y="255"/>
                  </a:cubicBezTo>
                  <a:cubicBezTo>
                    <a:pt x="134" y="255"/>
                    <a:pt x="133" y="252"/>
                    <a:pt x="132" y="250"/>
                  </a:cubicBezTo>
                  <a:cubicBezTo>
                    <a:pt x="132" y="248"/>
                    <a:pt x="133" y="247"/>
                    <a:pt x="136" y="247"/>
                  </a:cubicBezTo>
                  <a:cubicBezTo>
                    <a:pt x="138" y="246"/>
                    <a:pt x="139" y="245"/>
                    <a:pt x="141" y="244"/>
                  </a:cubicBezTo>
                  <a:cubicBezTo>
                    <a:pt x="142" y="243"/>
                    <a:pt x="143" y="243"/>
                    <a:pt x="144" y="244"/>
                  </a:cubicBezTo>
                  <a:cubicBezTo>
                    <a:pt x="146" y="244"/>
                    <a:pt x="146" y="243"/>
                    <a:pt x="147" y="243"/>
                  </a:cubicBezTo>
                  <a:cubicBezTo>
                    <a:pt x="148" y="243"/>
                    <a:pt x="148" y="245"/>
                    <a:pt x="149" y="245"/>
                  </a:cubicBezTo>
                  <a:cubicBezTo>
                    <a:pt x="150" y="245"/>
                    <a:pt x="151" y="245"/>
                    <a:pt x="152" y="245"/>
                  </a:cubicBezTo>
                  <a:cubicBezTo>
                    <a:pt x="153" y="244"/>
                    <a:pt x="153" y="246"/>
                    <a:pt x="153" y="244"/>
                  </a:cubicBezTo>
                  <a:cubicBezTo>
                    <a:pt x="154" y="242"/>
                    <a:pt x="154" y="242"/>
                    <a:pt x="155" y="242"/>
                  </a:cubicBezTo>
                  <a:cubicBezTo>
                    <a:pt x="157" y="242"/>
                    <a:pt x="156" y="242"/>
                    <a:pt x="158" y="241"/>
                  </a:cubicBezTo>
                  <a:cubicBezTo>
                    <a:pt x="159" y="240"/>
                    <a:pt x="159" y="243"/>
                    <a:pt x="161" y="242"/>
                  </a:cubicBezTo>
                  <a:cubicBezTo>
                    <a:pt x="163" y="241"/>
                    <a:pt x="163" y="245"/>
                    <a:pt x="166" y="243"/>
                  </a:cubicBezTo>
                  <a:cubicBezTo>
                    <a:pt x="169" y="241"/>
                    <a:pt x="171" y="245"/>
                    <a:pt x="171" y="247"/>
                  </a:cubicBezTo>
                  <a:cubicBezTo>
                    <a:pt x="171" y="249"/>
                    <a:pt x="171" y="251"/>
                    <a:pt x="173" y="252"/>
                  </a:cubicBezTo>
                  <a:cubicBezTo>
                    <a:pt x="174" y="254"/>
                    <a:pt x="176" y="257"/>
                    <a:pt x="177" y="256"/>
                  </a:cubicBezTo>
                  <a:cubicBezTo>
                    <a:pt x="178" y="255"/>
                    <a:pt x="178" y="252"/>
                    <a:pt x="177" y="250"/>
                  </a:cubicBezTo>
                  <a:cubicBezTo>
                    <a:pt x="177" y="248"/>
                    <a:pt x="176" y="245"/>
                    <a:pt x="175" y="243"/>
                  </a:cubicBezTo>
                  <a:cubicBezTo>
                    <a:pt x="173" y="240"/>
                    <a:pt x="174" y="240"/>
                    <a:pt x="175" y="238"/>
                  </a:cubicBezTo>
                  <a:cubicBezTo>
                    <a:pt x="176" y="236"/>
                    <a:pt x="177" y="235"/>
                    <a:pt x="180" y="233"/>
                  </a:cubicBezTo>
                  <a:cubicBezTo>
                    <a:pt x="182" y="230"/>
                    <a:pt x="182" y="232"/>
                    <a:pt x="184" y="230"/>
                  </a:cubicBezTo>
                  <a:cubicBezTo>
                    <a:pt x="186" y="228"/>
                    <a:pt x="188" y="228"/>
                    <a:pt x="188" y="225"/>
                  </a:cubicBezTo>
                  <a:cubicBezTo>
                    <a:pt x="189" y="222"/>
                    <a:pt x="188" y="220"/>
                    <a:pt x="188" y="219"/>
                  </a:cubicBezTo>
                  <a:cubicBezTo>
                    <a:pt x="189" y="219"/>
                    <a:pt x="189" y="221"/>
                    <a:pt x="190" y="219"/>
                  </a:cubicBezTo>
                  <a:cubicBezTo>
                    <a:pt x="190" y="218"/>
                    <a:pt x="190" y="217"/>
                    <a:pt x="190" y="216"/>
                  </a:cubicBezTo>
                  <a:cubicBezTo>
                    <a:pt x="190" y="216"/>
                    <a:pt x="190" y="215"/>
                    <a:pt x="191" y="215"/>
                  </a:cubicBezTo>
                  <a:cubicBezTo>
                    <a:pt x="192" y="216"/>
                    <a:pt x="192" y="216"/>
                    <a:pt x="192" y="215"/>
                  </a:cubicBezTo>
                  <a:cubicBezTo>
                    <a:pt x="193" y="215"/>
                    <a:pt x="194" y="212"/>
                    <a:pt x="198" y="208"/>
                  </a:cubicBezTo>
                  <a:cubicBezTo>
                    <a:pt x="202" y="204"/>
                    <a:pt x="203" y="204"/>
                    <a:pt x="204" y="201"/>
                  </a:cubicBezTo>
                  <a:cubicBezTo>
                    <a:pt x="205" y="199"/>
                    <a:pt x="207" y="200"/>
                    <a:pt x="208" y="199"/>
                  </a:cubicBezTo>
                  <a:cubicBezTo>
                    <a:pt x="210" y="198"/>
                    <a:pt x="211" y="198"/>
                    <a:pt x="212" y="197"/>
                  </a:cubicBezTo>
                  <a:cubicBezTo>
                    <a:pt x="212" y="196"/>
                    <a:pt x="217" y="196"/>
                    <a:pt x="218" y="195"/>
                  </a:cubicBezTo>
                  <a:cubicBezTo>
                    <a:pt x="219" y="194"/>
                    <a:pt x="219" y="196"/>
                    <a:pt x="217" y="197"/>
                  </a:cubicBezTo>
                  <a:cubicBezTo>
                    <a:pt x="216" y="197"/>
                    <a:pt x="214" y="199"/>
                    <a:pt x="214" y="200"/>
                  </a:cubicBezTo>
                  <a:cubicBezTo>
                    <a:pt x="215" y="201"/>
                    <a:pt x="216" y="202"/>
                    <a:pt x="217" y="201"/>
                  </a:cubicBezTo>
                  <a:cubicBezTo>
                    <a:pt x="218" y="200"/>
                    <a:pt x="218" y="199"/>
                    <a:pt x="220" y="198"/>
                  </a:cubicBezTo>
                  <a:cubicBezTo>
                    <a:pt x="221" y="198"/>
                    <a:pt x="224" y="198"/>
                    <a:pt x="225" y="197"/>
                  </a:cubicBezTo>
                  <a:cubicBezTo>
                    <a:pt x="227" y="196"/>
                    <a:pt x="226" y="195"/>
                    <a:pt x="227" y="195"/>
                  </a:cubicBezTo>
                  <a:cubicBezTo>
                    <a:pt x="229" y="195"/>
                    <a:pt x="231" y="195"/>
                    <a:pt x="230" y="194"/>
                  </a:cubicBezTo>
                  <a:cubicBezTo>
                    <a:pt x="229" y="192"/>
                    <a:pt x="230" y="190"/>
                    <a:pt x="229" y="190"/>
                  </a:cubicBezTo>
                  <a:cubicBezTo>
                    <a:pt x="228" y="191"/>
                    <a:pt x="228" y="191"/>
                    <a:pt x="227" y="193"/>
                  </a:cubicBezTo>
                  <a:cubicBezTo>
                    <a:pt x="226" y="194"/>
                    <a:pt x="227" y="195"/>
                    <a:pt x="225" y="195"/>
                  </a:cubicBezTo>
                  <a:cubicBezTo>
                    <a:pt x="224" y="194"/>
                    <a:pt x="223" y="194"/>
                    <a:pt x="222" y="194"/>
                  </a:cubicBezTo>
                  <a:cubicBezTo>
                    <a:pt x="222" y="195"/>
                    <a:pt x="220" y="194"/>
                    <a:pt x="219" y="193"/>
                  </a:cubicBezTo>
                  <a:cubicBezTo>
                    <a:pt x="218" y="193"/>
                    <a:pt x="218" y="192"/>
                    <a:pt x="217" y="192"/>
                  </a:cubicBezTo>
                  <a:cubicBezTo>
                    <a:pt x="217" y="191"/>
                    <a:pt x="218" y="192"/>
                    <a:pt x="217" y="190"/>
                  </a:cubicBezTo>
                  <a:cubicBezTo>
                    <a:pt x="217" y="188"/>
                    <a:pt x="216" y="188"/>
                    <a:pt x="215" y="188"/>
                  </a:cubicBezTo>
                  <a:cubicBezTo>
                    <a:pt x="214" y="187"/>
                    <a:pt x="214" y="187"/>
                    <a:pt x="214" y="187"/>
                  </a:cubicBezTo>
                  <a:cubicBezTo>
                    <a:pt x="215" y="187"/>
                    <a:pt x="216" y="188"/>
                    <a:pt x="218" y="187"/>
                  </a:cubicBezTo>
                  <a:cubicBezTo>
                    <a:pt x="219" y="186"/>
                    <a:pt x="219" y="185"/>
                    <a:pt x="218" y="184"/>
                  </a:cubicBezTo>
                  <a:cubicBezTo>
                    <a:pt x="217" y="183"/>
                    <a:pt x="214" y="183"/>
                    <a:pt x="213" y="183"/>
                  </a:cubicBezTo>
                  <a:cubicBezTo>
                    <a:pt x="211" y="184"/>
                    <a:pt x="207" y="186"/>
                    <a:pt x="205" y="188"/>
                  </a:cubicBezTo>
                  <a:cubicBezTo>
                    <a:pt x="202" y="191"/>
                    <a:pt x="201" y="192"/>
                    <a:pt x="202" y="191"/>
                  </a:cubicBezTo>
                  <a:cubicBezTo>
                    <a:pt x="202" y="190"/>
                    <a:pt x="206" y="186"/>
                    <a:pt x="207" y="185"/>
                  </a:cubicBezTo>
                  <a:cubicBezTo>
                    <a:pt x="208" y="184"/>
                    <a:pt x="210" y="183"/>
                    <a:pt x="211" y="181"/>
                  </a:cubicBezTo>
                  <a:cubicBezTo>
                    <a:pt x="213" y="179"/>
                    <a:pt x="213" y="180"/>
                    <a:pt x="215" y="180"/>
                  </a:cubicBezTo>
                  <a:cubicBezTo>
                    <a:pt x="216" y="180"/>
                    <a:pt x="222" y="179"/>
                    <a:pt x="224" y="180"/>
                  </a:cubicBezTo>
                  <a:cubicBezTo>
                    <a:pt x="227" y="180"/>
                    <a:pt x="229" y="180"/>
                    <a:pt x="231" y="179"/>
                  </a:cubicBezTo>
                  <a:cubicBezTo>
                    <a:pt x="233" y="177"/>
                    <a:pt x="235" y="176"/>
                    <a:pt x="236" y="176"/>
                  </a:cubicBezTo>
                  <a:cubicBezTo>
                    <a:pt x="238" y="176"/>
                    <a:pt x="240" y="175"/>
                    <a:pt x="241" y="173"/>
                  </a:cubicBezTo>
                  <a:cubicBezTo>
                    <a:pt x="242" y="171"/>
                    <a:pt x="240" y="168"/>
                    <a:pt x="238" y="168"/>
                  </a:cubicBezTo>
                  <a:cubicBezTo>
                    <a:pt x="236" y="168"/>
                    <a:pt x="237" y="165"/>
                    <a:pt x="235" y="164"/>
                  </a:cubicBezTo>
                  <a:cubicBezTo>
                    <a:pt x="233" y="163"/>
                    <a:pt x="230" y="163"/>
                    <a:pt x="229" y="161"/>
                  </a:cubicBezTo>
                  <a:cubicBezTo>
                    <a:pt x="229" y="160"/>
                    <a:pt x="224" y="159"/>
                    <a:pt x="226" y="157"/>
                  </a:cubicBezTo>
                  <a:cubicBezTo>
                    <a:pt x="227" y="154"/>
                    <a:pt x="225" y="153"/>
                    <a:pt x="224" y="152"/>
                  </a:cubicBezTo>
                  <a:cubicBezTo>
                    <a:pt x="223" y="150"/>
                    <a:pt x="220" y="148"/>
                    <a:pt x="220" y="147"/>
                  </a:cubicBezTo>
                  <a:cubicBezTo>
                    <a:pt x="219" y="145"/>
                    <a:pt x="219" y="142"/>
                    <a:pt x="217" y="144"/>
                  </a:cubicBezTo>
                  <a:cubicBezTo>
                    <a:pt x="216" y="145"/>
                    <a:pt x="216" y="147"/>
                    <a:pt x="215" y="148"/>
                  </a:cubicBezTo>
                  <a:cubicBezTo>
                    <a:pt x="214" y="149"/>
                    <a:pt x="211" y="151"/>
                    <a:pt x="210" y="151"/>
                  </a:cubicBezTo>
                  <a:cubicBezTo>
                    <a:pt x="209" y="150"/>
                    <a:pt x="206" y="149"/>
                    <a:pt x="206" y="148"/>
                  </a:cubicBezTo>
                  <a:cubicBezTo>
                    <a:pt x="206" y="146"/>
                    <a:pt x="204" y="144"/>
                    <a:pt x="205" y="143"/>
                  </a:cubicBezTo>
                  <a:cubicBezTo>
                    <a:pt x="205" y="141"/>
                    <a:pt x="205" y="140"/>
                    <a:pt x="204" y="141"/>
                  </a:cubicBezTo>
                  <a:cubicBezTo>
                    <a:pt x="204" y="141"/>
                    <a:pt x="202" y="141"/>
                    <a:pt x="201" y="140"/>
                  </a:cubicBezTo>
                  <a:cubicBezTo>
                    <a:pt x="200" y="139"/>
                    <a:pt x="197" y="137"/>
                    <a:pt x="196" y="136"/>
                  </a:cubicBezTo>
                  <a:cubicBezTo>
                    <a:pt x="195" y="135"/>
                    <a:pt x="195" y="135"/>
                    <a:pt x="193" y="135"/>
                  </a:cubicBezTo>
                  <a:cubicBezTo>
                    <a:pt x="191" y="136"/>
                    <a:pt x="189" y="136"/>
                    <a:pt x="187" y="135"/>
                  </a:cubicBezTo>
                  <a:cubicBezTo>
                    <a:pt x="185" y="133"/>
                    <a:pt x="183" y="134"/>
                    <a:pt x="183" y="135"/>
                  </a:cubicBezTo>
                  <a:cubicBezTo>
                    <a:pt x="183" y="136"/>
                    <a:pt x="183" y="137"/>
                    <a:pt x="184" y="139"/>
                  </a:cubicBezTo>
                  <a:cubicBezTo>
                    <a:pt x="185" y="141"/>
                    <a:pt x="182" y="140"/>
                    <a:pt x="184" y="142"/>
                  </a:cubicBezTo>
                  <a:cubicBezTo>
                    <a:pt x="185" y="143"/>
                    <a:pt x="185" y="145"/>
                    <a:pt x="184" y="146"/>
                  </a:cubicBezTo>
                  <a:cubicBezTo>
                    <a:pt x="183" y="147"/>
                    <a:pt x="182" y="149"/>
                    <a:pt x="184" y="151"/>
                  </a:cubicBezTo>
                  <a:cubicBezTo>
                    <a:pt x="186" y="152"/>
                    <a:pt x="187" y="154"/>
                    <a:pt x="187" y="156"/>
                  </a:cubicBezTo>
                  <a:cubicBezTo>
                    <a:pt x="187" y="158"/>
                    <a:pt x="186" y="160"/>
                    <a:pt x="185" y="161"/>
                  </a:cubicBezTo>
                  <a:cubicBezTo>
                    <a:pt x="184" y="162"/>
                    <a:pt x="179" y="163"/>
                    <a:pt x="180" y="165"/>
                  </a:cubicBezTo>
                  <a:cubicBezTo>
                    <a:pt x="180" y="167"/>
                    <a:pt x="180" y="167"/>
                    <a:pt x="181" y="169"/>
                  </a:cubicBezTo>
                  <a:cubicBezTo>
                    <a:pt x="182" y="171"/>
                    <a:pt x="182" y="174"/>
                    <a:pt x="181" y="174"/>
                  </a:cubicBezTo>
                  <a:cubicBezTo>
                    <a:pt x="180" y="175"/>
                    <a:pt x="178" y="177"/>
                    <a:pt x="177" y="175"/>
                  </a:cubicBezTo>
                  <a:cubicBezTo>
                    <a:pt x="175" y="173"/>
                    <a:pt x="172" y="172"/>
                    <a:pt x="172" y="169"/>
                  </a:cubicBezTo>
                  <a:cubicBezTo>
                    <a:pt x="172" y="167"/>
                    <a:pt x="173" y="163"/>
                    <a:pt x="171" y="163"/>
                  </a:cubicBezTo>
                  <a:cubicBezTo>
                    <a:pt x="170" y="162"/>
                    <a:pt x="165" y="162"/>
                    <a:pt x="163" y="161"/>
                  </a:cubicBezTo>
                  <a:cubicBezTo>
                    <a:pt x="162" y="160"/>
                    <a:pt x="156" y="157"/>
                    <a:pt x="154" y="156"/>
                  </a:cubicBezTo>
                  <a:cubicBezTo>
                    <a:pt x="151" y="156"/>
                    <a:pt x="149" y="155"/>
                    <a:pt x="146" y="155"/>
                  </a:cubicBezTo>
                  <a:cubicBezTo>
                    <a:pt x="144" y="155"/>
                    <a:pt x="145" y="155"/>
                    <a:pt x="145" y="154"/>
                  </a:cubicBezTo>
                  <a:cubicBezTo>
                    <a:pt x="145" y="152"/>
                    <a:pt x="144" y="149"/>
                    <a:pt x="142" y="149"/>
                  </a:cubicBezTo>
                  <a:cubicBezTo>
                    <a:pt x="140" y="149"/>
                    <a:pt x="139" y="149"/>
                    <a:pt x="139" y="147"/>
                  </a:cubicBezTo>
                  <a:cubicBezTo>
                    <a:pt x="139" y="146"/>
                    <a:pt x="139" y="143"/>
                    <a:pt x="141" y="141"/>
                  </a:cubicBezTo>
                  <a:cubicBezTo>
                    <a:pt x="142" y="139"/>
                    <a:pt x="145" y="136"/>
                    <a:pt x="146" y="135"/>
                  </a:cubicBezTo>
                  <a:cubicBezTo>
                    <a:pt x="147" y="133"/>
                    <a:pt x="146" y="134"/>
                    <a:pt x="147" y="133"/>
                  </a:cubicBezTo>
                  <a:cubicBezTo>
                    <a:pt x="148" y="133"/>
                    <a:pt x="150" y="132"/>
                    <a:pt x="149" y="131"/>
                  </a:cubicBezTo>
                  <a:cubicBezTo>
                    <a:pt x="148" y="130"/>
                    <a:pt x="148" y="130"/>
                    <a:pt x="149" y="130"/>
                  </a:cubicBezTo>
                  <a:cubicBezTo>
                    <a:pt x="150" y="130"/>
                    <a:pt x="153" y="129"/>
                    <a:pt x="154" y="128"/>
                  </a:cubicBezTo>
                  <a:cubicBezTo>
                    <a:pt x="155" y="127"/>
                    <a:pt x="158" y="126"/>
                    <a:pt x="159" y="125"/>
                  </a:cubicBezTo>
                  <a:cubicBezTo>
                    <a:pt x="159" y="124"/>
                    <a:pt x="160" y="123"/>
                    <a:pt x="158" y="123"/>
                  </a:cubicBezTo>
                  <a:cubicBezTo>
                    <a:pt x="157" y="123"/>
                    <a:pt x="157" y="123"/>
                    <a:pt x="159" y="122"/>
                  </a:cubicBezTo>
                  <a:cubicBezTo>
                    <a:pt x="160" y="122"/>
                    <a:pt x="161" y="121"/>
                    <a:pt x="162" y="120"/>
                  </a:cubicBezTo>
                  <a:cubicBezTo>
                    <a:pt x="163" y="119"/>
                    <a:pt x="160" y="119"/>
                    <a:pt x="161" y="118"/>
                  </a:cubicBezTo>
                  <a:cubicBezTo>
                    <a:pt x="162" y="117"/>
                    <a:pt x="163" y="117"/>
                    <a:pt x="163" y="118"/>
                  </a:cubicBezTo>
                  <a:cubicBezTo>
                    <a:pt x="164" y="118"/>
                    <a:pt x="163" y="119"/>
                    <a:pt x="164" y="119"/>
                  </a:cubicBezTo>
                  <a:cubicBezTo>
                    <a:pt x="165" y="119"/>
                    <a:pt x="168" y="119"/>
                    <a:pt x="168" y="118"/>
                  </a:cubicBezTo>
                  <a:cubicBezTo>
                    <a:pt x="168" y="117"/>
                    <a:pt x="170" y="118"/>
                    <a:pt x="171" y="117"/>
                  </a:cubicBezTo>
                  <a:cubicBezTo>
                    <a:pt x="172" y="116"/>
                    <a:pt x="175" y="114"/>
                    <a:pt x="174" y="113"/>
                  </a:cubicBezTo>
                  <a:cubicBezTo>
                    <a:pt x="173" y="112"/>
                    <a:pt x="170" y="109"/>
                    <a:pt x="172" y="109"/>
                  </a:cubicBezTo>
                  <a:cubicBezTo>
                    <a:pt x="173" y="109"/>
                    <a:pt x="174" y="108"/>
                    <a:pt x="174" y="107"/>
                  </a:cubicBezTo>
                  <a:cubicBezTo>
                    <a:pt x="173" y="105"/>
                    <a:pt x="173" y="104"/>
                    <a:pt x="172" y="104"/>
                  </a:cubicBezTo>
                  <a:cubicBezTo>
                    <a:pt x="170" y="103"/>
                    <a:pt x="168" y="103"/>
                    <a:pt x="167" y="103"/>
                  </a:cubicBezTo>
                  <a:cubicBezTo>
                    <a:pt x="165" y="103"/>
                    <a:pt x="162" y="104"/>
                    <a:pt x="164" y="106"/>
                  </a:cubicBezTo>
                  <a:cubicBezTo>
                    <a:pt x="166" y="108"/>
                    <a:pt x="163" y="106"/>
                    <a:pt x="163" y="110"/>
                  </a:cubicBezTo>
                  <a:cubicBezTo>
                    <a:pt x="162" y="113"/>
                    <a:pt x="161" y="112"/>
                    <a:pt x="159" y="115"/>
                  </a:cubicBezTo>
                  <a:cubicBezTo>
                    <a:pt x="158" y="116"/>
                    <a:pt x="158" y="114"/>
                    <a:pt x="157" y="113"/>
                  </a:cubicBezTo>
                  <a:cubicBezTo>
                    <a:pt x="157" y="113"/>
                    <a:pt x="155" y="111"/>
                    <a:pt x="156" y="110"/>
                  </a:cubicBezTo>
                  <a:cubicBezTo>
                    <a:pt x="158" y="109"/>
                    <a:pt x="158" y="108"/>
                    <a:pt x="156" y="107"/>
                  </a:cubicBezTo>
                  <a:cubicBezTo>
                    <a:pt x="155" y="106"/>
                    <a:pt x="152" y="104"/>
                    <a:pt x="152" y="107"/>
                  </a:cubicBezTo>
                  <a:cubicBezTo>
                    <a:pt x="152" y="110"/>
                    <a:pt x="150" y="111"/>
                    <a:pt x="151" y="109"/>
                  </a:cubicBezTo>
                  <a:cubicBezTo>
                    <a:pt x="151" y="108"/>
                    <a:pt x="151" y="105"/>
                    <a:pt x="149" y="104"/>
                  </a:cubicBezTo>
                  <a:cubicBezTo>
                    <a:pt x="148" y="103"/>
                    <a:pt x="146" y="105"/>
                    <a:pt x="146" y="104"/>
                  </a:cubicBezTo>
                  <a:cubicBezTo>
                    <a:pt x="146" y="103"/>
                    <a:pt x="145" y="103"/>
                    <a:pt x="146" y="102"/>
                  </a:cubicBezTo>
                  <a:cubicBezTo>
                    <a:pt x="147" y="101"/>
                    <a:pt x="147" y="101"/>
                    <a:pt x="146" y="99"/>
                  </a:cubicBezTo>
                  <a:cubicBezTo>
                    <a:pt x="145" y="98"/>
                    <a:pt x="145" y="97"/>
                    <a:pt x="144" y="96"/>
                  </a:cubicBezTo>
                  <a:cubicBezTo>
                    <a:pt x="142" y="95"/>
                    <a:pt x="140" y="94"/>
                    <a:pt x="141" y="92"/>
                  </a:cubicBezTo>
                  <a:cubicBezTo>
                    <a:pt x="142" y="91"/>
                    <a:pt x="143" y="90"/>
                    <a:pt x="142" y="89"/>
                  </a:cubicBezTo>
                  <a:cubicBezTo>
                    <a:pt x="141" y="88"/>
                    <a:pt x="142" y="88"/>
                    <a:pt x="143" y="88"/>
                  </a:cubicBezTo>
                  <a:cubicBezTo>
                    <a:pt x="144" y="89"/>
                    <a:pt x="147" y="89"/>
                    <a:pt x="147" y="87"/>
                  </a:cubicBezTo>
                  <a:cubicBezTo>
                    <a:pt x="147" y="86"/>
                    <a:pt x="152" y="84"/>
                    <a:pt x="150" y="83"/>
                  </a:cubicBezTo>
                  <a:cubicBezTo>
                    <a:pt x="149" y="82"/>
                    <a:pt x="146" y="82"/>
                    <a:pt x="144" y="82"/>
                  </a:cubicBezTo>
                  <a:cubicBezTo>
                    <a:pt x="143" y="82"/>
                    <a:pt x="141" y="81"/>
                    <a:pt x="139" y="82"/>
                  </a:cubicBezTo>
                  <a:cubicBezTo>
                    <a:pt x="138" y="83"/>
                    <a:pt x="137" y="83"/>
                    <a:pt x="137" y="85"/>
                  </a:cubicBezTo>
                  <a:cubicBezTo>
                    <a:pt x="138" y="87"/>
                    <a:pt x="136" y="88"/>
                    <a:pt x="138" y="90"/>
                  </a:cubicBezTo>
                  <a:cubicBezTo>
                    <a:pt x="139" y="91"/>
                    <a:pt x="138" y="93"/>
                    <a:pt x="137" y="94"/>
                  </a:cubicBezTo>
                  <a:cubicBezTo>
                    <a:pt x="136" y="95"/>
                    <a:pt x="134" y="97"/>
                    <a:pt x="136" y="99"/>
                  </a:cubicBezTo>
                  <a:cubicBezTo>
                    <a:pt x="137" y="101"/>
                    <a:pt x="134" y="102"/>
                    <a:pt x="137" y="103"/>
                  </a:cubicBezTo>
                  <a:cubicBezTo>
                    <a:pt x="137" y="103"/>
                    <a:pt x="138" y="104"/>
                    <a:pt x="140" y="104"/>
                  </a:cubicBezTo>
                  <a:cubicBezTo>
                    <a:pt x="141" y="104"/>
                    <a:pt x="141" y="105"/>
                    <a:pt x="141" y="106"/>
                  </a:cubicBezTo>
                  <a:cubicBezTo>
                    <a:pt x="142" y="107"/>
                    <a:pt x="140" y="107"/>
                    <a:pt x="141" y="108"/>
                  </a:cubicBezTo>
                  <a:cubicBezTo>
                    <a:pt x="142" y="108"/>
                    <a:pt x="141" y="110"/>
                    <a:pt x="140" y="110"/>
                  </a:cubicBezTo>
                  <a:cubicBezTo>
                    <a:pt x="139" y="111"/>
                    <a:pt x="137" y="111"/>
                    <a:pt x="137" y="112"/>
                  </a:cubicBezTo>
                  <a:cubicBezTo>
                    <a:pt x="138" y="114"/>
                    <a:pt x="138" y="116"/>
                    <a:pt x="137" y="115"/>
                  </a:cubicBezTo>
                  <a:cubicBezTo>
                    <a:pt x="136" y="114"/>
                    <a:pt x="135" y="114"/>
                    <a:pt x="136" y="113"/>
                  </a:cubicBezTo>
                  <a:cubicBezTo>
                    <a:pt x="136" y="112"/>
                    <a:pt x="137" y="110"/>
                    <a:pt x="136" y="110"/>
                  </a:cubicBezTo>
                  <a:cubicBezTo>
                    <a:pt x="135" y="110"/>
                    <a:pt x="134" y="110"/>
                    <a:pt x="134" y="110"/>
                  </a:cubicBezTo>
                  <a:cubicBezTo>
                    <a:pt x="134" y="109"/>
                    <a:pt x="135" y="109"/>
                    <a:pt x="136" y="109"/>
                  </a:cubicBezTo>
                  <a:cubicBezTo>
                    <a:pt x="137" y="108"/>
                    <a:pt x="137" y="108"/>
                    <a:pt x="136" y="107"/>
                  </a:cubicBezTo>
                  <a:cubicBezTo>
                    <a:pt x="136" y="105"/>
                    <a:pt x="134" y="105"/>
                    <a:pt x="133" y="104"/>
                  </a:cubicBezTo>
                  <a:cubicBezTo>
                    <a:pt x="132" y="103"/>
                    <a:pt x="131" y="103"/>
                    <a:pt x="130" y="104"/>
                  </a:cubicBezTo>
                  <a:cubicBezTo>
                    <a:pt x="129" y="106"/>
                    <a:pt x="128" y="106"/>
                    <a:pt x="130" y="107"/>
                  </a:cubicBezTo>
                  <a:cubicBezTo>
                    <a:pt x="132" y="109"/>
                    <a:pt x="132" y="109"/>
                    <a:pt x="131" y="110"/>
                  </a:cubicBezTo>
                  <a:cubicBezTo>
                    <a:pt x="130" y="110"/>
                    <a:pt x="129" y="110"/>
                    <a:pt x="130" y="111"/>
                  </a:cubicBezTo>
                  <a:cubicBezTo>
                    <a:pt x="130" y="112"/>
                    <a:pt x="129" y="112"/>
                    <a:pt x="128" y="112"/>
                  </a:cubicBezTo>
                  <a:cubicBezTo>
                    <a:pt x="127" y="112"/>
                    <a:pt x="123" y="113"/>
                    <a:pt x="121" y="112"/>
                  </a:cubicBezTo>
                  <a:cubicBezTo>
                    <a:pt x="120" y="112"/>
                    <a:pt x="119" y="111"/>
                    <a:pt x="117" y="111"/>
                  </a:cubicBezTo>
                  <a:cubicBezTo>
                    <a:pt x="115" y="111"/>
                    <a:pt x="113" y="111"/>
                    <a:pt x="112" y="110"/>
                  </a:cubicBezTo>
                  <a:cubicBezTo>
                    <a:pt x="112" y="109"/>
                    <a:pt x="110" y="110"/>
                    <a:pt x="108" y="111"/>
                  </a:cubicBezTo>
                  <a:cubicBezTo>
                    <a:pt x="106" y="112"/>
                    <a:pt x="104" y="111"/>
                    <a:pt x="106" y="113"/>
                  </a:cubicBezTo>
                  <a:cubicBezTo>
                    <a:pt x="107" y="115"/>
                    <a:pt x="107" y="118"/>
                    <a:pt x="105" y="116"/>
                  </a:cubicBezTo>
                  <a:cubicBezTo>
                    <a:pt x="104" y="115"/>
                    <a:pt x="104" y="114"/>
                    <a:pt x="102" y="113"/>
                  </a:cubicBezTo>
                  <a:cubicBezTo>
                    <a:pt x="100" y="112"/>
                    <a:pt x="99" y="111"/>
                    <a:pt x="98" y="112"/>
                  </a:cubicBezTo>
                  <a:cubicBezTo>
                    <a:pt x="96" y="113"/>
                    <a:pt x="96" y="112"/>
                    <a:pt x="93" y="113"/>
                  </a:cubicBezTo>
                  <a:cubicBezTo>
                    <a:pt x="90" y="113"/>
                    <a:pt x="84" y="112"/>
                    <a:pt x="86" y="111"/>
                  </a:cubicBezTo>
                  <a:cubicBezTo>
                    <a:pt x="88" y="110"/>
                    <a:pt x="89" y="110"/>
                    <a:pt x="88" y="108"/>
                  </a:cubicBezTo>
                  <a:cubicBezTo>
                    <a:pt x="86" y="107"/>
                    <a:pt x="85" y="107"/>
                    <a:pt x="84" y="107"/>
                  </a:cubicBezTo>
                  <a:cubicBezTo>
                    <a:pt x="82" y="108"/>
                    <a:pt x="80" y="107"/>
                    <a:pt x="78" y="106"/>
                  </a:cubicBezTo>
                  <a:cubicBezTo>
                    <a:pt x="77" y="106"/>
                    <a:pt x="74" y="105"/>
                    <a:pt x="72" y="105"/>
                  </a:cubicBezTo>
                  <a:cubicBezTo>
                    <a:pt x="71" y="104"/>
                    <a:pt x="69" y="103"/>
                    <a:pt x="67" y="103"/>
                  </a:cubicBezTo>
                  <a:cubicBezTo>
                    <a:pt x="67" y="103"/>
                    <a:pt x="65" y="102"/>
                    <a:pt x="65" y="104"/>
                  </a:cubicBezTo>
                  <a:cubicBezTo>
                    <a:pt x="65" y="104"/>
                    <a:pt x="65" y="106"/>
                    <a:pt x="64" y="105"/>
                  </a:cubicBezTo>
                  <a:cubicBezTo>
                    <a:pt x="62" y="104"/>
                    <a:pt x="62" y="101"/>
                    <a:pt x="61" y="102"/>
                  </a:cubicBezTo>
                  <a:cubicBezTo>
                    <a:pt x="59" y="102"/>
                    <a:pt x="60" y="107"/>
                    <a:pt x="58" y="105"/>
                  </a:cubicBezTo>
                  <a:cubicBezTo>
                    <a:pt x="58" y="104"/>
                    <a:pt x="57" y="104"/>
                    <a:pt x="57" y="104"/>
                  </a:cubicBezTo>
                  <a:cubicBezTo>
                    <a:pt x="47" y="119"/>
                    <a:pt x="38" y="135"/>
                    <a:pt x="31" y="152"/>
                  </a:cubicBezTo>
                  <a:cubicBezTo>
                    <a:pt x="31" y="153"/>
                    <a:pt x="32" y="154"/>
                    <a:pt x="34" y="152"/>
                  </a:cubicBezTo>
                  <a:cubicBezTo>
                    <a:pt x="34" y="152"/>
                    <a:pt x="35" y="151"/>
                    <a:pt x="36" y="152"/>
                  </a:cubicBezTo>
                  <a:cubicBezTo>
                    <a:pt x="37" y="153"/>
                    <a:pt x="39" y="158"/>
                    <a:pt x="42" y="158"/>
                  </a:cubicBezTo>
                  <a:cubicBezTo>
                    <a:pt x="44" y="158"/>
                    <a:pt x="42" y="161"/>
                    <a:pt x="41" y="161"/>
                  </a:cubicBezTo>
                  <a:cubicBezTo>
                    <a:pt x="40" y="160"/>
                    <a:pt x="39" y="158"/>
                    <a:pt x="39" y="159"/>
                  </a:cubicBezTo>
                  <a:cubicBezTo>
                    <a:pt x="39" y="161"/>
                    <a:pt x="40" y="165"/>
                    <a:pt x="41" y="164"/>
                  </a:cubicBezTo>
                  <a:cubicBezTo>
                    <a:pt x="42" y="163"/>
                    <a:pt x="42" y="163"/>
                    <a:pt x="42" y="162"/>
                  </a:cubicBezTo>
                  <a:cubicBezTo>
                    <a:pt x="43" y="161"/>
                    <a:pt x="43" y="160"/>
                    <a:pt x="44" y="160"/>
                  </a:cubicBezTo>
                  <a:cubicBezTo>
                    <a:pt x="45" y="161"/>
                    <a:pt x="44" y="161"/>
                    <a:pt x="45" y="162"/>
                  </a:cubicBezTo>
                  <a:cubicBezTo>
                    <a:pt x="46" y="164"/>
                    <a:pt x="47" y="164"/>
                    <a:pt x="47" y="163"/>
                  </a:cubicBezTo>
                  <a:cubicBezTo>
                    <a:pt x="47" y="163"/>
                    <a:pt x="48" y="163"/>
                    <a:pt x="47" y="164"/>
                  </a:cubicBezTo>
                  <a:cubicBezTo>
                    <a:pt x="45" y="166"/>
                    <a:pt x="45" y="166"/>
                    <a:pt x="48" y="168"/>
                  </a:cubicBezTo>
                  <a:cubicBezTo>
                    <a:pt x="51" y="169"/>
                    <a:pt x="50" y="168"/>
                    <a:pt x="51" y="168"/>
                  </a:cubicBezTo>
                  <a:cubicBezTo>
                    <a:pt x="52" y="167"/>
                    <a:pt x="51" y="168"/>
                    <a:pt x="51" y="169"/>
                  </a:cubicBezTo>
                  <a:cubicBezTo>
                    <a:pt x="51" y="170"/>
                    <a:pt x="52" y="174"/>
                    <a:pt x="53" y="173"/>
                  </a:cubicBezTo>
                  <a:cubicBezTo>
                    <a:pt x="54" y="172"/>
                    <a:pt x="55" y="173"/>
                    <a:pt x="54" y="174"/>
                  </a:cubicBezTo>
                  <a:cubicBezTo>
                    <a:pt x="53" y="175"/>
                    <a:pt x="54" y="178"/>
                    <a:pt x="56" y="178"/>
                  </a:cubicBezTo>
                  <a:cubicBezTo>
                    <a:pt x="58" y="178"/>
                    <a:pt x="57" y="180"/>
                    <a:pt x="55" y="179"/>
                  </a:cubicBezTo>
                  <a:cubicBezTo>
                    <a:pt x="54" y="178"/>
                    <a:pt x="52" y="179"/>
                    <a:pt x="53" y="180"/>
                  </a:cubicBezTo>
                  <a:cubicBezTo>
                    <a:pt x="55" y="181"/>
                    <a:pt x="56" y="182"/>
                    <a:pt x="57" y="183"/>
                  </a:cubicBezTo>
                  <a:cubicBezTo>
                    <a:pt x="59" y="183"/>
                    <a:pt x="64" y="187"/>
                    <a:pt x="63" y="187"/>
                  </a:cubicBezTo>
                  <a:cubicBezTo>
                    <a:pt x="62" y="187"/>
                    <a:pt x="61" y="188"/>
                    <a:pt x="63" y="190"/>
                  </a:cubicBezTo>
                  <a:cubicBezTo>
                    <a:pt x="64" y="192"/>
                    <a:pt x="64" y="193"/>
                    <a:pt x="63" y="194"/>
                  </a:cubicBezTo>
                  <a:cubicBezTo>
                    <a:pt x="63" y="194"/>
                    <a:pt x="62" y="205"/>
                    <a:pt x="63" y="207"/>
                  </a:cubicBezTo>
                  <a:cubicBezTo>
                    <a:pt x="64" y="210"/>
                    <a:pt x="62" y="215"/>
                    <a:pt x="66" y="218"/>
                  </a:cubicBezTo>
                  <a:cubicBezTo>
                    <a:pt x="66" y="218"/>
                    <a:pt x="64" y="220"/>
                    <a:pt x="65" y="222"/>
                  </a:cubicBezTo>
                  <a:cubicBezTo>
                    <a:pt x="65" y="222"/>
                    <a:pt x="65" y="223"/>
                    <a:pt x="67" y="223"/>
                  </a:cubicBezTo>
                  <a:cubicBezTo>
                    <a:pt x="68" y="222"/>
                    <a:pt x="68" y="222"/>
                    <a:pt x="69" y="224"/>
                  </a:cubicBezTo>
                  <a:cubicBezTo>
                    <a:pt x="69" y="225"/>
                    <a:pt x="70" y="226"/>
                    <a:pt x="71" y="227"/>
                  </a:cubicBezTo>
                  <a:cubicBezTo>
                    <a:pt x="72" y="228"/>
                    <a:pt x="72" y="230"/>
                    <a:pt x="75" y="230"/>
                  </a:cubicBezTo>
                  <a:cubicBezTo>
                    <a:pt x="77" y="230"/>
                    <a:pt x="79" y="233"/>
                    <a:pt x="78" y="234"/>
                  </a:cubicBezTo>
                  <a:cubicBezTo>
                    <a:pt x="77" y="235"/>
                    <a:pt x="79" y="237"/>
                    <a:pt x="81" y="236"/>
                  </a:cubicBezTo>
                  <a:cubicBezTo>
                    <a:pt x="82" y="236"/>
                    <a:pt x="83" y="239"/>
                    <a:pt x="83" y="239"/>
                  </a:cubicBezTo>
                  <a:cubicBezTo>
                    <a:pt x="83" y="239"/>
                    <a:pt x="85" y="243"/>
                    <a:pt x="87" y="245"/>
                  </a:cubicBezTo>
                  <a:cubicBezTo>
                    <a:pt x="88" y="246"/>
                    <a:pt x="90" y="248"/>
                    <a:pt x="88" y="249"/>
                  </a:cubicBezTo>
                  <a:cubicBezTo>
                    <a:pt x="87" y="250"/>
                    <a:pt x="91" y="252"/>
                    <a:pt x="91" y="252"/>
                  </a:cubicBezTo>
                  <a:cubicBezTo>
                    <a:pt x="91" y="252"/>
                    <a:pt x="94" y="253"/>
                    <a:pt x="94" y="256"/>
                  </a:cubicBezTo>
                  <a:cubicBezTo>
                    <a:pt x="94" y="259"/>
                    <a:pt x="96" y="259"/>
                    <a:pt x="98" y="260"/>
                  </a:cubicBezTo>
                  <a:cubicBezTo>
                    <a:pt x="99" y="261"/>
                    <a:pt x="100" y="263"/>
                    <a:pt x="101" y="262"/>
                  </a:cubicBezTo>
                  <a:cubicBezTo>
                    <a:pt x="101" y="261"/>
                    <a:pt x="99" y="260"/>
                    <a:pt x="98" y="258"/>
                  </a:cubicBezTo>
                  <a:cubicBezTo>
                    <a:pt x="98" y="257"/>
                    <a:pt x="98" y="256"/>
                    <a:pt x="96" y="254"/>
                  </a:cubicBezTo>
                  <a:cubicBezTo>
                    <a:pt x="95" y="251"/>
                    <a:pt x="95" y="251"/>
                    <a:pt x="93" y="249"/>
                  </a:cubicBezTo>
                  <a:cubicBezTo>
                    <a:pt x="90" y="247"/>
                    <a:pt x="92" y="247"/>
                    <a:pt x="89" y="244"/>
                  </a:cubicBezTo>
                  <a:cubicBezTo>
                    <a:pt x="86" y="241"/>
                    <a:pt x="87" y="238"/>
                    <a:pt x="88" y="238"/>
                  </a:cubicBezTo>
                  <a:cubicBezTo>
                    <a:pt x="89" y="238"/>
                    <a:pt x="91" y="239"/>
                    <a:pt x="92" y="241"/>
                  </a:cubicBezTo>
                  <a:cubicBezTo>
                    <a:pt x="92" y="243"/>
                    <a:pt x="95" y="247"/>
                    <a:pt x="98" y="249"/>
                  </a:cubicBezTo>
                  <a:cubicBezTo>
                    <a:pt x="98" y="249"/>
                    <a:pt x="99" y="252"/>
                    <a:pt x="103" y="255"/>
                  </a:cubicBezTo>
                  <a:cubicBezTo>
                    <a:pt x="106" y="258"/>
                    <a:pt x="109" y="261"/>
                    <a:pt x="110" y="262"/>
                  </a:cubicBezTo>
                  <a:cubicBezTo>
                    <a:pt x="110" y="264"/>
                    <a:pt x="113" y="267"/>
                    <a:pt x="112" y="270"/>
                  </a:cubicBezTo>
                  <a:cubicBezTo>
                    <a:pt x="111" y="272"/>
                    <a:pt x="114" y="272"/>
                    <a:pt x="116" y="274"/>
                  </a:cubicBezTo>
                  <a:cubicBezTo>
                    <a:pt x="119" y="276"/>
                    <a:pt x="123" y="278"/>
                    <a:pt x="126" y="279"/>
                  </a:cubicBezTo>
                  <a:cubicBezTo>
                    <a:pt x="128" y="279"/>
                    <a:pt x="134" y="283"/>
                    <a:pt x="137" y="282"/>
                  </a:cubicBezTo>
                  <a:cubicBezTo>
                    <a:pt x="139" y="280"/>
                    <a:pt x="142" y="282"/>
                    <a:pt x="142" y="282"/>
                  </a:cubicBezTo>
                  <a:cubicBezTo>
                    <a:pt x="142" y="282"/>
                    <a:pt x="146" y="286"/>
                    <a:pt x="150" y="287"/>
                  </a:cubicBezTo>
                  <a:cubicBezTo>
                    <a:pt x="154" y="287"/>
                    <a:pt x="154" y="289"/>
                    <a:pt x="159" y="290"/>
                  </a:cubicBezTo>
                  <a:cubicBezTo>
                    <a:pt x="164" y="291"/>
                    <a:pt x="163" y="294"/>
                    <a:pt x="163" y="295"/>
                  </a:cubicBezTo>
                  <a:cubicBezTo>
                    <a:pt x="163" y="296"/>
                    <a:pt x="163" y="297"/>
                    <a:pt x="166" y="298"/>
                  </a:cubicBezTo>
                  <a:cubicBezTo>
                    <a:pt x="168" y="299"/>
                    <a:pt x="167" y="301"/>
                    <a:pt x="171" y="301"/>
                  </a:cubicBezTo>
                  <a:cubicBezTo>
                    <a:pt x="174" y="302"/>
                    <a:pt x="176" y="305"/>
                    <a:pt x="177" y="304"/>
                  </a:cubicBezTo>
                  <a:cubicBezTo>
                    <a:pt x="178" y="303"/>
                    <a:pt x="176" y="302"/>
                    <a:pt x="178" y="301"/>
                  </a:cubicBezTo>
                  <a:cubicBezTo>
                    <a:pt x="178" y="301"/>
                    <a:pt x="180" y="298"/>
                    <a:pt x="182" y="301"/>
                  </a:cubicBezTo>
                  <a:cubicBezTo>
                    <a:pt x="184" y="303"/>
                    <a:pt x="182" y="303"/>
                    <a:pt x="185" y="305"/>
                  </a:cubicBezTo>
                  <a:cubicBezTo>
                    <a:pt x="187" y="310"/>
                    <a:pt x="186" y="314"/>
                    <a:pt x="185" y="315"/>
                  </a:cubicBezTo>
                  <a:cubicBezTo>
                    <a:pt x="184" y="316"/>
                    <a:pt x="182" y="317"/>
                    <a:pt x="181" y="319"/>
                  </a:cubicBezTo>
                  <a:cubicBezTo>
                    <a:pt x="180" y="321"/>
                    <a:pt x="179" y="320"/>
                    <a:pt x="178" y="323"/>
                  </a:cubicBezTo>
                  <a:cubicBezTo>
                    <a:pt x="176" y="327"/>
                    <a:pt x="176" y="331"/>
                    <a:pt x="178" y="330"/>
                  </a:cubicBezTo>
                  <a:cubicBezTo>
                    <a:pt x="180" y="328"/>
                    <a:pt x="178" y="332"/>
                    <a:pt x="178" y="332"/>
                  </a:cubicBezTo>
                  <a:cubicBezTo>
                    <a:pt x="178" y="333"/>
                    <a:pt x="174" y="334"/>
                    <a:pt x="175" y="336"/>
                  </a:cubicBezTo>
                  <a:cubicBezTo>
                    <a:pt x="177" y="339"/>
                    <a:pt x="175" y="339"/>
                    <a:pt x="178" y="341"/>
                  </a:cubicBezTo>
                  <a:cubicBezTo>
                    <a:pt x="181" y="343"/>
                    <a:pt x="181" y="347"/>
                    <a:pt x="183" y="350"/>
                  </a:cubicBezTo>
                  <a:cubicBezTo>
                    <a:pt x="185" y="352"/>
                    <a:pt x="188" y="357"/>
                    <a:pt x="188" y="360"/>
                  </a:cubicBezTo>
                  <a:cubicBezTo>
                    <a:pt x="189" y="363"/>
                    <a:pt x="191" y="363"/>
                    <a:pt x="192" y="364"/>
                  </a:cubicBezTo>
                  <a:cubicBezTo>
                    <a:pt x="194" y="365"/>
                    <a:pt x="203" y="368"/>
                    <a:pt x="204" y="373"/>
                  </a:cubicBezTo>
                  <a:cubicBezTo>
                    <a:pt x="204" y="378"/>
                    <a:pt x="203" y="385"/>
                    <a:pt x="203" y="387"/>
                  </a:cubicBezTo>
                  <a:cubicBezTo>
                    <a:pt x="203" y="389"/>
                    <a:pt x="202" y="394"/>
                    <a:pt x="202" y="396"/>
                  </a:cubicBezTo>
                  <a:cubicBezTo>
                    <a:pt x="203" y="398"/>
                    <a:pt x="200" y="401"/>
                    <a:pt x="201" y="404"/>
                  </a:cubicBezTo>
                  <a:cubicBezTo>
                    <a:pt x="202" y="408"/>
                    <a:pt x="200" y="412"/>
                    <a:pt x="199" y="417"/>
                  </a:cubicBezTo>
                  <a:cubicBezTo>
                    <a:pt x="199" y="421"/>
                    <a:pt x="194" y="423"/>
                    <a:pt x="196" y="427"/>
                  </a:cubicBezTo>
                  <a:cubicBezTo>
                    <a:pt x="197" y="430"/>
                    <a:pt x="195" y="433"/>
                    <a:pt x="195" y="436"/>
                  </a:cubicBezTo>
                  <a:cubicBezTo>
                    <a:pt x="202" y="437"/>
                    <a:pt x="210" y="438"/>
                    <a:pt x="218" y="438"/>
                  </a:cubicBezTo>
                  <a:cubicBezTo>
                    <a:pt x="217" y="437"/>
                    <a:pt x="217" y="436"/>
                    <a:pt x="218" y="436"/>
                  </a:cubicBezTo>
                  <a:cubicBezTo>
                    <a:pt x="220" y="437"/>
                    <a:pt x="223" y="438"/>
                    <a:pt x="224" y="436"/>
                  </a:cubicBezTo>
                  <a:cubicBezTo>
                    <a:pt x="225" y="435"/>
                    <a:pt x="223" y="430"/>
                    <a:pt x="225" y="430"/>
                  </a:cubicBezTo>
                  <a:cubicBezTo>
                    <a:pt x="227" y="430"/>
                    <a:pt x="233" y="430"/>
                    <a:pt x="234" y="429"/>
                  </a:cubicBezTo>
                  <a:cubicBezTo>
                    <a:pt x="235" y="427"/>
                    <a:pt x="239" y="425"/>
                    <a:pt x="238" y="422"/>
                  </a:cubicBezTo>
                  <a:cubicBezTo>
                    <a:pt x="236" y="419"/>
                    <a:pt x="237" y="417"/>
                    <a:pt x="239" y="417"/>
                  </a:cubicBezTo>
                  <a:cubicBezTo>
                    <a:pt x="241" y="417"/>
                    <a:pt x="246" y="419"/>
                    <a:pt x="247" y="415"/>
                  </a:cubicBezTo>
                  <a:cubicBezTo>
                    <a:pt x="249" y="411"/>
                    <a:pt x="251" y="411"/>
                    <a:pt x="251" y="409"/>
                  </a:cubicBezTo>
                  <a:cubicBezTo>
                    <a:pt x="251" y="407"/>
                    <a:pt x="254" y="405"/>
                    <a:pt x="254" y="405"/>
                  </a:cubicBezTo>
                  <a:cubicBezTo>
                    <a:pt x="255" y="405"/>
                    <a:pt x="253" y="408"/>
                    <a:pt x="253" y="408"/>
                  </a:cubicBezTo>
                  <a:cubicBezTo>
                    <a:pt x="254" y="409"/>
                    <a:pt x="255" y="406"/>
                    <a:pt x="256" y="405"/>
                  </a:cubicBezTo>
                  <a:cubicBezTo>
                    <a:pt x="257" y="403"/>
                    <a:pt x="258" y="401"/>
                    <a:pt x="259" y="401"/>
                  </a:cubicBezTo>
                  <a:cubicBezTo>
                    <a:pt x="260" y="400"/>
                    <a:pt x="260" y="397"/>
                    <a:pt x="260" y="394"/>
                  </a:cubicBezTo>
                  <a:cubicBezTo>
                    <a:pt x="259" y="391"/>
                    <a:pt x="261" y="390"/>
                    <a:pt x="263" y="389"/>
                  </a:cubicBezTo>
                  <a:cubicBezTo>
                    <a:pt x="264" y="388"/>
                    <a:pt x="268" y="387"/>
                    <a:pt x="270" y="384"/>
                  </a:cubicBezTo>
                  <a:cubicBezTo>
                    <a:pt x="272" y="383"/>
                    <a:pt x="273" y="384"/>
                    <a:pt x="274" y="384"/>
                  </a:cubicBezTo>
                  <a:cubicBezTo>
                    <a:pt x="275" y="384"/>
                    <a:pt x="279" y="383"/>
                    <a:pt x="280" y="380"/>
                  </a:cubicBezTo>
                  <a:cubicBezTo>
                    <a:pt x="281" y="378"/>
                    <a:pt x="284" y="375"/>
                    <a:pt x="284" y="373"/>
                  </a:cubicBezTo>
                  <a:cubicBezTo>
                    <a:pt x="284" y="370"/>
                    <a:pt x="285" y="367"/>
                    <a:pt x="285" y="365"/>
                  </a:cubicBezTo>
                  <a:cubicBezTo>
                    <a:pt x="285" y="363"/>
                    <a:pt x="285" y="357"/>
                    <a:pt x="288" y="356"/>
                  </a:cubicBezTo>
                  <a:cubicBezTo>
                    <a:pt x="290" y="354"/>
                    <a:pt x="289" y="354"/>
                    <a:pt x="291" y="351"/>
                  </a:cubicBezTo>
                  <a:cubicBezTo>
                    <a:pt x="293" y="349"/>
                    <a:pt x="297" y="345"/>
                    <a:pt x="295" y="339"/>
                  </a:cubicBezTo>
                  <a:cubicBezTo>
                    <a:pt x="293" y="335"/>
                    <a:pt x="294" y="338"/>
                    <a:pt x="291" y="336"/>
                  </a:cubicBezTo>
                  <a:close/>
                  <a:moveTo>
                    <a:pt x="43" y="171"/>
                  </a:moveTo>
                  <a:cubicBezTo>
                    <a:pt x="42" y="170"/>
                    <a:pt x="43" y="169"/>
                    <a:pt x="43" y="168"/>
                  </a:cubicBezTo>
                  <a:cubicBezTo>
                    <a:pt x="43" y="166"/>
                    <a:pt x="42" y="166"/>
                    <a:pt x="40" y="166"/>
                  </a:cubicBezTo>
                  <a:cubicBezTo>
                    <a:pt x="39" y="166"/>
                    <a:pt x="39" y="168"/>
                    <a:pt x="39" y="168"/>
                  </a:cubicBezTo>
                  <a:cubicBezTo>
                    <a:pt x="39" y="169"/>
                    <a:pt x="41" y="170"/>
                    <a:pt x="41" y="171"/>
                  </a:cubicBezTo>
                  <a:cubicBezTo>
                    <a:pt x="41" y="172"/>
                    <a:pt x="43" y="172"/>
                    <a:pt x="43" y="173"/>
                  </a:cubicBezTo>
                  <a:cubicBezTo>
                    <a:pt x="43" y="173"/>
                    <a:pt x="44" y="174"/>
                    <a:pt x="44" y="174"/>
                  </a:cubicBezTo>
                  <a:cubicBezTo>
                    <a:pt x="45" y="174"/>
                    <a:pt x="44" y="173"/>
                    <a:pt x="43" y="172"/>
                  </a:cubicBezTo>
                  <a:cubicBezTo>
                    <a:pt x="43" y="171"/>
                    <a:pt x="44" y="171"/>
                    <a:pt x="43" y="171"/>
                  </a:cubicBezTo>
                  <a:close/>
                  <a:moveTo>
                    <a:pt x="439" y="236"/>
                  </a:moveTo>
                  <a:cubicBezTo>
                    <a:pt x="437" y="238"/>
                    <a:pt x="439" y="238"/>
                    <a:pt x="438" y="240"/>
                  </a:cubicBezTo>
                  <a:cubicBezTo>
                    <a:pt x="438" y="242"/>
                    <a:pt x="436" y="241"/>
                    <a:pt x="433" y="239"/>
                  </a:cubicBezTo>
                  <a:cubicBezTo>
                    <a:pt x="430" y="237"/>
                    <a:pt x="429" y="241"/>
                    <a:pt x="427" y="238"/>
                  </a:cubicBezTo>
                  <a:cubicBezTo>
                    <a:pt x="426" y="234"/>
                    <a:pt x="423" y="233"/>
                    <a:pt x="420" y="234"/>
                  </a:cubicBezTo>
                  <a:cubicBezTo>
                    <a:pt x="417" y="235"/>
                    <a:pt x="417" y="233"/>
                    <a:pt x="415" y="232"/>
                  </a:cubicBezTo>
                  <a:cubicBezTo>
                    <a:pt x="413" y="231"/>
                    <a:pt x="412" y="231"/>
                    <a:pt x="414" y="229"/>
                  </a:cubicBezTo>
                  <a:cubicBezTo>
                    <a:pt x="417" y="226"/>
                    <a:pt x="415" y="226"/>
                    <a:pt x="414" y="225"/>
                  </a:cubicBezTo>
                  <a:cubicBezTo>
                    <a:pt x="414" y="224"/>
                    <a:pt x="415" y="224"/>
                    <a:pt x="414" y="222"/>
                  </a:cubicBezTo>
                  <a:cubicBezTo>
                    <a:pt x="414" y="220"/>
                    <a:pt x="409" y="223"/>
                    <a:pt x="408" y="222"/>
                  </a:cubicBezTo>
                  <a:cubicBezTo>
                    <a:pt x="406" y="221"/>
                    <a:pt x="404" y="221"/>
                    <a:pt x="401" y="222"/>
                  </a:cubicBezTo>
                  <a:cubicBezTo>
                    <a:pt x="399" y="223"/>
                    <a:pt x="400" y="222"/>
                    <a:pt x="392" y="222"/>
                  </a:cubicBezTo>
                  <a:cubicBezTo>
                    <a:pt x="384" y="222"/>
                    <a:pt x="382" y="228"/>
                    <a:pt x="381" y="227"/>
                  </a:cubicBezTo>
                  <a:cubicBezTo>
                    <a:pt x="379" y="226"/>
                    <a:pt x="378" y="226"/>
                    <a:pt x="376" y="227"/>
                  </a:cubicBezTo>
                  <a:cubicBezTo>
                    <a:pt x="373" y="227"/>
                    <a:pt x="374" y="226"/>
                    <a:pt x="372" y="225"/>
                  </a:cubicBezTo>
                  <a:cubicBezTo>
                    <a:pt x="371" y="225"/>
                    <a:pt x="371" y="231"/>
                    <a:pt x="367" y="232"/>
                  </a:cubicBezTo>
                  <a:cubicBezTo>
                    <a:pt x="363" y="232"/>
                    <a:pt x="361" y="238"/>
                    <a:pt x="362" y="241"/>
                  </a:cubicBezTo>
                  <a:cubicBezTo>
                    <a:pt x="362" y="244"/>
                    <a:pt x="358" y="246"/>
                    <a:pt x="355" y="247"/>
                  </a:cubicBezTo>
                  <a:cubicBezTo>
                    <a:pt x="352" y="248"/>
                    <a:pt x="353" y="249"/>
                    <a:pt x="351" y="251"/>
                  </a:cubicBezTo>
                  <a:cubicBezTo>
                    <a:pt x="348" y="253"/>
                    <a:pt x="345" y="260"/>
                    <a:pt x="344" y="262"/>
                  </a:cubicBezTo>
                  <a:cubicBezTo>
                    <a:pt x="343" y="264"/>
                    <a:pt x="342" y="267"/>
                    <a:pt x="344" y="269"/>
                  </a:cubicBezTo>
                  <a:cubicBezTo>
                    <a:pt x="345" y="270"/>
                    <a:pt x="346" y="275"/>
                    <a:pt x="345" y="277"/>
                  </a:cubicBezTo>
                  <a:cubicBezTo>
                    <a:pt x="344" y="278"/>
                    <a:pt x="344" y="280"/>
                    <a:pt x="343" y="282"/>
                  </a:cubicBezTo>
                  <a:cubicBezTo>
                    <a:pt x="342" y="284"/>
                    <a:pt x="343" y="286"/>
                    <a:pt x="343" y="289"/>
                  </a:cubicBezTo>
                  <a:cubicBezTo>
                    <a:pt x="343" y="291"/>
                    <a:pt x="345" y="290"/>
                    <a:pt x="347" y="293"/>
                  </a:cubicBezTo>
                  <a:cubicBezTo>
                    <a:pt x="348" y="296"/>
                    <a:pt x="351" y="294"/>
                    <a:pt x="352" y="299"/>
                  </a:cubicBezTo>
                  <a:cubicBezTo>
                    <a:pt x="353" y="304"/>
                    <a:pt x="354" y="303"/>
                    <a:pt x="356" y="304"/>
                  </a:cubicBezTo>
                  <a:cubicBezTo>
                    <a:pt x="358" y="305"/>
                    <a:pt x="359" y="304"/>
                    <a:pt x="361" y="308"/>
                  </a:cubicBezTo>
                  <a:cubicBezTo>
                    <a:pt x="364" y="311"/>
                    <a:pt x="367" y="311"/>
                    <a:pt x="369" y="310"/>
                  </a:cubicBezTo>
                  <a:cubicBezTo>
                    <a:pt x="372" y="310"/>
                    <a:pt x="374" y="308"/>
                    <a:pt x="379" y="309"/>
                  </a:cubicBezTo>
                  <a:cubicBezTo>
                    <a:pt x="384" y="311"/>
                    <a:pt x="381" y="309"/>
                    <a:pt x="385" y="308"/>
                  </a:cubicBezTo>
                  <a:cubicBezTo>
                    <a:pt x="389" y="308"/>
                    <a:pt x="388" y="307"/>
                    <a:pt x="391" y="306"/>
                  </a:cubicBezTo>
                  <a:cubicBezTo>
                    <a:pt x="398" y="305"/>
                    <a:pt x="401" y="307"/>
                    <a:pt x="401" y="309"/>
                  </a:cubicBezTo>
                  <a:cubicBezTo>
                    <a:pt x="401" y="311"/>
                    <a:pt x="402" y="312"/>
                    <a:pt x="405" y="311"/>
                  </a:cubicBezTo>
                  <a:cubicBezTo>
                    <a:pt x="407" y="310"/>
                    <a:pt x="410" y="311"/>
                    <a:pt x="411" y="312"/>
                  </a:cubicBezTo>
                  <a:cubicBezTo>
                    <a:pt x="413" y="314"/>
                    <a:pt x="414" y="316"/>
                    <a:pt x="412" y="317"/>
                  </a:cubicBezTo>
                  <a:cubicBezTo>
                    <a:pt x="410" y="319"/>
                    <a:pt x="412" y="323"/>
                    <a:pt x="410" y="324"/>
                  </a:cubicBezTo>
                  <a:cubicBezTo>
                    <a:pt x="409" y="326"/>
                    <a:pt x="411" y="327"/>
                    <a:pt x="413" y="329"/>
                  </a:cubicBezTo>
                  <a:cubicBezTo>
                    <a:pt x="429" y="301"/>
                    <a:pt x="438" y="269"/>
                    <a:pt x="439" y="235"/>
                  </a:cubicBezTo>
                  <a:cubicBezTo>
                    <a:pt x="439" y="236"/>
                    <a:pt x="439" y="236"/>
                    <a:pt x="439" y="236"/>
                  </a:cubicBezTo>
                  <a:close/>
                  <a:moveTo>
                    <a:pt x="372" y="157"/>
                  </a:moveTo>
                  <a:cubicBezTo>
                    <a:pt x="372" y="157"/>
                    <a:pt x="372" y="158"/>
                    <a:pt x="371" y="159"/>
                  </a:cubicBezTo>
                  <a:cubicBezTo>
                    <a:pt x="371" y="160"/>
                    <a:pt x="371" y="160"/>
                    <a:pt x="372" y="160"/>
                  </a:cubicBezTo>
                  <a:cubicBezTo>
                    <a:pt x="372" y="161"/>
                    <a:pt x="373" y="159"/>
                    <a:pt x="374" y="160"/>
                  </a:cubicBezTo>
                  <a:cubicBezTo>
                    <a:pt x="374" y="161"/>
                    <a:pt x="374" y="161"/>
                    <a:pt x="373" y="163"/>
                  </a:cubicBezTo>
                  <a:cubicBezTo>
                    <a:pt x="373" y="164"/>
                    <a:pt x="374" y="164"/>
                    <a:pt x="376" y="164"/>
                  </a:cubicBezTo>
                  <a:cubicBezTo>
                    <a:pt x="378" y="164"/>
                    <a:pt x="378" y="166"/>
                    <a:pt x="378" y="166"/>
                  </a:cubicBezTo>
                  <a:cubicBezTo>
                    <a:pt x="378" y="168"/>
                    <a:pt x="377" y="168"/>
                    <a:pt x="375" y="169"/>
                  </a:cubicBezTo>
                  <a:cubicBezTo>
                    <a:pt x="374" y="170"/>
                    <a:pt x="375" y="170"/>
                    <a:pt x="375" y="171"/>
                  </a:cubicBezTo>
                  <a:cubicBezTo>
                    <a:pt x="375" y="172"/>
                    <a:pt x="374" y="172"/>
                    <a:pt x="373" y="174"/>
                  </a:cubicBezTo>
                  <a:cubicBezTo>
                    <a:pt x="372" y="175"/>
                    <a:pt x="375" y="175"/>
                    <a:pt x="376" y="175"/>
                  </a:cubicBezTo>
                  <a:cubicBezTo>
                    <a:pt x="377" y="176"/>
                    <a:pt x="378" y="176"/>
                    <a:pt x="378" y="177"/>
                  </a:cubicBezTo>
                  <a:cubicBezTo>
                    <a:pt x="378" y="178"/>
                    <a:pt x="378" y="178"/>
                    <a:pt x="378" y="179"/>
                  </a:cubicBezTo>
                  <a:cubicBezTo>
                    <a:pt x="379" y="180"/>
                    <a:pt x="381" y="179"/>
                    <a:pt x="382" y="178"/>
                  </a:cubicBezTo>
                  <a:cubicBezTo>
                    <a:pt x="384" y="177"/>
                    <a:pt x="384" y="177"/>
                    <a:pt x="386" y="177"/>
                  </a:cubicBezTo>
                  <a:cubicBezTo>
                    <a:pt x="388" y="177"/>
                    <a:pt x="390" y="175"/>
                    <a:pt x="390" y="173"/>
                  </a:cubicBezTo>
                  <a:cubicBezTo>
                    <a:pt x="391" y="171"/>
                    <a:pt x="389" y="171"/>
                    <a:pt x="388" y="170"/>
                  </a:cubicBezTo>
                  <a:cubicBezTo>
                    <a:pt x="386" y="168"/>
                    <a:pt x="387" y="168"/>
                    <a:pt x="386" y="165"/>
                  </a:cubicBezTo>
                  <a:cubicBezTo>
                    <a:pt x="384" y="162"/>
                    <a:pt x="384" y="164"/>
                    <a:pt x="383" y="163"/>
                  </a:cubicBezTo>
                  <a:cubicBezTo>
                    <a:pt x="382" y="161"/>
                    <a:pt x="380" y="159"/>
                    <a:pt x="380" y="158"/>
                  </a:cubicBezTo>
                  <a:cubicBezTo>
                    <a:pt x="379" y="156"/>
                    <a:pt x="381" y="155"/>
                    <a:pt x="381" y="153"/>
                  </a:cubicBezTo>
                  <a:cubicBezTo>
                    <a:pt x="381" y="152"/>
                    <a:pt x="378" y="154"/>
                    <a:pt x="377" y="152"/>
                  </a:cubicBezTo>
                  <a:cubicBezTo>
                    <a:pt x="376" y="151"/>
                    <a:pt x="377" y="151"/>
                    <a:pt x="378" y="149"/>
                  </a:cubicBezTo>
                  <a:cubicBezTo>
                    <a:pt x="379" y="148"/>
                    <a:pt x="377" y="149"/>
                    <a:pt x="374" y="149"/>
                  </a:cubicBezTo>
                  <a:cubicBezTo>
                    <a:pt x="371" y="150"/>
                    <a:pt x="373" y="150"/>
                    <a:pt x="372" y="152"/>
                  </a:cubicBezTo>
                  <a:cubicBezTo>
                    <a:pt x="371" y="154"/>
                    <a:pt x="372" y="154"/>
                    <a:pt x="371" y="155"/>
                  </a:cubicBezTo>
                  <a:cubicBezTo>
                    <a:pt x="370" y="156"/>
                    <a:pt x="371" y="157"/>
                    <a:pt x="372" y="157"/>
                  </a:cubicBezTo>
                  <a:close/>
                  <a:moveTo>
                    <a:pt x="327" y="101"/>
                  </a:moveTo>
                  <a:cubicBezTo>
                    <a:pt x="328" y="100"/>
                    <a:pt x="323" y="100"/>
                    <a:pt x="320" y="100"/>
                  </a:cubicBezTo>
                  <a:cubicBezTo>
                    <a:pt x="316" y="99"/>
                    <a:pt x="316" y="100"/>
                    <a:pt x="312" y="99"/>
                  </a:cubicBezTo>
                  <a:cubicBezTo>
                    <a:pt x="309" y="99"/>
                    <a:pt x="313" y="98"/>
                    <a:pt x="315" y="97"/>
                  </a:cubicBezTo>
                  <a:cubicBezTo>
                    <a:pt x="317" y="96"/>
                    <a:pt x="318" y="96"/>
                    <a:pt x="320" y="95"/>
                  </a:cubicBezTo>
                  <a:cubicBezTo>
                    <a:pt x="322" y="94"/>
                    <a:pt x="322" y="95"/>
                    <a:pt x="323" y="97"/>
                  </a:cubicBezTo>
                  <a:cubicBezTo>
                    <a:pt x="324" y="98"/>
                    <a:pt x="325" y="99"/>
                    <a:pt x="327" y="99"/>
                  </a:cubicBezTo>
                  <a:cubicBezTo>
                    <a:pt x="329" y="99"/>
                    <a:pt x="329" y="98"/>
                    <a:pt x="330" y="96"/>
                  </a:cubicBezTo>
                  <a:cubicBezTo>
                    <a:pt x="330" y="93"/>
                    <a:pt x="328" y="95"/>
                    <a:pt x="328" y="94"/>
                  </a:cubicBezTo>
                  <a:cubicBezTo>
                    <a:pt x="327" y="92"/>
                    <a:pt x="324" y="90"/>
                    <a:pt x="322" y="89"/>
                  </a:cubicBezTo>
                  <a:cubicBezTo>
                    <a:pt x="320" y="88"/>
                    <a:pt x="320" y="87"/>
                    <a:pt x="319" y="86"/>
                  </a:cubicBezTo>
                  <a:cubicBezTo>
                    <a:pt x="318" y="85"/>
                    <a:pt x="321" y="85"/>
                    <a:pt x="322" y="84"/>
                  </a:cubicBezTo>
                  <a:cubicBezTo>
                    <a:pt x="324" y="83"/>
                    <a:pt x="325" y="84"/>
                    <a:pt x="327" y="86"/>
                  </a:cubicBezTo>
                  <a:cubicBezTo>
                    <a:pt x="329" y="87"/>
                    <a:pt x="331" y="85"/>
                    <a:pt x="333" y="84"/>
                  </a:cubicBezTo>
                  <a:cubicBezTo>
                    <a:pt x="334" y="83"/>
                    <a:pt x="332" y="82"/>
                    <a:pt x="330" y="82"/>
                  </a:cubicBezTo>
                  <a:cubicBezTo>
                    <a:pt x="328" y="81"/>
                    <a:pt x="329" y="81"/>
                    <a:pt x="329" y="80"/>
                  </a:cubicBezTo>
                  <a:cubicBezTo>
                    <a:pt x="330" y="78"/>
                    <a:pt x="331" y="79"/>
                    <a:pt x="332" y="80"/>
                  </a:cubicBezTo>
                  <a:cubicBezTo>
                    <a:pt x="333" y="81"/>
                    <a:pt x="334" y="80"/>
                    <a:pt x="336" y="80"/>
                  </a:cubicBezTo>
                  <a:cubicBezTo>
                    <a:pt x="338" y="80"/>
                    <a:pt x="334" y="78"/>
                    <a:pt x="332" y="78"/>
                  </a:cubicBezTo>
                  <a:cubicBezTo>
                    <a:pt x="331" y="77"/>
                    <a:pt x="331" y="76"/>
                    <a:pt x="332" y="75"/>
                  </a:cubicBezTo>
                  <a:cubicBezTo>
                    <a:pt x="332" y="74"/>
                    <a:pt x="333" y="76"/>
                    <a:pt x="335" y="75"/>
                  </a:cubicBezTo>
                  <a:cubicBezTo>
                    <a:pt x="337" y="74"/>
                    <a:pt x="334" y="73"/>
                    <a:pt x="333" y="72"/>
                  </a:cubicBezTo>
                  <a:cubicBezTo>
                    <a:pt x="332" y="72"/>
                    <a:pt x="333" y="72"/>
                    <a:pt x="334" y="71"/>
                  </a:cubicBezTo>
                  <a:cubicBezTo>
                    <a:pt x="336" y="71"/>
                    <a:pt x="332" y="70"/>
                    <a:pt x="330" y="70"/>
                  </a:cubicBezTo>
                  <a:cubicBezTo>
                    <a:pt x="328" y="69"/>
                    <a:pt x="330" y="68"/>
                    <a:pt x="332" y="67"/>
                  </a:cubicBezTo>
                  <a:cubicBezTo>
                    <a:pt x="333" y="66"/>
                    <a:pt x="335" y="67"/>
                    <a:pt x="338" y="67"/>
                  </a:cubicBezTo>
                  <a:cubicBezTo>
                    <a:pt x="341" y="67"/>
                    <a:pt x="339" y="65"/>
                    <a:pt x="337" y="64"/>
                  </a:cubicBezTo>
                  <a:cubicBezTo>
                    <a:pt x="336" y="63"/>
                    <a:pt x="335" y="64"/>
                    <a:pt x="333" y="63"/>
                  </a:cubicBezTo>
                  <a:cubicBezTo>
                    <a:pt x="331" y="62"/>
                    <a:pt x="333" y="63"/>
                    <a:pt x="336" y="63"/>
                  </a:cubicBezTo>
                  <a:cubicBezTo>
                    <a:pt x="338" y="63"/>
                    <a:pt x="335" y="62"/>
                    <a:pt x="333" y="61"/>
                  </a:cubicBezTo>
                  <a:cubicBezTo>
                    <a:pt x="331" y="60"/>
                    <a:pt x="331" y="61"/>
                    <a:pt x="330" y="61"/>
                  </a:cubicBezTo>
                  <a:cubicBezTo>
                    <a:pt x="328" y="62"/>
                    <a:pt x="330" y="60"/>
                    <a:pt x="331" y="58"/>
                  </a:cubicBezTo>
                  <a:cubicBezTo>
                    <a:pt x="332" y="56"/>
                    <a:pt x="332" y="56"/>
                    <a:pt x="334" y="55"/>
                  </a:cubicBezTo>
                  <a:cubicBezTo>
                    <a:pt x="336" y="55"/>
                    <a:pt x="335" y="54"/>
                    <a:pt x="336" y="54"/>
                  </a:cubicBezTo>
                  <a:cubicBezTo>
                    <a:pt x="338" y="53"/>
                    <a:pt x="335" y="53"/>
                    <a:pt x="334" y="52"/>
                  </a:cubicBezTo>
                  <a:cubicBezTo>
                    <a:pt x="334" y="51"/>
                    <a:pt x="335" y="51"/>
                    <a:pt x="337" y="51"/>
                  </a:cubicBezTo>
                  <a:cubicBezTo>
                    <a:pt x="339" y="51"/>
                    <a:pt x="339" y="50"/>
                    <a:pt x="340" y="49"/>
                  </a:cubicBezTo>
                  <a:cubicBezTo>
                    <a:pt x="341" y="48"/>
                    <a:pt x="337" y="48"/>
                    <a:pt x="335" y="48"/>
                  </a:cubicBezTo>
                  <a:cubicBezTo>
                    <a:pt x="333" y="49"/>
                    <a:pt x="333" y="49"/>
                    <a:pt x="333" y="48"/>
                  </a:cubicBezTo>
                  <a:cubicBezTo>
                    <a:pt x="333" y="47"/>
                    <a:pt x="334" y="47"/>
                    <a:pt x="336" y="47"/>
                  </a:cubicBezTo>
                  <a:cubicBezTo>
                    <a:pt x="337" y="48"/>
                    <a:pt x="338" y="48"/>
                    <a:pt x="340" y="48"/>
                  </a:cubicBezTo>
                  <a:cubicBezTo>
                    <a:pt x="336" y="45"/>
                    <a:pt x="332" y="43"/>
                    <a:pt x="329" y="41"/>
                  </a:cubicBezTo>
                  <a:cubicBezTo>
                    <a:pt x="326" y="43"/>
                    <a:pt x="324" y="44"/>
                    <a:pt x="323" y="45"/>
                  </a:cubicBezTo>
                  <a:cubicBezTo>
                    <a:pt x="321" y="46"/>
                    <a:pt x="324" y="43"/>
                    <a:pt x="327" y="40"/>
                  </a:cubicBezTo>
                  <a:cubicBezTo>
                    <a:pt x="325" y="39"/>
                    <a:pt x="323" y="38"/>
                    <a:pt x="321" y="37"/>
                  </a:cubicBezTo>
                  <a:cubicBezTo>
                    <a:pt x="319" y="38"/>
                    <a:pt x="316" y="40"/>
                    <a:pt x="314" y="40"/>
                  </a:cubicBezTo>
                  <a:cubicBezTo>
                    <a:pt x="311" y="40"/>
                    <a:pt x="317" y="39"/>
                    <a:pt x="318" y="37"/>
                  </a:cubicBezTo>
                  <a:cubicBezTo>
                    <a:pt x="318" y="36"/>
                    <a:pt x="307" y="37"/>
                    <a:pt x="304" y="37"/>
                  </a:cubicBezTo>
                  <a:cubicBezTo>
                    <a:pt x="301" y="38"/>
                    <a:pt x="299" y="39"/>
                    <a:pt x="298" y="38"/>
                  </a:cubicBezTo>
                  <a:cubicBezTo>
                    <a:pt x="297" y="37"/>
                    <a:pt x="313" y="35"/>
                    <a:pt x="316" y="36"/>
                  </a:cubicBezTo>
                  <a:cubicBezTo>
                    <a:pt x="317" y="36"/>
                    <a:pt x="317" y="36"/>
                    <a:pt x="318" y="36"/>
                  </a:cubicBezTo>
                  <a:cubicBezTo>
                    <a:pt x="310" y="32"/>
                    <a:pt x="303" y="29"/>
                    <a:pt x="295" y="27"/>
                  </a:cubicBezTo>
                  <a:cubicBezTo>
                    <a:pt x="292" y="26"/>
                    <a:pt x="290" y="26"/>
                    <a:pt x="289" y="26"/>
                  </a:cubicBezTo>
                  <a:cubicBezTo>
                    <a:pt x="286" y="26"/>
                    <a:pt x="288" y="27"/>
                    <a:pt x="287" y="27"/>
                  </a:cubicBezTo>
                  <a:cubicBezTo>
                    <a:pt x="285" y="28"/>
                    <a:pt x="284" y="27"/>
                    <a:pt x="282" y="28"/>
                  </a:cubicBezTo>
                  <a:cubicBezTo>
                    <a:pt x="280" y="28"/>
                    <a:pt x="283" y="28"/>
                    <a:pt x="284" y="29"/>
                  </a:cubicBezTo>
                  <a:cubicBezTo>
                    <a:pt x="285" y="31"/>
                    <a:pt x="282" y="29"/>
                    <a:pt x="281" y="31"/>
                  </a:cubicBezTo>
                  <a:cubicBezTo>
                    <a:pt x="279" y="32"/>
                    <a:pt x="275" y="30"/>
                    <a:pt x="272" y="28"/>
                  </a:cubicBezTo>
                  <a:cubicBezTo>
                    <a:pt x="269" y="27"/>
                    <a:pt x="268" y="29"/>
                    <a:pt x="266" y="30"/>
                  </a:cubicBezTo>
                  <a:cubicBezTo>
                    <a:pt x="264" y="31"/>
                    <a:pt x="267" y="31"/>
                    <a:pt x="266" y="32"/>
                  </a:cubicBezTo>
                  <a:cubicBezTo>
                    <a:pt x="264" y="32"/>
                    <a:pt x="271" y="35"/>
                    <a:pt x="269" y="35"/>
                  </a:cubicBezTo>
                  <a:cubicBezTo>
                    <a:pt x="268" y="35"/>
                    <a:pt x="267" y="36"/>
                    <a:pt x="267" y="37"/>
                  </a:cubicBezTo>
                  <a:cubicBezTo>
                    <a:pt x="268" y="38"/>
                    <a:pt x="269" y="39"/>
                    <a:pt x="266" y="38"/>
                  </a:cubicBezTo>
                  <a:cubicBezTo>
                    <a:pt x="262" y="35"/>
                    <a:pt x="253" y="33"/>
                    <a:pt x="251" y="34"/>
                  </a:cubicBezTo>
                  <a:cubicBezTo>
                    <a:pt x="249" y="34"/>
                    <a:pt x="254" y="37"/>
                    <a:pt x="255" y="38"/>
                  </a:cubicBezTo>
                  <a:cubicBezTo>
                    <a:pt x="256" y="39"/>
                    <a:pt x="254" y="38"/>
                    <a:pt x="253" y="38"/>
                  </a:cubicBezTo>
                  <a:cubicBezTo>
                    <a:pt x="251" y="37"/>
                    <a:pt x="247" y="37"/>
                    <a:pt x="246" y="38"/>
                  </a:cubicBezTo>
                  <a:cubicBezTo>
                    <a:pt x="244" y="38"/>
                    <a:pt x="245" y="39"/>
                    <a:pt x="243" y="39"/>
                  </a:cubicBezTo>
                  <a:cubicBezTo>
                    <a:pt x="242" y="39"/>
                    <a:pt x="244" y="38"/>
                    <a:pt x="244" y="37"/>
                  </a:cubicBezTo>
                  <a:cubicBezTo>
                    <a:pt x="244" y="36"/>
                    <a:pt x="242" y="35"/>
                    <a:pt x="240" y="35"/>
                  </a:cubicBezTo>
                  <a:cubicBezTo>
                    <a:pt x="238" y="35"/>
                    <a:pt x="230" y="36"/>
                    <a:pt x="230" y="37"/>
                  </a:cubicBezTo>
                  <a:cubicBezTo>
                    <a:pt x="229" y="38"/>
                    <a:pt x="230" y="37"/>
                    <a:pt x="230" y="38"/>
                  </a:cubicBezTo>
                  <a:cubicBezTo>
                    <a:pt x="230" y="39"/>
                    <a:pt x="229" y="38"/>
                    <a:pt x="226" y="38"/>
                  </a:cubicBezTo>
                  <a:cubicBezTo>
                    <a:pt x="224" y="38"/>
                    <a:pt x="227" y="40"/>
                    <a:pt x="226" y="40"/>
                  </a:cubicBezTo>
                  <a:cubicBezTo>
                    <a:pt x="226" y="40"/>
                    <a:pt x="225" y="40"/>
                    <a:pt x="226" y="42"/>
                  </a:cubicBezTo>
                  <a:cubicBezTo>
                    <a:pt x="227" y="43"/>
                    <a:pt x="226" y="43"/>
                    <a:pt x="225" y="43"/>
                  </a:cubicBezTo>
                  <a:cubicBezTo>
                    <a:pt x="223" y="44"/>
                    <a:pt x="221" y="43"/>
                    <a:pt x="220" y="42"/>
                  </a:cubicBezTo>
                  <a:cubicBezTo>
                    <a:pt x="218" y="42"/>
                    <a:pt x="217" y="43"/>
                    <a:pt x="216" y="44"/>
                  </a:cubicBezTo>
                  <a:cubicBezTo>
                    <a:pt x="215" y="45"/>
                    <a:pt x="214" y="46"/>
                    <a:pt x="212" y="47"/>
                  </a:cubicBezTo>
                  <a:cubicBezTo>
                    <a:pt x="210" y="48"/>
                    <a:pt x="211" y="48"/>
                    <a:pt x="212" y="49"/>
                  </a:cubicBezTo>
                  <a:cubicBezTo>
                    <a:pt x="213" y="50"/>
                    <a:pt x="216" y="49"/>
                    <a:pt x="217" y="49"/>
                  </a:cubicBezTo>
                  <a:cubicBezTo>
                    <a:pt x="219" y="49"/>
                    <a:pt x="219" y="49"/>
                    <a:pt x="218" y="50"/>
                  </a:cubicBezTo>
                  <a:cubicBezTo>
                    <a:pt x="216" y="51"/>
                    <a:pt x="217" y="52"/>
                    <a:pt x="217" y="52"/>
                  </a:cubicBezTo>
                  <a:cubicBezTo>
                    <a:pt x="216" y="55"/>
                    <a:pt x="211" y="54"/>
                    <a:pt x="211" y="54"/>
                  </a:cubicBezTo>
                  <a:cubicBezTo>
                    <a:pt x="206" y="54"/>
                    <a:pt x="205" y="56"/>
                    <a:pt x="200" y="58"/>
                  </a:cubicBezTo>
                  <a:cubicBezTo>
                    <a:pt x="194" y="59"/>
                    <a:pt x="197" y="60"/>
                    <a:pt x="200" y="62"/>
                  </a:cubicBezTo>
                  <a:cubicBezTo>
                    <a:pt x="202" y="63"/>
                    <a:pt x="204" y="63"/>
                    <a:pt x="207" y="63"/>
                  </a:cubicBezTo>
                  <a:cubicBezTo>
                    <a:pt x="210" y="64"/>
                    <a:pt x="210" y="64"/>
                    <a:pt x="212" y="63"/>
                  </a:cubicBezTo>
                  <a:cubicBezTo>
                    <a:pt x="214" y="62"/>
                    <a:pt x="213" y="63"/>
                    <a:pt x="213" y="64"/>
                  </a:cubicBezTo>
                  <a:cubicBezTo>
                    <a:pt x="212" y="66"/>
                    <a:pt x="207" y="65"/>
                    <a:pt x="205" y="65"/>
                  </a:cubicBezTo>
                  <a:cubicBezTo>
                    <a:pt x="203" y="65"/>
                    <a:pt x="203" y="64"/>
                    <a:pt x="201" y="66"/>
                  </a:cubicBezTo>
                  <a:cubicBezTo>
                    <a:pt x="199" y="67"/>
                    <a:pt x="205" y="68"/>
                    <a:pt x="208" y="68"/>
                  </a:cubicBezTo>
                  <a:cubicBezTo>
                    <a:pt x="210" y="67"/>
                    <a:pt x="207" y="69"/>
                    <a:pt x="206" y="70"/>
                  </a:cubicBezTo>
                  <a:cubicBezTo>
                    <a:pt x="204" y="71"/>
                    <a:pt x="209" y="71"/>
                    <a:pt x="212" y="71"/>
                  </a:cubicBezTo>
                  <a:cubicBezTo>
                    <a:pt x="215" y="72"/>
                    <a:pt x="214" y="71"/>
                    <a:pt x="219" y="70"/>
                  </a:cubicBezTo>
                  <a:cubicBezTo>
                    <a:pt x="225" y="70"/>
                    <a:pt x="232" y="72"/>
                    <a:pt x="233" y="74"/>
                  </a:cubicBezTo>
                  <a:cubicBezTo>
                    <a:pt x="234" y="76"/>
                    <a:pt x="234" y="76"/>
                    <a:pt x="236" y="78"/>
                  </a:cubicBezTo>
                  <a:cubicBezTo>
                    <a:pt x="238" y="79"/>
                    <a:pt x="239" y="79"/>
                    <a:pt x="238" y="81"/>
                  </a:cubicBezTo>
                  <a:cubicBezTo>
                    <a:pt x="238" y="83"/>
                    <a:pt x="239" y="81"/>
                    <a:pt x="241" y="84"/>
                  </a:cubicBezTo>
                  <a:cubicBezTo>
                    <a:pt x="243" y="87"/>
                    <a:pt x="244" y="89"/>
                    <a:pt x="242" y="91"/>
                  </a:cubicBezTo>
                  <a:cubicBezTo>
                    <a:pt x="240" y="93"/>
                    <a:pt x="242" y="94"/>
                    <a:pt x="243" y="95"/>
                  </a:cubicBezTo>
                  <a:cubicBezTo>
                    <a:pt x="244" y="97"/>
                    <a:pt x="245" y="95"/>
                    <a:pt x="247" y="93"/>
                  </a:cubicBezTo>
                  <a:cubicBezTo>
                    <a:pt x="249" y="92"/>
                    <a:pt x="251" y="96"/>
                    <a:pt x="253" y="98"/>
                  </a:cubicBezTo>
                  <a:cubicBezTo>
                    <a:pt x="255" y="99"/>
                    <a:pt x="253" y="99"/>
                    <a:pt x="250" y="99"/>
                  </a:cubicBezTo>
                  <a:cubicBezTo>
                    <a:pt x="248" y="98"/>
                    <a:pt x="248" y="97"/>
                    <a:pt x="245" y="98"/>
                  </a:cubicBezTo>
                  <a:cubicBezTo>
                    <a:pt x="242" y="99"/>
                    <a:pt x="248" y="100"/>
                    <a:pt x="251" y="102"/>
                  </a:cubicBezTo>
                  <a:cubicBezTo>
                    <a:pt x="254" y="104"/>
                    <a:pt x="251" y="101"/>
                    <a:pt x="254" y="102"/>
                  </a:cubicBezTo>
                  <a:cubicBezTo>
                    <a:pt x="257" y="102"/>
                    <a:pt x="255" y="103"/>
                    <a:pt x="253" y="104"/>
                  </a:cubicBezTo>
                  <a:cubicBezTo>
                    <a:pt x="252" y="106"/>
                    <a:pt x="253" y="108"/>
                    <a:pt x="251" y="108"/>
                  </a:cubicBezTo>
                  <a:cubicBezTo>
                    <a:pt x="250" y="108"/>
                    <a:pt x="248" y="109"/>
                    <a:pt x="247" y="111"/>
                  </a:cubicBezTo>
                  <a:cubicBezTo>
                    <a:pt x="245" y="113"/>
                    <a:pt x="246" y="114"/>
                    <a:pt x="248" y="116"/>
                  </a:cubicBezTo>
                  <a:cubicBezTo>
                    <a:pt x="251" y="117"/>
                    <a:pt x="249" y="116"/>
                    <a:pt x="247" y="118"/>
                  </a:cubicBezTo>
                  <a:cubicBezTo>
                    <a:pt x="245" y="119"/>
                    <a:pt x="248" y="121"/>
                    <a:pt x="250" y="122"/>
                  </a:cubicBezTo>
                  <a:cubicBezTo>
                    <a:pt x="251" y="123"/>
                    <a:pt x="250" y="124"/>
                    <a:pt x="251" y="127"/>
                  </a:cubicBezTo>
                  <a:cubicBezTo>
                    <a:pt x="252" y="129"/>
                    <a:pt x="252" y="126"/>
                    <a:pt x="254" y="125"/>
                  </a:cubicBezTo>
                  <a:cubicBezTo>
                    <a:pt x="255" y="124"/>
                    <a:pt x="254" y="127"/>
                    <a:pt x="252" y="128"/>
                  </a:cubicBezTo>
                  <a:cubicBezTo>
                    <a:pt x="251" y="130"/>
                    <a:pt x="259" y="138"/>
                    <a:pt x="261" y="140"/>
                  </a:cubicBezTo>
                  <a:cubicBezTo>
                    <a:pt x="263" y="142"/>
                    <a:pt x="264" y="141"/>
                    <a:pt x="266" y="141"/>
                  </a:cubicBezTo>
                  <a:cubicBezTo>
                    <a:pt x="268" y="141"/>
                    <a:pt x="267" y="142"/>
                    <a:pt x="269" y="143"/>
                  </a:cubicBezTo>
                  <a:cubicBezTo>
                    <a:pt x="271" y="144"/>
                    <a:pt x="271" y="143"/>
                    <a:pt x="273" y="143"/>
                  </a:cubicBezTo>
                  <a:cubicBezTo>
                    <a:pt x="276" y="143"/>
                    <a:pt x="277" y="137"/>
                    <a:pt x="276" y="135"/>
                  </a:cubicBezTo>
                  <a:cubicBezTo>
                    <a:pt x="276" y="132"/>
                    <a:pt x="276" y="132"/>
                    <a:pt x="278" y="132"/>
                  </a:cubicBezTo>
                  <a:cubicBezTo>
                    <a:pt x="280" y="131"/>
                    <a:pt x="280" y="129"/>
                    <a:pt x="279" y="127"/>
                  </a:cubicBezTo>
                  <a:cubicBezTo>
                    <a:pt x="279" y="126"/>
                    <a:pt x="282" y="126"/>
                    <a:pt x="280" y="124"/>
                  </a:cubicBezTo>
                  <a:cubicBezTo>
                    <a:pt x="278" y="123"/>
                    <a:pt x="281" y="124"/>
                    <a:pt x="283" y="122"/>
                  </a:cubicBezTo>
                  <a:cubicBezTo>
                    <a:pt x="284" y="121"/>
                    <a:pt x="286" y="121"/>
                    <a:pt x="287" y="120"/>
                  </a:cubicBezTo>
                  <a:cubicBezTo>
                    <a:pt x="287" y="119"/>
                    <a:pt x="288" y="118"/>
                    <a:pt x="289" y="119"/>
                  </a:cubicBezTo>
                  <a:cubicBezTo>
                    <a:pt x="289" y="121"/>
                    <a:pt x="297" y="117"/>
                    <a:pt x="299" y="115"/>
                  </a:cubicBezTo>
                  <a:cubicBezTo>
                    <a:pt x="301" y="112"/>
                    <a:pt x="301" y="110"/>
                    <a:pt x="304" y="110"/>
                  </a:cubicBezTo>
                  <a:cubicBezTo>
                    <a:pt x="307" y="110"/>
                    <a:pt x="308" y="108"/>
                    <a:pt x="313" y="108"/>
                  </a:cubicBezTo>
                  <a:cubicBezTo>
                    <a:pt x="317" y="108"/>
                    <a:pt x="320" y="106"/>
                    <a:pt x="322" y="105"/>
                  </a:cubicBezTo>
                  <a:cubicBezTo>
                    <a:pt x="325" y="105"/>
                    <a:pt x="326" y="103"/>
                    <a:pt x="327" y="101"/>
                  </a:cubicBezTo>
                  <a:close/>
                  <a:moveTo>
                    <a:pt x="363" y="175"/>
                  </a:moveTo>
                  <a:cubicBezTo>
                    <a:pt x="363" y="175"/>
                    <a:pt x="365" y="174"/>
                    <a:pt x="367" y="173"/>
                  </a:cubicBezTo>
                  <a:cubicBezTo>
                    <a:pt x="368" y="173"/>
                    <a:pt x="370" y="172"/>
                    <a:pt x="370" y="171"/>
                  </a:cubicBezTo>
                  <a:cubicBezTo>
                    <a:pt x="370" y="169"/>
                    <a:pt x="371" y="167"/>
                    <a:pt x="371" y="166"/>
                  </a:cubicBezTo>
                  <a:cubicBezTo>
                    <a:pt x="372" y="165"/>
                    <a:pt x="373" y="164"/>
                    <a:pt x="372" y="163"/>
                  </a:cubicBezTo>
                  <a:cubicBezTo>
                    <a:pt x="371" y="162"/>
                    <a:pt x="371" y="161"/>
                    <a:pt x="369" y="162"/>
                  </a:cubicBezTo>
                  <a:cubicBezTo>
                    <a:pt x="368" y="162"/>
                    <a:pt x="368" y="161"/>
                    <a:pt x="366" y="162"/>
                  </a:cubicBezTo>
                  <a:cubicBezTo>
                    <a:pt x="364" y="164"/>
                    <a:pt x="364" y="162"/>
                    <a:pt x="363" y="165"/>
                  </a:cubicBezTo>
                  <a:cubicBezTo>
                    <a:pt x="362" y="168"/>
                    <a:pt x="363" y="167"/>
                    <a:pt x="362" y="169"/>
                  </a:cubicBezTo>
                  <a:cubicBezTo>
                    <a:pt x="361" y="171"/>
                    <a:pt x="358" y="172"/>
                    <a:pt x="360" y="173"/>
                  </a:cubicBezTo>
                  <a:cubicBezTo>
                    <a:pt x="361" y="175"/>
                    <a:pt x="361" y="175"/>
                    <a:pt x="363" y="175"/>
                  </a:cubicBezTo>
                  <a:close/>
                  <a:moveTo>
                    <a:pt x="138" y="74"/>
                  </a:moveTo>
                  <a:cubicBezTo>
                    <a:pt x="136" y="74"/>
                    <a:pt x="136" y="75"/>
                    <a:pt x="135" y="76"/>
                  </a:cubicBezTo>
                  <a:cubicBezTo>
                    <a:pt x="134" y="77"/>
                    <a:pt x="136" y="78"/>
                    <a:pt x="136" y="78"/>
                  </a:cubicBezTo>
                  <a:cubicBezTo>
                    <a:pt x="136" y="79"/>
                    <a:pt x="138" y="79"/>
                    <a:pt x="139" y="79"/>
                  </a:cubicBezTo>
                  <a:cubicBezTo>
                    <a:pt x="140" y="80"/>
                    <a:pt x="141" y="79"/>
                    <a:pt x="142" y="79"/>
                  </a:cubicBezTo>
                  <a:cubicBezTo>
                    <a:pt x="143" y="78"/>
                    <a:pt x="143" y="78"/>
                    <a:pt x="143" y="77"/>
                  </a:cubicBezTo>
                  <a:cubicBezTo>
                    <a:pt x="143" y="75"/>
                    <a:pt x="142" y="76"/>
                    <a:pt x="141" y="74"/>
                  </a:cubicBezTo>
                  <a:cubicBezTo>
                    <a:pt x="139" y="73"/>
                    <a:pt x="139" y="74"/>
                    <a:pt x="138" y="74"/>
                  </a:cubicBezTo>
                  <a:close/>
                  <a:moveTo>
                    <a:pt x="408" y="210"/>
                  </a:moveTo>
                  <a:cubicBezTo>
                    <a:pt x="407" y="211"/>
                    <a:pt x="409" y="212"/>
                    <a:pt x="409" y="213"/>
                  </a:cubicBezTo>
                  <a:cubicBezTo>
                    <a:pt x="409" y="215"/>
                    <a:pt x="410" y="216"/>
                    <a:pt x="410" y="216"/>
                  </a:cubicBezTo>
                  <a:cubicBezTo>
                    <a:pt x="411" y="215"/>
                    <a:pt x="411" y="215"/>
                    <a:pt x="412" y="214"/>
                  </a:cubicBezTo>
                  <a:cubicBezTo>
                    <a:pt x="412" y="213"/>
                    <a:pt x="412" y="212"/>
                    <a:pt x="412" y="211"/>
                  </a:cubicBezTo>
                  <a:cubicBezTo>
                    <a:pt x="412" y="209"/>
                    <a:pt x="411" y="209"/>
                    <a:pt x="411" y="208"/>
                  </a:cubicBezTo>
                  <a:cubicBezTo>
                    <a:pt x="410" y="206"/>
                    <a:pt x="411" y="207"/>
                    <a:pt x="412" y="205"/>
                  </a:cubicBezTo>
                  <a:cubicBezTo>
                    <a:pt x="413" y="203"/>
                    <a:pt x="412" y="203"/>
                    <a:pt x="410" y="204"/>
                  </a:cubicBezTo>
                  <a:cubicBezTo>
                    <a:pt x="409" y="205"/>
                    <a:pt x="409" y="205"/>
                    <a:pt x="409" y="206"/>
                  </a:cubicBezTo>
                  <a:cubicBezTo>
                    <a:pt x="409" y="208"/>
                    <a:pt x="410" y="208"/>
                    <a:pt x="410" y="209"/>
                  </a:cubicBezTo>
                  <a:cubicBezTo>
                    <a:pt x="410" y="210"/>
                    <a:pt x="410" y="210"/>
                    <a:pt x="408" y="210"/>
                  </a:cubicBezTo>
                  <a:close/>
                  <a:moveTo>
                    <a:pt x="175" y="128"/>
                  </a:moveTo>
                  <a:cubicBezTo>
                    <a:pt x="174" y="127"/>
                    <a:pt x="174" y="128"/>
                    <a:pt x="173" y="127"/>
                  </a:cubicBezTo>
                  <a:cubicBezTo>
                    <a:pt x="173" y="125"/>
                    <a:pt x="173" y="126"/>
                    <a:pt x="171" y="125"/>
                  </a:cubicBezTo>
                  <a:cubicBezTo>
                    <a:pt x="169" y="124"/>
                    <a:pt x="169" y="124"/>
                    <a:pt x="168" y="123"/>
                  </a:cubicBezTo>
                  <a:cubicBezTo>
                    <a:pt x="166" y="122"/>
                    <a:pt x="167" y="123"/>
                    <a:pt x="165" y="122"/>
                  </a:cubicBezTo>
                  <a:cubicBezTo>
                    <a:pt x="164" y="122"/>
                    <a:pt x="165" y="121"/>
                    <a:pt x="163" y="120"/>
                  </a:cubicBezTo>
                  <a:cubicBezTo>
                    <a:pt x="161" y="120"/>
                    <a:pt x="163" y="121"/>
                    <a:pt x="162" y="122"/>
                  </a:cubicBezTo>
                  <a:cubicBezTo>
                    <a:pt x="161" y="122"/>
                    <a:pt x="162" y="126"/>
                    <a:pt x="161" y="126"/>
                  </a:cubicBezTo>
                  <a:cubicBezTo>
                    <a:pt x="160" y="127"/>
                    <a:pt x="161" y="127"/>
                    <a:pt x="161" y="128"/>
                  </a:cubicBezTo>
                  <a:cubicBezTo>
                    <a:pt x="162" y="129"/>
                    <a:pt x="161" y="128"/>
                    <a:pt x="159" y="129"/>
                  </a:cubicBezTo>
                  <a:cubicBezTo>
                    <a:pt x="157" y="129"/>
                    <a:pt x="159" y="130"/>
                    <a:pt x="160" y="130"/>
                  </a:cubicBezTo>
                  <a:cubicBezTo>
                    <a:pt x="160" y="131"/>
                    <a:pt x="160" y="130"/>
                    <a:pt x="161" y="129"/>
                  </a:cubicBezTo>
                  <a:cubicBezTo>
                    <a:pt x="162" y="129"/>
                    <a:pt x="163" y="129"/>
                    <a:pt x="163" y="130"/>
                  </a:cubicBezTo>
                  <a:cubicBezTo>
                    <a:pt x="164" y="130"/>
                    <a:pt x="164" y="130"/>
                    <a:pt x="163" y="131"/>
                  </a:cubicBezTo>
                  <a:cubicBezTo>
                    <a:pt x="163" y="131"/>
                    <a:pt x="163" y="131"/>
                    <a:pt x="164" y="132"/>
                  </a:cubicBezTo>
                  <a:cubicBezTo>
                    <a:pt x="165" y="133"/>
                    <a:pt x="166" y="130"/>
                    <a:pt x="168" y="130"/>
                  </a:cubicBezTo>
                  <a:cubicBezTo>
                    <a:pt x="169" y="130"/>
                    <a:pt x="168" y="129"/>
                    <a:pt x="168" y="128"/>
                  </a:cubicBezTo>
                  <a:cubicBezTo>
                    <a:pt x="168" y="127"/>
                    <a:pt x="170" y="128"/>
                    <a:pt x="171" y="129"/>
                  </a:cubicBezTo>
                  <a:cubicBezTo>
                    <a:pt x="171" y="130"/>
                    <a:pt x="172" y="129"/>
                    <a:pt x="173" y="130"/>
                  </a:cubicBezTo>
                  <a:cubicBezTo>
                    <a:pt x="174" y="130"/>
                    <a:pt x="174" y="130"/>
                    <a:pt x="175" y="131"/>
                  </a:cubicBezTo>
                  <a:cubicBezTo>
                    <a:pt x="177" y="131"/>
                    <a:pt x="176" y="129"/>
                    <a:pt x="175" y="128"/>
                  </a:cubicBezTo>
                  <a:close/>
                  <a:moveTo>
                    <a:pt x="225" y="183"/>
                  </a:moveTo>
                  <a:cubicBezTo>
                    <a:pt x="225" y="182"/>
                    <a:pt x="223" y="182"/>
                    <a:pt x="222" y="182"/>
                  </a:cubicBezTo>
                  <a:cubicBezTo>
                    <a:pt x="221" y="181"/>
                    <a:pt x="220" y="181"/>
                    <a:pt x="218" y="181"/>
                  </a:cubicBezTo>
                  <a:cubicBezTo>
                    <a:pt x="217" y="181"/>
                    <a:pt x="219" y="181"/>
                    <a:pt x="219" y="181"/>
                  </a:cubicBezTo>
                  <a:cubicBezTo>
                    <a:pt x="219" y="181"/>
                    <a:pt x="220" y="182"/>
                    <a:pt x="220" y="182"/>
                  </a:cubicBezTo>
                  <a:cubicBezTo>
                    <a:pt x="221" y="183"/>
                    <a:pt x="224" y="184"/>
                    <a:pt x="225" y="184"/>
                  </a:cubicBezTo>
                  <a:cubicBezTo>
                    <a:pt x="227" y="184"/>
                    <a:pt x="226" y="184"/>
                    <a:pt x="225" y="183"/>
                  </a:cubicBezTo>
                  <a:close/>
                  <a:moveTo>
                    <a:pt x="67" y="97"/>
                  </a:moveTo>
                  <a:cubicBezTo>
                    <a:pt x="67" y="97"/>
                    <a:pt x="69" y="96"/>
                    <a:pt x="70" y="96"/>
                  </a:cubicBezTo>
                  <a:cubicBezTo>
                    <a:pt x="72" y="96"/>
                    <a:pt x="72" y="95"/>
                    <a:pt x="73" y="93"/>
                  </a:cubicBezTo>
                  <a:cubicBezTo>
                    <a:pt x="73" y="91"/>
                    <a:pt x="73" y="91"/>
                    <a:pt x="75" y="90"/>
                  </a:cubicBezTo>
                  <a:cubicBezTo>
                    <a:pt x="76" y="89"/>
                    <a:pt x="76" y="89"/>
                    <a:pt x="78" y="88"/>
                  </a:cubicBezTo>
                  <a:cubicBezTo>
                    <a:pt x="80" y="88"/>
                    <a:pt x="80" y="87"/>
                    <a:pt x="82" y="86"/>
                  </a:cubicBezTo>
                  <a:cubicBezTo>
                    <a:pt x="83" y="85"/>
                    <a:pt x="86" y="87"/>
                    <a:pt x="85" y="85"/>
                  </a:cubicBezTo>
                  <a:cubicBezTo>
                    <a:pt x="84" y="84"/>
                    <a:pt x="84" y="84"/>
                    <a:pt x="83" y="83"/>
                  </a:cubicBezTo>
                  <a:cubicBezTo>
                    <a:pt x="81" y="81"/>
                    <a:pt x="80" y="80"/>
                    <a:pt x="78" y="81"/>
                  </a:cubicBezTo>
                  <a:cubicBezTo>
                    <a:pt x="77" y="82"/>
                    <a:pt x="77" y="83"/>
                    <a:pt x="75" y="82"/>
                  </a:cubicBezTo>
                  <a:cubicBezTo>
                    <a:pt x="75" y="82"/>
                    <a:pt x="75" y="82"/>
                    <a:pt x="75" y="82"/>
                  </a:cubicBezTo>
                  <a:cubicBezTo>
                    <a:pt x="71" y="86"/>
                    <a:pt x="68" y="90"/>
                    <a:pt x="64" y="95"/>
                  </a:cubicBezTo>
                  <a:cubicBezTo>
                    <a:pt x="64" y="95"/>
                    <a:pt x="64" y="95"/>
                    <a:pt x="64" y="95"/>
                  </a:cubicBezTo>
                  <a:cubicBezTo>
                    <a:pt x="65" y="95"/>
                    <a:pt x="65" y="97"/>
                    <a:pt x="67" y="97"/>
                  </a:cubicBezTo>
                  <a:close/>
                  <a:moveTo>
                    <a:pt x="113" y="56"/>
                  </a:moveTo>
                  <a:cubicBezTo>
                    <a:pt x="112" y="56"/>
                    <a:pt x="113" y="56"/>
                    <a:pt x="114" y="56"/>
                  </a:cubicBezTo>
                  <a:cubicBezTo>
                    <a:pt x="115" y="56"/>
                    <a:pt x="115" y="56"/>
                    <a:pt x="116" y="57"/>
                  </a:cubicBezTo>
                  <a:cubicBezTo>
                    <a:pt x="117" y="58"/>
                    <a:pt x="116" y="58"/>
                    <a:pt x="116" y="58"/>
                  </a:cubicBezTo>
                  <a:cubicBezTo>
                    <a:pt x="115" y="58"/>
                    <a:pt x="114" y="58"/>
                    <a:pt x="115" y="59"/>
                  </a:cubicBezTo>
                  <a:cubicBezTo>
                    <a:pt x="116" y="61"/>
                    <a:pt x="117" y="60"/>
                    <a:pt x="119" y="60"/>
                  </a:cubicBezTo>
                  <a:cubicBezTo>
                    <a:pt x="121" y="60"/>
                    <a:pt x="120" y="60"/>
                    <a:pt x="122" y="60"/>
                  </a:cubicBezTo>
                  <a:cubicBezTo>
                    <a:pt x="123" y="60"/>
                    <a:pt x="123" y="61"/>
                    <a:pt x="124" y="62"/>
                  </a:cubicBezTo>
                  <a:cubicBezTo>
                    <a:pt x="125" y="63"/>
                    <a:pt x="126" y="62"/>
                    <a:pt x="128" y="62"/>
                  </a:cubicBezTo>
                  <a:cubicBezTo>
                    <a:pt x="129" y="62"/>
                    <a:pt x="128" y="61"/>
                    <a:pt x="128" y="60"/>
                  </a:cubicBezTo>
                  <a:cubicBezTo>
                    <a:pt x="127" y="59"/>
                    <a:pt x="125" y="58"/>
                    <a:pt x="124" y="57"/>
                  </a:cubicBezTo>
                  <a:cubicBezTo>
                    <a:pt x="122" y="56"/>
                    <a:pt x="123" y="56"/>
                    <a:pt x="120" y="55"/>
                  </a:cubicBezTo>
                  <a:cubicBezTo>
                    <a:pt x="118" y="55"/>
                    <a:pt x="120" y="56"/>
                    <a:pt x="118" y="55"/>
                  </a:cubicBezTo>
                  <a:cubicBezTo>
                    <a:pt x="116" y="55"/>
                    <a:pt x="116" y="54"/>
                    <a:pt x="115" y="53"/>
                  </a:cubicBezTo>
                  <a:cubicBezTo>
                    <a:pt x="114" y="52"/>
                    <a:pt x="113" y="53"/>
                    <a:pt x="111" y="54"/>
                  </a:cubicBezTo>
                  <a:cubicBezTo>
                    <a:pt x="110" y="54"/>
                    <a:pt x="111" y="55"/>
                    <a:pt x="112" y="55"/>
                  </a:cubicBezTo>
                  <a:cubicBezTo>
                    <a:pt x="113" y="56"/>
                    <a:pt x="113" y="55"/>
                    <a:pt x="113" y="56"/>
                  </a:cubicBezTo>
                  <a:close/>
                  <a:moveTo>
                    <a:pt x="220" y="190"/>
                  </a:moveTo>
                  <a:cubicBezTo>
                    <a:pt x="219" y="190"/>
                    <a:pt x="219" y="191"/>
                    <a:pt x="219" y="191"/>
                  </a:cubicBezTo>
                  <a:cubicBezTo>
                    <a:pt x="219" y="192"/>
                    <a:pt x="219" y="192"/>
                    <a:pt x="220" y="193"/>
                  </a:cubicBezTo>
                  <a:cubicBezTo>
                    <a:pt x="220" y="193"/>
                    <a:pt x="221" y="193"/>
                    <a:pt x="222" y="193"/>
                  </a:cubicBezTo>
                  <a:cubicBezTo>
                    <a:pt x="223" y="193"/>
                    <a:pt x="223" y="194"/>
                    <a:pt x="223" y="194"/>
                  </a:cubicBezTo>
                  <a:cubicBezTo>
                    <a:pt x="225" y="194"/>
                    <a:pt x="223" y="193"/>
                    <a:pt x="223" y="192"/>
                  </a:cubicBezTo>
                  <a:cubicBezTo>
                    <a:pt x="223" y="192"/>
                    <a:pt x="222" y="192"/>
                    <a:pt x="221" y="192"/>
                  </a:cubicBezTo>
                  <a:cubicBezTo>
                    <a:pt x="220" y="191"/>
                    <a:pt x="220" y="191"/>
                    <a:pt x="220" y="190"/>
                  </a:cubicBezTo>
                  <a:close/>
                  <a:moveTo>
                    <a:pt x="190" y="270"/>
                  </a:moveTo>
                  <a:cubicBezTo>
                    <a:pt x="192" y="271"/>
                    <a:pt x="192" y="270"/>
                    <a:pt x="192" y="270"/>
                  </a:cubicBezTo>
                  <a:cubicBezTo>
                    <a:pt x="194" y="269"/>
                    <a:pt x="190" y="268"/>
                    <a:pt x="186" y="266"/>
                  </a:cubicBezTo>
                  <a:cubicBezTo>
                    <a:pt x="182" y="265"/>
                    <a:pt x="185" y="266"/>
                    <a:pt x="180" y="263"/>
                  </a:cubicBezTo>
                  <a:cubicBezTo>
                    <a:pt x="176" y="261"/>
                    <a:pt x="173" y="262"/>
                    <a:pt x="171" y="262"/>
                  </a:cubicBezTo>
                  <a:cubicBezTo>
                    <a:pt x="169" y="262"/>
                    <a:pt x="166" y="263"/>
                    <a:pt x="166" y="265"/>
                  </a:cubicBezTo>
                  <a:cubicBezTo>
                    <a:pt x="167" y="266"/>
                    <a:pt x="169" y="265"/>
                    <a:pt x="169" y="264"/>
                  </a:cubicBezTo>
                  <a:cubicBezTo>
                    <a:pt x="170" y="264"/>
                    <a:pt x="172" y="262"/>
                    <a:pt x="173" y="263"/>
                  </a:cubicBezTo>
                  <a:cubicBezTo>
                    <a:pt x="175" y="266"/>
                    <a:pt x="175" y="263"/>
                    <a:pt x="177" y="265"/>
                  </a:cubicBezTo>
                  <a:cubicBezTo>
                    <a:pt x="178" y="266"/>
                    <a:pt x="180" y="265"/>
                    <a:pt x="181" y="266"/>
                  </a:cubicBezTo>
                  <a:cubicBezTo>
                    <a:pt x="182" y="267"/>
                    <a:pt x="181" y="268"/>
                    <a:pt x="183" y="268"/>
                  </a:cubicBezTo>
                  <a:cubicBezTo>
                    <a:pt x="185" y="268"/>
                    <a:pt x="186" y="269"/>
                    <a:pt x="185" y="270"/>
                  </a:cubicBezTo>
                  <a:cubicBezTo>
                    <a:pt x="183" y="271"/>
                    <a:pt x="185" y="271"/>
                    <a:pt x="186" y="271"/>
                  </a:cubicBezTo>
                  <a:cubicBezTo>
                    <a:pt x="187" y="270"/>
                    <a:pt x="188" y="270"/>
                    <a:pt x="190" y="270"/>
                  </a:cubicBezTo>
                  <a:close/>
                  <a:moveTo>
                    <a:pt x="121" y="73"/>
                  </a:moveTo>
                  <a:cubicBezTo>
                    <a:pt x="120" y="73"/>
                    <a:pt x="119" y="73"/>
                    <a:pt x="119" y="74"/>
                  </a:cubicBezTo>
                  <a:cubicBezTo>
                    <a:pt x="118" y="75"/>
                    <a:pt x="120" y="75"/>
                    <a:pt x="121" y="75"/>
                  </a:cubicBezTo>
                  <a:cubicBezTo>
                    <a:pt x="122" y="74"/>
                    <a:pt x="122" y="74"/>
                    <a:pt x="123" y="74"/>
                  </a:cubicBezTo>
                  <a:cubicBezTo>
                    <a:pt x="124" y="75"/>
                    <a:pt x="124" y="74"/>
                    <a:pt x="125" y="73"/>
                  </a:cubicBezTo>
                  <a:cubicBezTo>
                    <a:pt x="126" y="73"/>
                    <a:pt x="126" y="74"/>
                    <a:pt x="126" y="74"/>
                  </a:cubicBezTo>
                  <a:cubicBezTo>
                    <a:pt x="126" y="75"/>
                    <a:pt x="125" y="75"/>
                    <a:pt x="124" y="76"/>
                  </a:cubicBezTo>
                  <a:cubicBezTo>
                    <a:pt x="124" y="77"/>
                    <a:pt x="125" y="77"/>
                    <a:pt x="126" y="77"/>
                  </a:cubicBezTo>
                  <a:cubicBezTo>
                    <a:pt x="127" y="78"/>
                    <a:pt x="128" y="77"/>
                    <a:pt x="129" y="77"/>
                  </a:cubicBezTo>
                  <a:cubicBezTo>
                    <a:pt x="130" y="77"/>
                    <a:pt x="131" y="76"/>
                    <a:pt x="131" y="75"/>
                  </a:cubicBezTo>
                  <a:cubicBezTo>
                    <a:pt x="131" y="74"/>
                    <a:pt x="131" y="74"/>
                    <a:pt x="132" y="73"/>
                  </a:cubicBezTo>
                  <a:cubicBezTo>
                    <a:pt x="133" y="71"/>
                    <a:pt x="132" y="71"/>
                    <a:pt x="132" y="70"/>
                  </a:cubicBezTo>
                  <a:cubicBezTo>
                    <a:pt x="131" y="69"/>
                    <a:pt x="131" y="69"/>
                    <a:pt x="128" y="69"/>
                  </a:cubicBezTo>
                  <a:cubicBezTo>
                    <a:pt x="126" y="69"/>
                    <a:pt x="127" y="70"/>
                    <a:pt x="125" y="69"/>
                  </a:cubicBezTo>
                  <a:cubicBezTo>
                    <a:pt x="123" y="68"/>
                    <a:pt x="124" y="69"/>
                    <a:pt x="124" y="70"/>
                  </a:cubicBezTo>
                  <a:cubicBezTo>
                    <a:pt x="123" y="71"/>
                    <a:pt x="124" y="71"/>
                    <a:pt x="125" y="71"/>
                  </a:cubicBezTo>
                  <a:cubicBezTo>
                    <a:pt x="126" y="72"/>
                    <a:pt x="126" y="72"/>
                    <a:pt x="125" y="72"/>
                  </a:cubicBezTo>
                  <a:cubicBezTo>
                    <a:pt x="125" y="73"/>
                    <a:pt x="124" y="72"/>
                    <a:pt x="123" y="72"/>
                  </a:cubicBezTo>
                  <a:cubicBezTo>
                    <a:pt x="122" y="71"/>
                    <a:pt x="123" y="71"/>
                    <a:pt x="122" y="70"/>
                  </a:cubicBezTo>
                  <a:cubicBezTo>
                    <a:pt x="120" y="69"/>
                    <a:pt x="121" y="70"/>
                    <a:pt x="120" y="71"/>
                  </a:cubicBezTo>
                  <a:cubicBezTo>
                    <a:pt x="119" y="72"/>
                    <a:pt x="120" y="72"/>
                    <a:pt x="121" y="72"/>
                  </a:cubicBezTo>
                  <a:cubicBezTo>
                    <a:pt x="123" y="73"/>
                    <a:pt x="122" y="73"/>
                    <a:pt x="122" y="73"/>
                  </a:cubicBezTo>
                  <a:cubicBezTo>
                    <a:pt x="122" y="74"/>
                    <a:pt x="121" y="73"/>
                    <a:pt x="121" y="73"/>
                  </a:cubicBezTo>
                  <a:close/>
                  <a:moveTo>
                    <a:pt x="134" y="89"/>
                  </a:moveTo>
                  <a:cubicBezTo>
                    <a:pt x="133" y="88"/>
                    <a:pt x="133" y="88"/>
                    <a:pt x="132" y="88"/>
                  </a:cubicBezTo>
                  <a:cubicBezTo>
                    <a:pt x="131" y="87"/>
                    <a:pt x="130" y="86"/>
                    <a:pt x="132" y="86"/>
                  </a:cubicBezTo>
                  <a:cubicBezTo>
                    <a:pt x="133" y="85"/>
                    <a:pt x="135" y="85"/>
                    <a:pt x="134" y="84"/>
                  </a:cubicBezTo>
                  <a:cubicBezTo>
                    <a:pt x="133" y="83"/>
                    <a:pt x="133" y="82"/>
                    <a:pt x="131" y="83"/>
                  </a:cubicBezTo>
                  <a:cubicBezTo>
                    <a:pt x="130" y="83"/>
                    <a:pt x="131" y="83"/>
                    <a:pt x="130" y="83"/>
                  </a:cubicBezTo>
                  <a:cubicBezTo>
                    <a:pt x="129" y="83"/>
                    <a:pt x="129" y="84"/>
                    <a:pt x="127" y="83"/>
                  </a:cubicBezTo>
                  <a:cubicBezTo>
                    <a:pt x="126" y="83"/>
                    <a:pt x="126" y="82"/>
                    <a:pt x="125" y="82"/>
                  </a:cubicBezTo>
                  <a:cubicBezTo>
                    <a:pt x="124" y="83"/>
                    <a:pt x="123" y="83"/>
                    <a:pt x="122" y="84"/>
                  </a:cubicBezTo>
                  <a:cubicBezTo>
                    <a:pt x="122" y="84"/>
                    <a:pt x="120" y="85"/>
                    <a:pt x="122" y="86"/>
                  </a:cubicBezTo>
                  <a:cubicBezTo>
                    <a:pt x="124" y="87"/>
                    <a:pt x="125" y="87"/>
                    <a:pt x="125" y="88"/>
                  </a:cubicBezTo>
                  <a:cubicBezTo>
                    <a:pt x="124" y="89"/>
                    <a:pt x="124" y="90"/>
                    <a:pt x="122" y="89"/>
                  </a:cubicBezTo>
                  <a:cubicBezTo>
                    <a:pt x="120" y="87"/>
                    <a:pt x="120" y="86"/>
                    <a:pt x="119" y="87"/>
                  </a:cubicBezTo>
                  <a:cubicBezTo>
                    <a:pt x="118" y="88"/>
                    <a:pt x="117" y="88"/>
                    <a:pt x="119" y="90"/>
                  </a:cubicBezTo>
                  <a:cubicBezTo>
                    <a:pt x="121" y="91"/>
                    <a:pt x="121" y="90"/>
                    <a:pt x="122" y="91"/>
                  </a:cubicBezTo>
                  <a:cubicBezTo>
                    <a:pt x="124" y="93"/>
                    <a:pt x="124" y="92"/>
                    <a:pt x="125" y="93"/>
                  </a:cubicBezTo>
                  <a:cubicBezTo>
                    <a:pt x="127" y="93"/>
                    <a:pt x="127" y="94"/>
                    <a:pt x="127" y="95"/>
                  </a:cubicBezTo>
                  <a:cubicBezTo>
                    <a:pt x="128" y="96"/>
                    <a:pt x="129" y="96"/>
                    <a:pt x="129" y="95"/>
                  </a:cubicBezTo>
                  <a:cubicBezTo>
                    <a:pt x="129" y="95"/>
                    <a:pt x="130" y="95"/>
                    <a:pt x="131" y="94"/>
                  </a:cubicBezTo>
                  <a:cubicBezTo>
                    <a:pt x="131" y="94"/>
                    <a:pt x="132" y="95"/>
                    <a:pt x="133" y="94"/>
                  </a:cubicBezTo>
                  <a:cubicBezTo>
                    <a:pt x="134" y="94"/>
                    <a:pt x="135" y="94"/>
                    <a:pt x="134" y="93"/>
                  </a:cubicBezTo>
                  <a:cubicBezTo>
                    <a:pt x="134" y="91"/>
                    <a:pt x="134" y="91"/>
                    <a:pt x="134" y="91"/>
                  </a:cubicBezTo>
                  <a:cubicBezTo>
                    <a:pt x="135" y="90"/>
                    <a:pt x="135" y="89"/>
                    <a:pt x="134" y="89"/>
                  </a:cubicBezTo>
                  <a:close/>
                  <a:moveTo>
                    <a:pt x="194" y="274"/>
                  </a:moveTo>
                  <a:cubicBezTo>
                    <a:pt x="192" y="273"/>
                    <a:pt x="193" y="275"/>
                    <a:pt x="193" y="275"/>
                  </a:cubicBezTo>
                  <a:cubicBezTo>
                    <a:pt x="194" y="276"/>
                    <a:pt x="194" y="276"/>
                    <a:pt x="195" y="275"/>
                  </a:cubicBezTo>
                  <a:cubicBezTo>
                    <a:pt x="196" y="275"/>
                    <a:pt x="199" y="274"/>
                    <a:pt x="200" y="276"/>
                  </a:cubicBezTo>
                  <a:cubicBezTo>
                    <a:pt x="200" y="277"/>
                    <a:pt x="201" y="276"/>
                    <a:pt x="202" y="275"/>
                  </a:cubicBezTo>
                  <a:cubicBezTo>
                    <a:pt x="203" y="274"/>
                    <a:pt x="204" y="275"/>
                    <a:pt x="207" y="275"/>
                  </a:cubicBezTo>
                  <a:cubicBezTo>
                    <a:pt x="210" y="275"/>
                    <a:pt x="207" y="274"/>
                    <a:pt x="205" y="272"/>
                  </a:cubicBezTo>
                  <a:cubicBezTo>
                    <a:pt x="203" y="270"/>
                    <a:pt x="203" y="271"/>
                    <a:pt x="201" y="271"/>
                  </a:cubicBezTo>
                  <a:cubicBezTo>
                    <a:pt x="200" y="271"/>
                    <a:pt x="198" y="270"/>
                    <a:pt x="197" y="270"/>
                  </a:cubicBezTo>
                  <a:cubicBezTo>
                    <a:pt x="195" y="270"/>
                    <a:pt x="195" y="271"/>
                    <a:pt x="196" y="271"/>
                  </a:cubicBezTo>
                  <a:cubicBezTo>
                    <a:pt x="197" y="271"/>
                    <a:pt x="197" y="272"/>
                    <a:pt x="197" y="273"/>
                  </a:cubicBezTo>
                  <a:cubicBezTo>
                    <a:pt x="197" y="274"/>
                    <a:pt x="196" y="274"/>
                    <a:pt x="194" y="274"/>
                  </a:cubicBezTo>
                  <a:close/>
                  <a:moveTo>
                    <a:pt x="213" y="275"/>
                  </a:moveTo>
                  <a:cubicBezTo>
                    <a:pt x="211" y="274"/>
                    <a:pt x="211" y="276"/>
                    <a:pt x="211" y="276"/>
                  </a:cubicBezTo>
                  <a:cubicBezTo>
                    <a:pt x="211" y="276"/>
                    <a:pt x="214" y="276"/>
                    <a:pt x="215" y="276"/>
                  </a:cubicBezTo>
                  <a:cubicBezTo>
                    <a:pt x="216" y="276"/>
                    <a:pt x="216" y="275"/>
                    <a:pt x="216" y="275"/>
                  </a:cubicBezTo>
                  <a:cubicBezTo>
                    <a:pt x="215" y="274"/>
                    <a:pt x="214" y="275"/>
                    <a:pt x="213" y="275"/>
                  </a:cubicBezTo>
                  <a:close/>
                  <a:moveTo>
                    <a:pt x="132" y="61"/>
                  </a:moveTo>
                  <a:cubicBezTo>
                    <a:pt x="132" y="62"/>
                    <a:pt x="133" y="62"/>
                    <a:pt x="133" y="62"/>
                  </a:cubicBezTo>
                  <a:cubicBezTo>
                    <a:pt x="135" y="62"/>
                    <a:pt x="136" y="62"/>
                    <a:pt x="138" y="61"/>
                  </a:cubicBezTo>
                  <a:cubicBezTo>
                    <a:pt x="139" y="60"/>
                    <a:pt x="138" y="60"/>
                    <a:pt x="138" y="59"/>
                  </a:cubicBezTo>
                  <a:cubicBezTo>
                    <a:pt x="138" y="58"/>
                    <a:pt x="137" y="58"/>
                    <a:pt x="136" y="58"/>
                  </a:cubicBezTo>
                  <a:cubicBezTo>
                    <a:pt x="134" y="58"/>
                    <a:pt x="135" y="58"/>
                    <a:pt x="134" y="57"/>
                  </a:cubicBezTo>
                  <a:cubicBezTo>
                    <a:pt x="132" y="56"/>
                    <a:pt x="132" y="57"/>
                    <a:pt x="130" y="57"/>
                  </a:cubicBezTo>
                  <a:cubicBezTo>
                    <a:pt x="129" y="57"/>
                    <a:pt x="130" y="58"/>
                    <a:pt x="130" y="59"/>
                  </a:cubicBezTo>
                  <a:cubicBezTo>
                    <a:pt x="131" y="60"/>
                    <a:pt x="131" y="60"/>
                    <a:pt x="132" y="61"/>
                  </a:cubicBezTo>
                  <a:close/>
                  <a:moveTo>
                    <a:pt x="84" y="77"/>
                  </a:moveTo>
                  <a:cubicBezTo>
                    <a:pt x="85" y="78"/>
                    <a:pt x="85" y="77"/>
                    <a:pt x="85" y="77"/>
                  </a:cubicBezTo>
                  <a:cubicBezTo>
                    <a:pt x="86" y="78"/>
                    <a:pt x="86" y="77"/>
                    <a:pt x="87" y="77"/>
                  </a:cubicBezTo>
                  <a:cubicBezTo>
                    <a:pt x="89" y="77"/>
                    <a:pt x="88" y="77"/>
                    <a:pt x="89" y="75"/>
                  </a:cubicBezTo>
                  <a:cubicBezTo>
                    <a:pt x="90" y="74"/>
                    <a:pt x="90" y="76"/>
                    <a:pt x="90" y="76"/>
                  </a:cubicBezTo>
                  <a:cubicBezTo>
                    <a:pt x="90" y="76"/>
                    <a:pt x="90" y="77"/>
                    <a:pt x="90" y="77"/>
                  </a:cubicBezTo>
                  <a:cubicBezTo>
                    <a:pt x="91" y="77"/>
                    <a:pt x="91" y="77"/>
                    <a:pt x="93" y="77"/>
                  </a:cubicBezTo>
                  <a:cubicBezTo>
                    <a:pt x="95" y="76"/>
                    <a:pt x="94" y="77"/>
                    <a:pt x="95" y="77"/>
                  </a:cubicBezTo>
                  <a:cubicBezTo>
                    <a:pt x="97" y="77"/>
                    <a:pt x="95" y="77"/>
                    <a:pt x="95" y="78"/>
                  </a:cubicBezTo>
                  <a:cubicBezTo>
                    <a:pt x="94" y="78"/>
                    <a:pt x="93" y="78"/>
                    <a:pt x="92" y="78"/>
                  </a:cubicBezTo>
                  <a:cubicBezTo>
                    <a:pt x="90" y="78"/>
                    <a:pt x="90" y="78"/>
                    <a:pt x="88" y="79"/>
                  </a:cubicBezTo>
                  <a:cubicBezTo>
                    <a:pt x="87" y="79"/>
                    <a:pt x="89" y="80"/>
                    <a:pt x="89" y="80"/>
                  </a:cubicBezTo>
                  <a:cubicBezTo>
                    <a:pt x="90" y="81"/>
                    <a:pt x="92" y="80"/>
                    <a:pt x="93" y="80"/>
                  </a:cubicBezTo>
                  <a:cubicBezTo>
                    <a:pt x="94" y="81"/>
                    <a:pt x="95" y="80"/>
                    <a:pt x="96" y="80"/>
                  </a:cubicBezTo>
                  <a:cubicBezTo>
                    <a:pt x="97" y="80"/>
                    <a:pt x="97" y="80"/>
                    <a:pt x="98" y="79"/>
                  </a:cubicBezTo>
                  <a:cubicBezTo>
                    <a:pt x="99" y="78"/>
                    <a:pt x="100" y="79"/>
                    <a:pt x="101" y="78"/>
                  </a:cubicBezTo>
                  <a:cubicBezTo>
                    <a:pt x="102" y="77"/>
                    <a:pt x="102" y="78"/>
                    <a:pt x="103" y="77"/>
                  </a:cubicBezTo>
                  <a:cubicBezTo>
                    <a:pt x="104" y="77"/>
                    <a:pt x="105" y="77"/>
                    <a:pt x="106" y="78"/>
                  </a:cubicBezTo>
                  <a:cubicBezTo>
                    <a:pt x="107" y="78"/>
                    <a:pt x="108" y="78"/>
                    <a:pt x="109" y="77"/>
                  </a:cubicBezTo>
                  <a:cubicBezTo>
                    <a:pt x="110" y="77"/>
                    <a:pt x="110" y="76"/>
                    <a:pt x="110" y="75"/>
                  </a:cubicBezTo>
                  <a:cubicBezTo>
                    <a:pt x="111" y="74"/>
                    <a:pt x="110" y="74"/>
                    <a:pt x="110" y="73"/>
                  </a:cubicBezTo>
                  <a:cubicBezTo>
                    <a:pt x="109" y="72"/>
                    <a:pt x="109" y="72"/>
                    <a:pt x="108" y="72"/>
                  </a:cubicBezTo>
                  <a:cubicBezTo>
                    <a:pt x="106" y="73"/>
                    <a:pt x="107" y="72"/>
                    <a:pt x="106" y="73"/>
                  </a:cubicBezTo>
                  <a:cubicBezTo>
                    <a:pt x="105" y="73"/>
                    <a:pt x="105" y="72"/>
                    <a:pt x="104" y="72"/>
                  </a:cubicBezTo>
                  <a:cubicBezTo>
                    <a:pt x="104" y="71"/>
                    <a:pt x="104" y="70"/>
                    <a:pt x="104" y="69"/>
                  </a:cubicBezTo>
                  <a:cubicBezTo>
                    <a:pt x="103" y="68"/>
                    <a:pt x="103" y="68"/>
                    <a:pt x="101" y="68"/>
                  </a:cubicBezTo>
                  <a:cubicBezTo>
                    <a:pt x="99" y="68"/>
                    <a:pt x="100" y="69"/>
                    <a:pt x="98" y="69"/>
                  </a:cubicBezTo>
                  <a:cubicBezTo>
                    <a:pt x="97" y="70"/>
                    <a:pt x="98" y="70"/>
                    <a:pt x="98" y="71"/>
                  </a:cubicBezTo>
                  <a:cubicBezTo>
                    <a:pt x="98" y="72"/>
                    <a:pt x="100" y="71"/>
                    <a:pt x="101" y="71"/>
                  </a:cubicBezTo>
                  <a:cubicBezTo>
                    <a:pt x="102" y="71"/>
                    <a:pt x="101" y="71"/>
                    <a:pt x="101" y="72"/>
                  </a:cubicBezTo>
                  <a:cubicBezTo>
                    <a:pt x="101" y="73"/>
                    <a:pt x="100" y="73"/>
                    <a:pt x="101" y="73"/>
                  </a:cubicBezTo>
                  <a:cubicBezTo>
                    <a:pt x="103" y="74"/>
                    <a:pt x="102" y="74"/>
                    <a:pt x="101" y="74"/>
                  </a:cubicBezTo>
                  <a:cubicBezTo>
                    <a:pt x="101" y="75"/>
                    <a:pt x="100" y="75"/>
                    <a:pt x="98" y="75"/>
                  </a:cubicBezTo>
                  <a:cubicBezTo>
                    <a:pt x="97" y="75"/>
                    <a:pt x="97" y="74"/>
                    <a:pt x="96" y="74"/>
                  </a:cubicBezTo>
                  <a:cubicBezTo>
                    <a:pt x="95" y="74"/>
                    <a:pt x="94" y="74"/>
                    <a:pt x="94" y="73"/>
                  </a:cubicBezTo>
                  <a:cubicBezTo>
                    <a:pt x="93" y="72"/>
                    <a:pt x="93" y="72"/>
                    <a:pt x="91" y="71"/>
                  </a:cubicBezTo>
                  <a:cubicBezTo>
                    <a:pt x="89" y="70"/>
                    <a:pt x="90" y="71"/>
                    <a:pt x="88" y="71"/>
                  </a:cubicBezTo>
                  <a:cubicBezTo>
                    <a:pt x="88" y="70"/>
                    <a:pt x="88" y="70"/>
                    <a:pt x="87" y="70"/>
                  </a:cubicBezTo>
                  <a:cubicBezTo>
                    <a:pt x="85" y="72"/>
                    <a:pt x="83" y="74"/>
                    <a:pt x="80" y="77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81" y="77"/>
                    <a:pt x="82" y="77"/>
                    <a:pt x="84" y="77"/>
                  </a:cubicBezTo>
                  <a:close/>
                  <a:moveTo>
                    <a:pt x="96" y="64"/>
                  </a:moveTo>
                  <a:cubicBezTo>
                    <a:pt x="98" y="64"/>
                    <a:pt x="99" y="64"/>
                    <a:pt x="100" y="64"/>
                  </a:cubicBezTo>
                  <a:cubicBezTo>
                    <a:pt x="101" y="63"/>
                    <a:pt x="99" y="62"/>
                    <a:pt x="100" y="62"/>
                  </a:cubicBezTo>
                  <a:cubicBezTo>
                    <a:pt x="101" y="61"/>
                    <a:pt x="99" y="61"/>
                    <a:pt x="98" y="61"/>
                  </a:cubicBezTo>
                  <a:cubicBezTo>
                    <a:pt x="96" y="62"/>
                    <a:pt x="95" y="64"/>
                    <a:pt x="93" y="65"/>
                  </a:cubicBezTo>
                  <a:cubicBezTo>
                    <a:pt x="93" y="65"/>
                    <a:pt x="94" y="65"/>
                    <a:pt x="94" y="65"/>
                  </a:cubicBezTo>
                  <a:cubicBezTo>
                    <a:pt x="94" y="65"/>
                    <a:pt x="95" y="65"/>
                    <a:pt x="96" y="64"/>
                  </a:cubicBezTo>
                  <a:close/>
                  <a:moveTo>
                    <a:pt x="119" y="103"/>
                  </a:moveTo>
                  <a:cubicBezTo>
                    <a:pt x="121" y="104"/>
                    <a:pt x="121" y="104"/>
                    <a:pt x="122" y="103"/>
                  </a:cubicBezTo>
                  <a:cubicBezTo>
                    <a:pt x="123" y="103"/>
                    <a:pt x="124" y="102"/>
                    <a:pt x="122" y="102"/>
                  </a:cubicBezTo>
                  <a:cubicBezTo>
                    <a:pt x="120" y="101"/>
                    <a:pt x="118" y="99"/>
                    <a:pt x="117" y="99"/>
                  </a:cubicBezTo>
                  <a:cubicBezTo>
                    <a:pt x="116" y="99"/>
                    <a:pt x="114" y="99"/>
                    <a:pt x="114" y="98"/>
                  </a:cubicBezTo>
                  <a:cubicBezTo>
                    <a:pt x="114" y="96"/>
                    <a:pt x="115" y="96"/>
                    <a:pt x="114" y="95"/>
                  </a:cubicBezTo>
                  <a:cubicBezTo>
                    <a:pt x="114" y="94"/>
                    <a:pt x="113" y="93"/>
                    <a:pt x="112" y="92"/>
                  </a:cubicBezTo>
                  <a:cubicBezTo>
                    <a:pt x="112" y="92"/>
                    <a:pt x="112" y="91"/>
                    <a:pt x="111" y="90"/>
                  </a:cubicBezTo>
                  <a:cubicBezTo>
                    <a:pt x="110" y="89"/>
                    <a:pt x="110" y="88"/>
                    <a:pt x="109" y="87"/>
                  </a:cubicBezTo>
                  <a:cubicBezTo>
                    <a:pt x="107" y="87"/>
                    <a:pt x="107" y="86"/>
                    <a:pt x="106" y="86"/>
                  </a:cubicBezTo>
                  <a:cubicBezTo>
                    <a:pt x="105" y="86"/>
                    <a:pt x="104" y="86"/>
                    <a:pt x="104" y="88"/>
                  </a:cubicBezTo>
                  <a:cubicBezTo>
                    <a:pt x="105" y="89"/>
                    <a:pt x="104" y="89"/>
                    <a:pt x="105" y="91"/>
                  </a:cubicBezTo>
                  <a:cubicBezTo>
                    <a:pt x="106" y="92"/>
                    <a:pt x="106" y="92"/>
                    <a:pt x="106" y="93"/>
                  </a:cubicBezTo>
                  <a:cubicBezTo>
                    <a:pt x="106" y="93"/>
                    <a:pt x="106" y="95"/>
                    <a:pt x="105" y="94"/>
                  </a:cubicBezTo>
                  <a:cubicBezTo>
                    <a:pt x="104" y="93"/>
                    <a:pt x="104" y="93"/>
                    <a:pt x="104" y="92"/>
                  </a:cubicBezTo>
                  <a:cubicBezTo>
                    <a:pt x="103" y="90"/>
                    <a:pt x="104" y="90"/>
                    <a:pt x="103" y="89"/>
                  </a:cubicBezTo>
                  <a:cubicBezTo>
                    <a:pt x="101" y="89"/>
                    <a:pt x="102" y="88"/>
                    <a:pt x="100" y="88"/>
                  </a:cubicBezTo>
                  <a:cubicBezTo>
                    <a:pt x="99" y="88"/>
                    <a:pt x="99" y="87"/>
                    <a:pt x="98" y="88"/>
                  </a:cubicBezTo>
                  <a:cubicBezTo>
                    <a:pt x="98" y="89"/>
                    <a:pt x="99" y="89"/>
                    <a:pt x="98" y="90"/>
                  </a:cubicBezTo>
                  <a:cubicBezTo>
                    <a:pt x="97" y="90"/>
                    <a:pt x="97" y="92"/>
                    <a:pt x="96" y="90"/>
                  </a:cubicBezTo>
                  <a:cubicBezTo>
                    <a:pt x="95" y="89"/>
                    <a:pt x="94" y="89"/>
                    <a:pt x="93" y="88"/>
                  </a:cubicBezTo>
                  <a:cubicBezTo>
                    <a:pt x="91" y="88"/>
                    <a:pt x="91" y="88"/>
                    <a:pt x="90" y="88"/>
                  </a:cubicBezTo>
                  <a:cubicBezTo>
                    <a:pt x="90" y="89"/>
                    <a:pt x="89" y="90"/>
                    <a:pt x="89" y="89"/>
                  </a:cubicBezTo>
                  <a:cubicBezTo>
                    <a:pt x="89" y="88"/>
                    <a:pt x="90" y="89"/>
                    <a:pt x="89" y="87"/>
                  </a:cubicBezTo>
                  <a:cubicBezTo>
                    <a:pt x="88" y="86"/>
                    <a:pt x="87" y="86"/>
                    <a:pt x="85" y="87"/>
                  </a:cubicBezTo>
                  <a:cubicBezTo>
                    <a:pt x="83" y="88"/>
                    <a:pt x="82" y="87"/>
                    <a:pt x="81" y="88"/>
                  </a:cubicBezTo>
                  <a:cubicBezTo>
                    <a:pt x="79" y="90"/>
                    <a:pt x="79" y="90"/>
                    <a:pt x="78" y="91"/>
                  </a:cubicBezTo>
                  <a:cubicBezTo>
                    <a:pt x="78" y="92"/>
                    <a:pt x="76" y="92"/>
                    <a:pt x="77" y="93"/>
                  </a:cubicBezTo>
                  <a:cubicBezTo>
                    <a:pt x="77" y="94"/>
                    <a:pt x="78" y="95"/>
                    <a:pt x="79" y="95"/>
                  </a:cubicBezTo>
                  <a:cubicBezTo>
                    <a:pt x="80" y="95"/>
                    <a:pt x="80" y="95"/>
                    <a:pt x="81" y="95"/>
                  </a:cubicBezTo>
                  <a:cubicBezTo>
                    <a:pt x="83" y="95"/>
                    <a:pt x="85" y="95"/>
                    <a:pt x="84" y="95"/>
                  </a:cubicBezTo>
                  <a:cubicBezTo>
                    <a:pt x="84" y="96"/>
                    <a:pt x="82" y="96"/>
                    <a:pt x="81" y="96"/>
                  </a:cubicBezTo>
                  <a:cubicBezTo>
                    <a:pt x="80" y="96"/>
                    <a:pt x="79" y="96"/>
                    <a:pt x="79" y="96"/>
                  </a:cubicBezTo>
                  <a:cubicBezTo>
                    <a:pt x="78" y="97"/>
                    <a:pt x="78" y="98"/>
                    <a:pt x="79" y="98"/>
                  </a:cubicBezTo>
                  <a:cubicBezTo>
                    <a:pt x="81" y="99"/>
                    <a:pt x="81" y="99"/>
                    <a:pt x="83" y="99"/>
                  </a:cubicBezTo>
                  <a:cubicBezTo>
                    <a:pt x="85" y="98"/>
                    <a:pt x="86" y="99"/>
                    <a:pt x="88" y="99"/>
                  </a:cubicBezTo>
                  <a:cubicBezTo>
                    <a:pt x="90" y="99"/>
                    <a:pt x="90" y="98"/>
                    <a:pt x="92" y="99"/>
                  </a:cubicBezTo>
                  <a:cubicBezTo>
                    <a:pt x="93" y="100"/>
                    <a:pt x="96" y="99"/>
                    <a:pt x="95" y="100"/>
                  </a:cubicBezTo>
                  <a:cubicBezTo>
                    <a:pt x="94" y="101"/>
                    <a:pt x="94" y="101"/>
                    <a:pt x="92" y="101"/>
                  </a:cubicBezTo>
                  <a:cubicBezTo>
                    <a:pt x="89" y="101"/>
                    <a:pt x="89" y="101"/>
                    <a:pt x="86" y="101"/>
                  </a:cubicBezTo>
                  <a:cubicBezTo>
                    <a:pt x="84" y="101"/>
                    <a:pt x="81" y="100"/>
                    <a:pt x="81" y="102"/>
                  </a:cubicBezTo>
                  <a:cubicBezTo>
                    <a:pt x="81" y="103"/>
                    <a:pt x="82" y="104"/>
                    <a:pt x="83" y="104"/>
                  </a:cubicBezTo>
                  <a:cubicBezTo>
                    <a:pt x="84" y="105"/>
                    <a:pt x="83" y="106"/>
                    <a:pt x="86" y="105"/>
                  </a:cubicBezTo>
                  <a:cubicBezTo>
                    <a:pt x="88" y="105"/>
                    <a:pt x="89" y="105"/>
                    <a:pt x="89" y="106"/>
                  </a:cubicBezTo>
                  <a:cubicBezTo>
                    <a:pt x="90" y="107"/>
                    <a:pt x="89" y="108"/>
                    <a:pt x="91" y="108"/>
                  </a:cubicBezTo>
                  <a:cubicBezTo>
                    <a:pt x="93" y="108"/>
                    <a:pt x="94" y="109"/>
                    <a:pt x="96" y="109"/>
                  </a:cubicBezTo>
                  <a:cubicBezTo>
                    <a:pt x="97" y="108"/>
                    <a:pt x="100" y="108"/>
                    <a:pt x="102" y="108"/>
                  </a:cubicBezTo>
                  <a:cubicBezTo>
                    <a:pt x="104" y="107"/>
                    <a:pt x="104" y="107"/>
                    <a:pt x="105" y="106"/>
                  </a:cubicBezTo>
                  <a:cubicBezTo>
                    <a:pt x="106" y="106"/>
                    <a:pt x="107" y="105"/>
                    <a:pt x="109" y="105"/>
                  </a:cubicBezTo>
                  <a:cubicBezTo>
                    <a:pt x="110" y="105"/>
                    <a:pt x="110" y="106"/>
                    <a:pt x="112" y="106"/>
                  </a:cubicBezTo>
                  <a:cubicBezTo>
                    <a:pt x="113" y="106"/>
                    <a:pt x="113" y="107"/>
                    <a:pt x="114" y="107"/>
                  </a:cubicBezTo>
                  <a:cubicBezTo>
                    <a:pt x="116" y="107"/>
                    <a:pt x="117" y="108"/>
                    <a:pt x="118" y="107"/>
                  </a:cubicBezTo>
                  <a:cubicBezTo>
                    <a:pt x="119" y="107"/>
                    <a:pt x="121" y="107"/>
                    <a:pt x="120" y="106"/>
                  </a:cubicBezTo>
                  <a:cubicBezTo>
                    <a:pt x="120" y="105"/>
                    <a:pt x="120" y="106"/>
                    <a:pt x="119" y="105"/>
                  </a:cubicBezTo>
                  <a:cubicBezTo>
                    <a:pt x="118" y="104"/>
                    <a:pt x="116" y="104"/>
                    <a:pt x="117" y="104"/>
                  </a:cubicBezTo>
                  <a:cubicBezTo>
                    <a:pt x="118" y="103"/>
                    <a:pt x="118" y="103"/>
                    <a:pt x="119" y="103"/>
                  </a:cubicBezTo>
                  <a:close/>
                  <a:moveTo>
                    <a:pt x="109" y="107"/>
                  </a:moveTo>
                  <a:cubicBezTo>
                    <a:pt x="107" y="108"/>
                    <a:pt x="103" y="108"/>
                    <a:pt x="103" y="109"/>
                  </a:cubicBezTo>
                  <a:cubicBezTo>
                    <a:pt x="103" y="109"/>
                    <a:pt x="103" y="111"/>
                    <a:pt x="106" y="110"/>
                  </a:cubicBezTo>
                  <a:cubicBezTo>
                    <a:pt x="108" y="109"/>
                    <a:pt x="109" y="108"/>
                    <a:pt x="110" y="109"/>
                  </a:cubicBezTo>
                  <a:cubicBezTo>
                    <a:pt x="111" y="109"/>
                    <a:pt x="112" y="109"/>
                    <a:pt x="111" y="108"/>
                  </a:cubicBezTo>
                  <a:cubicBezTo>
                    <a:pt x="110" y="107"/>
                    <a:pt x="111" y="106"/>
                    <a:pt x="109" y="107"/>
                  </a:cubicBezTo>
                  <a:close/>
                  <a:moveTo>
                    <a:pt x="176" y="84"/>
                  </a:moveTo>
                  <a:cubicBezTo>
                    <a:pt x="176" y="84"/>
                    <a:pt x="175" y="84"/>
                    <a:pt x="176" y="86"/>
                  </a:cubicBezTo>
                  <a:cubicBezTo>
                    <a:pt x="177" y="87"/>
                    <a:pt x="177" y="89"/>
                    <a:pt x="179" y="89"/>
                  </a:cubicBezTo>
                  <a:cubicBezTo>
                    <a:pt x="180" y="88"/>
                    <a:pt x="180" y="88"/>
                    <a:pt x="181" y="88"/>
                  </a:cubicBezTo>
                  <a:cubicBezTo>
                    <a:pt x="182" y="88"/>
                    <a:pt x="185" y="88"/>
                    <a:pt x="186" y="88"/>
                  </a:cubicBezTo>
                  <a:cubicBezTo>
                    <a:pt x="187" y="88"/>
                    <a:pt x="189" y="89"/>
                    <a:pt x="187" y="87"/>
                  </a:cubicBezTo>
                  <a:cubicBezTo>
                    <a:pt x="186" y="86"/>
                    <a:pt x="186" y="84"/>
                    <a:pt x="184" y="84"/>
                  </a:cubicBezTo>
                  <a:cubicBezTo>
                    <a:pt x="182" y="84"/>
                    <a:pt x="183" y="84"/>
                    <a:pt x="181" y="84"/>
                  </a:cubicBezTo>
                  <a:cubicBezTo>
                    <a:pt x="180" y="84"/>
                    <a:pt x="177" y="83"/>
                    <a:pt x="176" y="84"/>
                  </a:cubicBezTo>
                  <a:close/>
                  <a:moveTo>
                    <a:pt x="137" y="52"/>
                  </a:moveTo>
                  <a:cubicBezTo>
                    <a:pt x="138" y="52"/>
                    <a:pt x="138" y="54"/>
                    <a:pt x="140" y="54"/>
                  </a:cubicBezTo>
                  <a:cubicBezTo>
                    <a:pt x="142" y="53"/>
                    <a:pt x="150" y="54"/>
                    <a:pt x="147" y="54"/>
                  </a:cubicBezTo>
                  <a:cubicBezTo>
                    <a:pt x="145" y="54"/>
                    <a:pt x="141" y="53"/>
                    <a:pt x="141" y="55"/>
                  </a:cubicBezTo>
                  <a:cubicBezTo>
                    <a:pt x="141" y="57"/>
                    <a:pt x="142" y="57"/>
                    <a:pt x="143" y="58"/>
                  </a:cubicBezTo>
                  <a:cubicBezTo>
                    <a:pt x="145" y="59"/>
                    <a:pt x="146" y="60"/>
                    <a:pt x="147" y="60"/>
                  </a:cubicBezTo>
                  <a:cubicBezTo>
                    <a:pt x="147" y="60"/>
                    <a:pt x="152" y="61"/>
                    <a:pt x="153" y="60"/>
                  </a:cubicBezTo>
                  <a:cubicBezTo>
                    <a:pt x="155" y="58"/>
                    <a:pt x="156" y="56"/>
                    <a:pt x="157" y="56"/>
                  </a:cubicBezTo>
                  <a:cubicBezTo>
                    <a:pt x="158" y="57"/>
                    <a:pt x="158" y="57"/>
                    <a:pt x="160" y="56"/>
                  </a:cubicBezTo>
                  <a:cubicBezTo>
                    <a:pt x="161" y="55"/>
                    <a:pt x="165" y="54"/>
                    <a:pt x="164" y="54"/>
                  </a:cubicBezTo>
                  <a:cubicBezTo>
                    <a:pt x="164" y="53"/>
                    <a:pt x="162" y="52"/>
                    <a:pt x="161" y="51"/>
                  </a:cubicBezTo>
                  <a:cubicBezTo>
                    <a:pt x="159" y="51"/>
                    <a:pt x="159" y="52"/>
                    <a:pt x="159" y="50"/>
                  </a:cubicBezTo>
                  <a:cubicBezTo>
                    <a:pt x="159" y="49"/>
                    <a:pt x="156" y="46"/>
                    <a:pt x="156" y="47"/>
                  </a:cubicBezTo>
                  <a:cubicBezTo>
                    <a:pt x="155" y="48"/>
                    <a:pt x="156" y="49"/>
                    <a:pt x="155" y="48"/>
                  </a:cubicBezTo>
                  <a:cubicBezTo>
                    <a:pt x="154" y="48"/>
                    <a:pt x="155" y="46"/>
                    <a:pt x="153" y="46"/>
                  </a:cubicBezTo>
                  <a:cubicBezTo>
                    <a:pt x="151" y="46"/>
                    <a:pt x="151" y="47"/>
                    <a:pt x="150" y="46"/>
                  </a:cubicBezTo>
                  <a:cubicBezTo>
                    <a:pt x="148" y="45"/>
                    <a:pt x="149" y="45"/>
                    <a:pt x="148" y="44"/>
                  </a:cubicBezTo>
                  <a:cubicBezTo>
                    <a:pt x="146" y="42"/>
                    <a:pt x="140" y="40"/>
                    <a:pt x="140" y="41"/>
                  </a:cubicBezTo>
                  <a:cubicBezTo>
                    <a:pt x="140" y="43"/>
                    <a:pt x="143" y="42"/>
                    <a:pt x="142" y="42"/>
                  </a:cubicBezTo>
                  <a:cubicBezTo>
                    <a:pt x="141" y="43"/>
                    <a:pt x="139" y="42"/>
                    <a:pt x="138" y="43"/>
                  </a:cubicBezTo>
                  <a:cubicBezTo>
                    <a:pt x="137" y="44"/>
                    <a:pt x="136" y="44"/>
                    <a:pt x="137" y="45"/>
                  </a:cubicBezTo>
                  <a:cubicBezTo>
                    <a:pt x="139" y="45"/>
                    <a:pt x="141" y="45"/>
                    <a:pt x="140" y="46"/>
                  </a:cubicBezTo>
                  <a:cubicBezTo>
                    <a:pt x="139" y="46"/>
                    <a:pt x="137" y="45"/>
                    <a:pt x="136" y="46"/>
                  </a:cubicBezTo>
                  <a:cubicBezTo>
                    <a:pt x="135" y="47"/>
                    <a:pt x="134" y="48"/>
                    <a:pt x="135" y="48"/>
                  </a:cubicBezTo>
                  <a:cubicBezTo>
                    <a:pt x="136" y="49"/>
                    <a:pt x="133" y="48"/>
                    <a:pt x="134" y="50"/>
                  </a:cubicBezTo>
                  <a:cubicBezTo>
                    <a:pt x="135" y="51"/>
                    <a:pt x="135" y="52"/>
                    <a:pt x="137" y="52"/>
                  </a:cubicBezTo>
                  <a:close/>
                  <a:moveTo>
                    <a:pt x="152" y="40"/>
                  </a:moveTo>
                  <a:cubicBezTo>
                    <a:pt x="152" y="41"/>
                    <a:pt x="148" y="42"/>
                    <a:pt x="151" y="43"/>
                  </a:cubicBezTo>
                  <a:cubicBezTo>
                    <a:pt x="154" y="44"/>
                    <a:pt x="157" y="43"/>
                    <a:pt x="156" y="43"/>
                  </a:cubicBezTo>
                  <a:cubicBezTo>
                    <a:pt x="155" y="44"/>
                    <a:pt x="156" y="46"/>
                    <a:pt x="158" y="45"/>
                  </a:cubicBezTo>
                  <a:cubicBezTo>
                    <a:pt x="161" y="44"/>
                    <a:pt x="164" y="42"/>
                    <a:pt x="163" y="44"/>
                  </a:cubicBezTo>
                  <a:cubicBezTo>
                    <a:pt x="161" y="45"/>
                    <a:pt x="159" y="46"/>
                    <a:pt x="161" y="46"/>
                  </a:cubicBezTo>
                  <a:cubicBezTo>
                    <a:pt x="167" y="47"/>
                    <a:pt x="167" y="45"/>
                    <a:pt x="169" y="45"/>
                  </a:cubicBezTo>
                  <a:cubicBezTo>
                    <a:pt x="169" y="45"/>
                    <a:pt x="171" y="45"/>
                    <a:pt x="170" y="46"/>
                  </a:cubicBezTo>
                  <a:cubicBezTo>
                    <a:pt x="169" y="46"/>
                    <a:pt x="173" y="47"/>
                    <a:pt x="175" y="45"/>
                  </a:cubicBezTo>
                  <a:cubicBezTo>
                    <a:pt x="178" y="44"/>
                    <a:pt x="183" y="41"/>
                    <a:pt x="183" y="41"/>
                  </a:cubicBezTo>
                  <a:cubicBezTo>
                    <a:pt x="183" y="43"/>
                    <a:pt x="178" y="44"/>
                    <a:pt x="179" y="44"/>
                  </a:cubicBezTo>
                  <a:cubicBezTo>
                    <a:pt x="182" y="46"/>
                    <a:pt x="185" y="46"/>
                    <a:pt x="182" y="46"/>
                  </a:cubicBezTo>
                  <a:cubicBezTo>
                    <a:pt x="179" y="46"/>
                    <a:pt x="179" y="47"/>
                    <a:pt x="176" y="47"/>
                  </a:cubicBezTo>
                  <a:cubicBezTo>
                    <a:pt x="172" y="47"/>
                    <a:pt x="168" y="47"/>
                    <a:pt x="171" y="48"/>
                  </a:cubicBezTo>
                  <a:cubicBezTo>
                    <a:pt x="173" y="50"/>
                    <a:pt x="179" y="52"/>
                    <a:pt x="176" y="52"/>
                  </a:cubicBezTo>
                  <a:cubicBezTo>
                    <a:pt x="173" y="51"/>
                    <a:pt x="171" y="50"/>
                    <a:pt x="169" y="49"/>
                  </a:cubicBezTo>
                  <a:cubicBezTo>
                    <a:pt x="168" y="47"/>
                    <a:pt x="161" y="47"/>
                    <a:pt x="160" y="48"/>
                  </a:cubicBezTo>
                  <a:cubicBezTo>
                    <a:pt x="160" y="50"/>
                    <a:pt x="161" y="51"/>
                    <a:pt x="163" y="51"/>
                  </a:cubicBezTo>
                  <a:cubicBezTo>
                    <a:pt x="165" y="51"/>
                    <a:pt x="167" y="54"/>
                    <a:pt x="166" y="54"/>
                  </a:cubicBezTo>
                  <a:cubicBezTo>
                    <a:pt x="165" y="55"/>
                    <a:pt x="165" y="55"/>
                    <a:pt x="167" y="55"/>
                  </a:cubicBezTo>
                  <a:cubicBezTo>
                    <a:pt x="168" y="55"/>
                    <a:pt x="174" y="56"/>
                    <a:pt x="172" y="56"/>
                  </a:cubicBezTo>
                  <a:cubicBezTo>
                    <a:pt x="169" y="56"/>
                    <a:pt x="166" y="56"/>
                    <a:pt x="164" y="56"/>
                  </a:cubicBezTo>
                  <a:cubicBezTo>
                    <a:pt x="162" y="56"/>
                    <a:pt x="160" y="56"/>
                    <a:pt x="160" y="58"/>
                  </a:cubicBezTo>
                  <a:cubicBezTo>
                    <a:pt x="159" y="59"/>
                    <a:pt x="157" y="61"/>
                    <a:pt x="160" y="60"/>
                  </a:cubicBezTo>
                  <a:cubicBezTo>
                    <a:pt x="162" y="60"/>
                    <a:pt x="163" y="59"/>
                    <a:pt x="163" y="60"/>
                  </a:cubicBezTo>
                  <a:cubicBezTo>
                    <a:pt x="164" y="60"/>
                    <a:pt x="164" y="60"/>
                    <a:pt x="164" y="61"/>
                  </a:cubicBezTo>
                  <a:cubicBezTo>
                    <a:pt x="164" y="62"/>
                    <a:pt x="163" y="63"/>
                    <a:pt x="165" y="63"/>
                  </a:cubicBezTo>
                  <a:cubicBezTo>
                    <a:pt x="167" y="63"/>
                    <a:pt x="170" y="64"/>
                    <a:pt x="168" y="64"/>
                  </a:cubicBezTo>
                  <a:cubicBezTo>
                    <a:pt x="166" y="64"/>
                    <a:pt x="164" y="65"/>
                    <a:pt x="162" y="63"/>
                  </a:cubicBezTo>
                  <a:cubicBezTo>
                    <a:pt x="161" y="62"/>
                    <a:pt x="157" y="60"/>
                    <a:pt x="157" y="62"/>
                  </a:cubicBezTo>
                  <a:cubicBezTo>
                    <a:pt x="157" y="64"/>
                    <a:pt x="160" y="65"/>
                    <a:pt x="159" y="66"/>
                  </a:cubicBezTo>
                  <a:cubicBezTo>
                    <a:pt x="158" y="66"/>
                    <a:pt x="156" y="65"/>
                    <a:pt x="154" y="67"/>
                  </a:cubicBezTo>
                  <a:cubicBezTo>
                    <a:pt x="152" y="68"/>
                    <a:pt x="153" y="70"/>
                    <a:pt x="156" y="70"/>
                  </a:cubicBezTo>
                  <a:cubicBezTo>
                    <a:pt x="158" y="69"/>
                    <a:pt x="160" y="70"/>
                    <a:pt x="164" y="70"/>
                  </a:cubicBezTo>
                  <a:cubicBezTo>
                    <a:pt x="167" y="71"/>
                    <a:pt x="167" y="71"/>
                    <a:pt x="169" y="69"/>
                  </a:cubicBezTo>
                  <a:cubicBezTo>
                    <a:pt x="172" y="68"/>
                    <a:pt x="176" y="69"/>
                    <a:pt x="176" y="69"/>
                  </a:cubicBezTo>
                  <a:cubicBezTo>
                    <a:pt x="176" y="69"/>
                    <a:pt x="175" y="71"/>
                    <a:pt x="176" y="71"/>
                  </a:cubicBezTo>
                  <a:cubicBezTo>
                    <a:pt x="178" y="71"/>
                    <a:pt x="177" y="71"/>
                    <a:pt x="179" y="70"/>
                  </a:cubicBezTo>
                  <a:cubicBezTo>
                    <a:pt x="180" y="70"/>
                    <a:pt x="182" y="70"/>
                    <a:pt x="182" y="69"/>
                  </a:cubicBezTo>
                  <a:cubicBezTo>
                    <a:pt x="183" y="68"/>
                    <a:pt x="184" y="68"/>
                    <a:pt x="183" y="67"/>
                  </a:cubicBezTo>
                  <a:cubicBezTo>
                    <a:pt x="182" y="66"/>
                    <a:pt x="183" y="67"/>
                    <a:pt x="181" y="67"/>
                  </a:cubicBezTo>
                  <a:cubicBezTo>
                    <a:pt x="180" y="66"/>
                    <a:pt x="179" y="66"/>
                    <a:pt x="180" y="65"/>
                  </a:cubicBezTo>
                  <a:cubicBezTo>
                    <a:pt x="180" y="65"/>
                    <a:pt x="180" y="65"/>
                    <a:pt x="181" y="65"/>
                  </a:cubicBezTo>
                  <a:cubicBezTo>
                    <a:pt x="182" y="64"/>
                    <a:pt x="184" y="64"/>
                    <a:pt x="183" y="63"/>
                  </a:cubicBezTo>
                  <a:cubicBezTo>
                    <a:pt x="183" y="62"/>
                    <a:pt x="181" y="62"/>
                    <a:pt x="183" y="62"/>
                  </a:cubicBezTo>
                  <a:cubicBezTo>
                    <a:pt x="184" y="61"/>
                    <a:pt x="184" y="62"/>
                    <a:pt x="186" y="61"/>
                  </a:cubicBezTo>
                  <a:cubicBezTo>
                    <a:pt x="188" y="61"/>
                    <a:pt x="191" y="60"/>
                    <a:pt x="190" y="59"/>
                  </a:cubicBezTo>
                  <a:cubicBezTo>
                    <a:pt x="189" y="58"/>
                    <a:pt x="188" y="58"/>
                    <a:pt x="189" y="58"/>
                  </a:cubicBezTo>
                  <a:cubicBezTo>
                    <a:pt x="190" y="58"/>
                    <a:pt x="193" y="57"/>
                    <a:pt x="191" y="56"/>
                  </a:cubicBezTo>
                  <a:cubicBezTo>
                    <a:pt x="190" y="56"/>
                    <a:pt x="188" y="55"/>
                    <a:pt x="189" y="55"/>
                  </a:cubicBezTo>
                  <a:cubicBezTo>
                    <a:pt x="191" y="55"/>
                    <a:pt x="193" y="56"/>
                    <a:pt x="193" y="55"/>
                  </a:cubicBezTo>
                  <a:cubicBezTo>
                    <a:pt x="192" y="53"/>
                    <a:pt x="189" y="54"/>
                    <a:pt x="190" y="53"/>
                  </a:cubicBezTo>
                  <a:cubicBezTo>
                    <a:pt x="192" y="52"/>
                    <a:pt x="195" y="54"/>
                    <a:pt x="195" y="52"/>
                  </a:cubicBezTo>
                  <a:cubicBezTo>
                    <a:pt x="196" y="51"/>
                    <a:pt x="194" y="50"/>
                    <a:pt x="195" y="51"/>
                  </a:cubicBezTo>
                  <a:cubicBezTo>
                    <a:pt x="197" y="51"/>
                    <a:pt x="198" y="52"/>
                    <a:pt x="199" y="51"/>
                  </a:cubicBezTo>
                  <a:cubicBezTo>
                    <a:pt x="201" y="50"/>
                    <a:pt x="202" y="50"/>
                    <a:pt x="202" y="49"/>
                  </a:cubicBezTo>
                  <a:cubicBezTo>
                    <a:pt x="203" y="47"/>
                    <a:pt x="203" y="49"/>
                    <a:pt x="204" y="48"/>
                  </a:cubicBezTo>
                  <a:cubicBezTo>
                    <a:pt x="205" y="47"/>
                    <a:pt x="212" y="42"/>
                    <a:pt x="215" y="41"/>
                  </a:cubicBezTo>
                  <a:cubicBezTo>
                    <a:pt x="218" y="41"/>
                    <a:pt x="219" y="39"/>
                    <a:pt x="217" y="40"/>
                  </a:cubicBezTo>
                  <a:cubicBezTo>
                    <a:pt x="214" y="40"/>
                    <a:pt x="214" y="40"/>
                    <a:pt x="212" y="41"/>
                  </a:cubicBezTo>
                  <a:cubicBezTo>
                    <a:pt x="209" y="41"/>
                    <a:pt x="207" y="41"/>
                    <a:pt x="210" y="40"/>
                  </a:cubicBezTo>
                  <a:cubicBezTo>
                    <a:pt x="212" y="39"/>
                    <a:pt x="215" y="39"/>
                    <a:pt x="216" y="39"/>
                  </a:cubicBezTo>
                  <a:cubicBezTo>
                    <a:pt x="218" y="38"/>
                    <a:pt x="222" y="38"/>
                    <a:pt x="224" y="37"/>
                  </a:cubicBezTo>
                  <a:cubicBezTo>
                    <a:pt x="225" y="36"/>
                    <a:pt x="229" y="35"/>
                    <a:pt x="226" y="34"/>
                  </a:cubicBezTo>
                  <a:cubicBezTo>
                    <a:pt x="223" y="33"/>
                    <a:pt x="219" y="30"/>
                    <a:pt x="215" y="32"/>
                  </a:cubicBezTo>
                  <a:cubicBezTo>
                    <a:pt x="212" y="33"/>
                    <a:pt x="207" y="33"/>
                    <a:pt x="209" y="32"/>
                  </a:cubicBezTo>
                  <a:cubicBezTo>
                    <a:pt x="212" y="32"/>
                    <a:pt x="213" y="30"/>
                    <a:pt x="208" y="30"/>
                  </a:cubicBezTo>
                  <a:cubicBezTo>
                    <a:pt x="203" y="31"/>
                    <a:pt x="201" y="29"/>
                    <a:pt x="197" y="29"/>
                  </a:cubicBezTo>
                  <a:cubicBezTo>
                    <a:pt x="193" y="29"/>
                    <a:pt x="192" y="28"/>
                    <a:pt x="183" y="31"/>
                  </a:cubicBezTo>
                  <a:cubicBezTo>
                    <a:pt x="179" y="33"/>
                    <a:pt x="180" y="32"/>
                    <a:pt x="176" y="32"/>
                  </a:cubicBezTo>
                  <a:cubicBezTo>
                    <a:pt x="173" y="31"/>
                    <a:pt x="169" y="33"/>
                    <a:pt x="171" y="34"/>
                  </a:cubicBezTo>
                  <a:cubicBezTo>
                    <a:pt x="173" y="36"/>
                    <a:pt x="172" y="36"/>
                    <a:pt x="171" y="36"/>
                  </a:cubicBezTo>
                  <a:cubicBezTo>
                    <a:pt x="169" y="35"/>
                    <a:pt x="161" y="34"/>
                    <a:pt x="160" y="35"/>
                  </a:cubicBezTo>
                  <a:cubicBezTo>
                    <a:pt x="160" y="37"/>
                    <a:pt x="163" y="36"/>
                    <a:pt x="161" y="37"/>
                  </a:cubicBezTo>
                  <a:cubicBezTo>
                    <a:pt x="158" y="37"/>
                    <a:pt x="157" y="36"/>
                    <a:pt x="155" y="37"/>
                  </a:cubicBezTo>
                  <a:cubicBezTo>
                    <a:pt x="153" y="38"/>
                    <a:pt x="146" y="38"/>
                    <a:pt x="147" y="40"/>
                  </a:cubicBezTo>
                  <a:cubicBezTo>
                    <a:pt x="149" y="41"/>
                    <a:pt x="152" y="39"/>
                    <a:pt x="152" y="40"/>
                  </a:cubicBez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grpSp>
        <p:nvGrpSpPr>
          <p:cNvPr id="317" name="Group 110">
            <a:extLst>
              <a:ext uri="{FF2B5EF4-FFF2-40B4-BE49-F238E27FC236}">
                <a16:creationId xmlns:a16="http://schemas.microsoft.com/office/drawing/2014/main" xmlns="" id="{C9867C41-C476-4355-8761-6BA753C36E96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978969" y="3372673"/>
            <a:ext cx="345542" cy="381760"/>
            <a:chOff x="429" y="3402"/>
            <a:chExt cx="353" cy="390"/>
          </a:xfrm>
          <a:effectLst>
            <a:outerShdw blurRad="101600" dist="76200" dir="2700000" algn="ctr" rotWithShape="0">
              <a:srgbClr val="000000">
                <a:alpha val="29000"/>
              </a:srgbClr>
            </a:outerShdw>
          </a:effectLst>
        </p:grpSpPr>
        <p:sp>
          <p:nvSpPr>
            <p:cNvPr id="318" name="AutoShape 109">
              <a:extLst>
                <a:ext uri="{FF2B5EF4-FFF2-40B4-BE49-F238E27FC236}">
                  <a16:creationId xmlns:a16="http://schemas.microsoft.com/office/drawing/2014/main" xmlns="" id="{3407D35E-B264-4A38-9989-430A305A64D3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429" y="3402"/>
              <a:ext cx="353" cy="39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19" name="Freeform 111">
              <a:extLst>
                <a:ext uri="{FF2B5EF4-FFF2-40B4-BE49-F238E27FC236}">
                  <a16:creationId xmlns:a16="http://schemas.microsoft.com/office/drawing/2014/main" xmlns="" id="{BE6AEC41-5722-479D-BBDE-721AAC13FF61}"/>
                </a:ext>
              </a:extLst>
            </p:cNvPr>
            <p:cNvSpPr>
              <a:spLocks/>
            </p:cNvSpPr>
            <p:nvPr/>
          </p:nvSpPr>
          <p:spPr bwMode="auto">
            <a:xfrm>
              <a:off x="428" y="3402"/>
              <a:ext cx="354" cy="389"/>
            </a:xfrm>
            <a:custGeom>
              <a:avLst/>
              <a:gdLst>
                <a:gd name="T0" fmla="*/ 369 w 373"/>
                <a:gd name="T1" fmla="*/ 257 h 410"/>
                <a:gd name="T2" fmla="*/ 359 w 373"/>
                <a:gd name="T3" fmla="*/ 230 h 410"/>
                <a:gd name="T4" fmla="*/ 373 w 373"/>
                <a:gd name="T5" fmla="*/ 199 h 410"/>
                <a:gd name="T6" fmla="*/ 332 w 373"/>
                <a:gd name="T7" fmla="*/ 158 h 410"/>
                <a:gd name="T8" fmla="*/ 258 w 373"/>
                <a:gd name="T9" fmla="*/ 158 h 410"/>
                <a:gd name="T10" fmla="*/ 255 w 373"/>
                <a:gd name="T11" fmla="*/ 156 h 410"/>
                <a:gd name="T12" fmla="*/ 247 w 373"/>
                <a:gd name="T13" fmla="*/ 150 h 410"/>
                <a:gd name="T14" fmla="*/ 247 w 373"/>
                <a:gd name="T15" fmla="*/ 150 h 410"/>
                <a:gd name="T16" fmla="*/ 242 w 373"/>
                <a:gd name="T17" fmla="*/ 141 h 410"/>
                <a:gd name="T18" fmla="*/ 253 w 373"/>
                <a:gd name="T19" fmla="*/ 111 h 410"/>
                <a:gd name="T20" fmla="*/ 262 w 373"/>
                <a:gd name="T21" fmla="*/ 86 h 410"/>
                <a:gd name="T22" fmla="*/ 257 w 373"/>
                <a:gd name="T23" fmla="*/ 24 h 410"/>
                <a:gd name="T24" fmla="*/ 216 w 373"/>
                <a:gd name="T25" fmla="*/ 0 h 410"/>
                <a:gd name="T26" fmla="*/ 197 w 373"/>
                <a:gd name="T27" fmla="*/ 6 h 410"/>
                <a:gd name="T28" fmla="*/ 185 w 373"/>
                <a:gd name="T29" fmla="*/ 33 h 410"/>
                <a:gd name="T30" fmla="*/ 184 w 373"/>
                <a:gd name="T31" fmla="*/ 40 h 410"/>
                <a:gd name="T32" fmla="*/ 152 w 373"/>
                <a:gd name="T33" fmla="*/ 111 h 410"/>
                <a:gd name="T34" fmla="*/ 130 w 373"/>
                <a:gd name="T35" fmla="*/ 150 h 410"/>
                <a:gd name="T36" fmla="*/ 102 w 373"/>
                <a:gd name="T37" fmla="*/ 200 h 410"/>
                <a:gd name="T38" fmla="*/ 55 w 373"/>
                <a:gd name="T39" fmla="*/ 200 h 410"/>
                <a:gd name="T40" fmla="*/ 0 w 373"/>
                <a:gd name="T41" fmla="*/ 255 h 410"/>
                <a:gd name="T42" fmla="*/ 0 w 373"/>
                <a:gd name="T43" fmla="*/ 338 h 410"/>
                <a:gd name="T44" fmla="*/ 55 w 373"/>
                <a:gd name="T45" fmla="*/ 394 h 410"/>
                <a:gd name="T46" fmla="*/ 110 w 373"/>
                <a:gd name="T47" fmla="*/ 394 h 410"/>
                <a:gd name="T48" fmla="*/ 114 w 373"/>
                <a:gd name="T49" fmla="*/ 397 h 410"/>
                <a:gd name="T50" fmla="*/ 151 w 373"/>
                <a:gd name="T51" fmla="*/ 405 h 410"/>
                <a:gd name="T52" fmla="*/ 157 w 373"/>
                <a:gd name="T53" fmla="*/ 406 h 410"/>
                <a:gd name="T54" fmla="*/ 192 w 373"/>
                <a:gd name="T55" fmla="*/ 407 h 410"/>
                <a:gd name="T56" fmla="*/ 199 w 373"/>
                <a:gd name="T57" fmla="*/ 407 h 410"/>
                <a:gd name="T58" fmla="*/ 213 w 373"/>
                <a:gd name="T59" fmla="*/ 410 h 410"/>
                <a:gd name="T60" fmla="*/ 307 w 373"/>
                <a:gd name="T61" fmla="*/ 410 h 410"/>
                <a:gd name="T62" fmla="*/ 348 w 373"/>
                <a:gd name="T63" fmla="*/ 369 h 410"/>
                <a:gd name="T64" fmla="*/ 343 w 373"/>
                <a:gd name="T65" fmla="*/ 348 h 410"/>
                <a:gd name="T66" fmla="*/ 362 w 373"/>
                <a:gd name="T67" fmla="*/ 313 h 410"/>
                <a:gd name="T68" fmla="*/ 354 w 373"/>
                <a:gd name="T69" fmla="*/ 289 h 410"/>
                <a:gd name="T70" fmla="*/ 369 w 373"/>
                <a:gd name="T71" fmla="*/ 257 h 4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373" h="410">
                  <a:moveTo>
                    <a:pt x="369" y="257"/>
                  </a:moveTo>
                  <a:cubicBezTo>
                    <a:pt x="369" y="247"/>
                    <a:pt x="365" y="237"/>
                    <a:pt x="359" y="230"/>
                  </a:cubicBezTo>
                  <a:cubicBezTo>
                    <a:pt x="368" y="222"/>
                    <a:pt x="373" y="211"/>
                    <a:pt x="373" y="199"/>
                  </a:cubicBezTo>
                  <a:cubicBezTo>
                    <a:pt x="373" y="176"/>
                    <a:pt x="355" y="158"/>
                    <a:pt x="332" y="158"/>
                  </a:cubicBezTo>
                  <a:cubicBezTo>
                    <a:pt x="258" y="158"/>
                    <a:pt x="258" y="158"/>
                    <a:pt x="258" y="158"/>
                  </a:cubicBezTo>
                  <a:cubicBezTo>
                    <a:pt x="255" y="156"/>
                    <a:pt x="255" y="156"/>
                    <a:pt x="255" y="156"/>
                  </a:cubicBezTo>
                  <a:cubicBezTo>
                    <a:pt x="252" y="153"/>
                    <a:pt x="250" y="151"/>
                    <a:pt x="247" y="150"/>
                  </a:cubicBezTo>
                  <a:cubicBezTo>
                    <a:pt x="247" y="150"/>
                    <a:pt x="247" y="150"/>
                    <a:pt x="247" y="150"/>
                  </a:cubicBezTo>
                  <a:cubicBezTo>
                    <a:pt x="246" y="149"/>
                    <a:pt x="244" y="145"/>
                    <a:pt x="242" y="141"/>
                  </a:cubicBezTo>
                  <a:cubicBezTo>
                    <a:pt x="243" y="135"/>
                    <a:pt x="249" y="120"/>
                    <a:pt x="253" y="111"/>
                  </a:cubicBezTo>
                  <a:cubicBezTo>
                    <a:pt x="256" y="102"/>
                    <a:pt x="260" y="93"/>
                    <a:pt x="262" y="86"/>
                  </a:cubicBezTo>
                  <a:cubicBezTo>
                    <a:pt x="268" y="63"/>
                    <a:pt x="267" y="45"/>
                    <a:pt x="257" y="24"/>
                  </a:cubicBezTo>
                  <a:cubicBezTo>
                    <a:pt x="249" y="7"/>
                    <a:pt x="231" y="0"/>
                    <a:pt x="216" y="0"/>
                  </a:cubicBezTo>
                  <a:cubicBezTo>
                    <a:pt x="211" y="0"/>
                    <a:pt x="203" y="1"/>
                    <a:pt x="197" y="6"/>
                  </a:cubicBezTo>
                  <a:cubicBezTo>
                    <a:pt x="188" y="13"/>
                    <a:pt x="186" y="24"/>
                    <a:pt x="185" y="33"/>
                  </a:cubicBezTo>
                  <a:cubicBezTo>
                    <a:pt x="184" y="35"/>
                    <a:pt x="184" y="37"/>
                    <a:pt x="184" y="40"/>
                  </a:cubicBezTo>
                  <a:cubicBezTo>
                    <a:pt x="182" y="46"/>
                    <a:pt x="169" y="78"/>
                    <a:pt x="152" y="111"/>
                  </a:cubicBezTo>
                  <a:cubicBezTo>
                    <a:pt x="146" y="124"/>
                    <a:pt x="138" y="136"/>
                    <a:pt x="130" y="150"/>
                  </a:cubicBezTo>
                  <a:cubicBezTo>
                    <a:pt x="120" y="166"/>
                    <a:pt x="110" y="182"/>
                    <a:pt x="102" y="200"/>
                  </a:cubicBezTo>
                  <a:cubicBezTo>
                    <a:pt x="55" y="200"/>
                    <a:pt x="55" y="200"/>
                    <a:pt x="55" y="200"/>
                  </a:cubicBezTo>
                  <a:cubicBezTo>
                    <a:pt x="25" y="200"/>
                    <a:pt x="0" y="225"/>
                    <a:pt x="0" y="255"/>
                  </a:cubicBezTo>
                  <a:cubicBezTo>
                    <a:pt x="0" y="338"/>
                    <a:pt x="0" y="338"/>
                    <a:pt x="0" y="338"/>
                  </a:cubicBezTo>
                  <a:cubicBezTo>
                    <a:pt x="0" y="369"/>
                    <a:pt x="25" y="394"/>
                    <a:pt x="55" y="394"/>
                  </a:cubicBezTo>
                  <a:cubicBezTo>
                    <a:pt x="110" y="394"/>
                    <a:pt x="110" y="394"/>
                    <a:pt x="110" y="394"/>
                  </a:cubicBezTo>
                  <a:cubicBezTo>
                    <a:pt x="111" y="395"/>
                    <a:pt x="113" y="396"/>
                    <a:pt x="114" y="397"/>
                  </a:cubicBezTo>
                  <a:cubicBezTo>
                    <a:pt x="126" y="403"/>
                    <a:pt x="138" y="404"/>
                    <a:pt x="151" y="405"/>
                  </a:cubicBezTo>
                  <a:cubicBezTo>
                    <a:pt x="153" y="406"/>
                    <a:pt x="154" y="406"/>
                    <a:pt x="157" y="406"/>
                  </a:cubicBezTo>
                  <a:cubicBezTo>
                    <a:pt x="172" y="407"/>
                    <a:pt x="182" y="407"/>
                    <a:pt x="192" y="407"/>
                  </a:cubicBezTo>
                  <a:cubicBezTo>
                    <a:pt x="199" y="407"/>
                    <a:pt x="199" y="407"/>
                    <a:pt x="199" y="407"/>
                  </a:cubicBezTo>
                  <a:cubicBezTo>
                    <a:pt x="203" y="409"/>
                    <a:pt x="208" y="410"/>
                    <a:pt x="213" y="410"/>
                  </a:cubicBezTo>
                  <a:cubicBezTo>
                    <a:pt x="307" y="410"/>
                    <a:pt x="307" y="410"/>
                    <a:pt x="307" y="410"/>
                  </a:cubicBezTo>
                  <a:cubicBezTo>
                    <a:pt x="330" y="410"/>
                    <a:pt x="348" y="392"/>
                    <a:pt x="348" y="369"/>
                  </a:cubicBezTo>
                  <a:cubicBezTo>
                    <a:pt x="348" y="361"/>
                    <a:pt x="346" y="354"/>
                    <a:pt x="343" y="348"/>
                  </a:cubicBezTo>
                  <a:cubicBezTo>
                    <a:pt x="354" y="341"/>
                    <a:pt x="362" y="328"/>
                    <a:pt x="362" y="313"/>
                  </a:cubicBezTo>
                  <a:cubicBezTo>
                    <a:pt x="362" y="304"/>
                    <a:pt x="359" y="295"/>
                    <a:pt x="354" y="289"/>
                  </a:cubicBezTo>
                  <a:cubicBezTo>
                    <a:pt x="363" y="281"/>
                    <a:pt x="369" y="270"/>
                    <a:pt x="369" y="25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20" name="Freeform 112">
              <a:extLst>
                <a:ext uri="{FF2B5EF4-FFF2-40B4-BE49-F238E27FC236}">
                  <a16:creationId xmlns:a16="http://schemas.microsoft.com/office/drawing/2014/main" xmlns="" id="{A2214265-669C-4BC3-ABD9-C961885909F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3" y="3416"/>
              <a:ext cx="324" cy="357"/>
            </a:xfrm>
            <a:custGeom>
              <a:avLst/>
              <a:gdLst>
                <a:gd name="T0" fmla="*/ 296 w 341"/>
                <a:gd name="T1" fmla="*/ 374 h 376"/>
                <a:gd name="T2" fmla="*/ 203 w 341"/>
                <a:gd name="T3" fmla="*/ 374 h 376"/>
                <a:gd name="T4" fmla="*/ 183 w 341"/>
                <a:gd name="T5" fmla="*/ 355 h 376"/>
                <a:gd name="T6" fmla="*/ 183 w 341"/>
                <a:gd name="T7" fmla="*/ 355 h 376"/>
                <a:gd name="T8" fmla="*/ 203 w 341"/>
                <a:gd name="T9" fmla="*/ 336 h 376"/>
                <a:gd name="T10" fmla="*/ 296 w 341"/>
                <a:gd name="T11" fmla="*/ 336 h 376"/>
                <a:gd name="T12" fmla="*/ 315 w 341"/>
                <a:gd name="T13" fmla="*/ 355 h 376"/>
                <a:gd name="T14" fmla="*/ 315 w 341"/>
                <a:gd name="T15" fmla="*/ 355 h 376"/>
                <a:gd name="T16" fmla="*/ 296 w 341"/>
                <a:gd name="T17" fmla="*/ 374 h 376"/>
                <a:gd name="T18" fmla="*/ 333 w 341"/>
                <a:gd name="T19" fmla="*/ 299 h 376"/>
                <a:gd name="T20" fmla="*/ 333 w 341"/>
                <a:gd name="T21" fmla="*/ 299 h 376"/>
                <a:gd name="T22" fmla="*/ 314 w 341"/>
                <a:gd name="T23" fmla="*/ 280 h 376"/>
                <a:gd name="T24" fmla="*/ 221 w 341"/>
                <a:gd name="T25" fmla="*/ 280 h 376"/>
                <a:gd name="T26" fmla="*/ 201 w 341"/>
                <a:gd name="T27" fmla="*/ 299 h 376"/>
                <a:gd name="T28" fmla="*/ 201 w 341"/>
                <a:gd name="T29" fmla="*/ 299 h 376"/>
                <a:gd name="T30" fmla="*/ 221 w 341"/>
                <a:gd name="T31" fmla="*/ 318 h 376"/>
                <a:gd name="T32" fmla="*/ 314 w 341"/>
                <a:gd name="T33" fmla="*/ 318 h 376"/>
                <a:gd name="T34" fmla="*/ 333 w 341"/>
                <a:gd name="T35" fmla="*/ 299 h 376"/>
                <a:gd name="T36" fmla="*/ 338 w 341"/>
                <a:gd name="T37" fmla="*/ 241 h 376"/>
                <a:gd name="T38" fmla="*/ 338 w 341"/>
                <a:gd name="T39" fmla="*/ 241 h 376"/>
                <a:gd name="T40" fmla="*/ 319 w 341"/>
                <a:gd name="T41" fmla="*/ 222 h 376"/>
                <a:gd name="T42" fmla="*/ 226 w 341"/>
                <a:gd name="T43" fmla="*/ 222 h 376"/>
                <a:gd name="T44" fmla="*/ 206 w 341"/>
                <a:gd name="T45" fmla="*/ 241 h 376"/>
                <a:gd name="T46" fmla="*/ 206 w 341"/>
                <a:gd name="T47" fmla="*/ 241 h 376"/>
                <a:gd name="T48" fmla="*/ 226 w 341"/>
                <a:gd name="T49" fmla="*/ 260 h 376"/>
                <a:gd name="T50" fmla="*/ 319 w 341"/>
                <a:gd name="T51" fmla="*/ 260 h 376"/>
                <a:gd name="T52" fmla="*/ 338 w 341"/>
                <a:gd name="T53" fmla="*/ 241 h 376"/>
                <a:gd name="T54" fmla="*/ 341 w 341"/>
                <a:gd name="T55" fmla="*/ 184 h 376"/>
                <a:gd name="T56" fmla="*/ 341 w 341"/>
                <a:gd name="T57" fmla="*/ 184 h 376"/>
                <a:gd name="T58" fmla="*/ 322 w 341"/>
                <a:gd name="T59" fmla="*/ 165 h 376"/>
                <a:gd name="T60" fmla="*/ 229 w 341"/>
                <a:gd name="T61" fmla="*/ 165 h 376"/>
                <a:gd name="T62" fmla="*/ 209 w 341"/>
                <a:gd name="T63" fmla="*/ 184 h 376"/>
                <a:gd name="T64" fmla="*/ 209 w 341"/>
                <a:gd name="T65" fmla="*/ 184 h 376"/>
                <a:gd name="T66" fmla="*/ 229 w 341"/>
                <a:gd name="T67" fmla="*/ 203 h 376"/>
                <a:gd name="T68" fmla="*/ 322 w 341"/>
                <a:gd name="T69" fmla="*/ 203 h 376"/>
                <a:gd name="T70" fmla="*/ 341 w 341"/>
                <a:gd name="T71" fmla="*/ 184 h 376"/>
                <a:gd name="T72" fmla="*/ 166 w 341"/>
                <a:gd name="T73" fmla="*/ 354 h 376"/>
                <a:gd name="T74" fmla="*/ 194 w 341"/>
                <a:gd name="T75" fmla="*/ 323 h 376"/>
                <a:gd name="T76" fmla="*/ 180 w 341"/>
                <a:gd name="T77" fmla="*/ 298 h 376"/>
                <a:gd name="T78" fmla="*/ 202 w 341"/>
                <a:gd name="T79" fmla="*/ 268 h 376"/>
                <a:gd name="T80" fmla="*/ 187 w 341"/>
                <a:gd name="T81" fmla="*/ 242 h 376"/>
                <a:gd name="T82" fmla="*/ 209 w 341"/>
                <a:gd name="T83" fmla="*/ 212 h 376"/>
                <a:gd name="T84" fmla="*/ 191 w 341"/>
                <a:gd name="T85" fmla="*/ 184 h 376"/>
                <a:gd name="T86" fmla="*/ 222 w 341"/>
                <a:gd name="T87" fmla="*/ 153 h 376"/>
                <a:gd name="T88" fmla="*/ 229 w 341"/>
                <a:gd name="T89" fmla="*/ 153 h 376"/>
                <a:gd name="T90" fmla="*/ 225 w 341"/>
                <a:gd name="T91" fmla="*/ 150 h 376"/>
                <a:gd name="T92" fmla="*/ 211 w 341"/>
                <a:gd name="T93" fmla="*/ 132 h 376"/>
                <a:gd name="T94" fmla="*/ 231 w 341"/>
                <a:gd name="T95" fmla="*/ 66 h 376"/>
                <a:gd name="T96" fmla="*/ 227 w 341"/>
                <a:gd name="T97" fmla="*/ 16 h 376"/>
                <a:gd name="T98" fmla="*/ 191 w 341"/>
                <a:gd name="T99" fmla="*/ 4 h 376"/>
                <a:gd name="T100" fmla="*/ 183 w 341"/>
                <a:gd name="T101" fmla="*/ 28 h 376"/>
                <a:gd name="T102" fmla="*/ 151 w 341"/>
                <a:gd name="T103" fmla="*/ 103 h 376"/>
                <a:gd name="T104" fmla="*/ 98 w 341"/>
                <a:gd name="T105" fmla="*/ 196 h 376"/>
                <a:gd name="T106" fmla="*/ 96 w 341"/>
                <a:gd name="T107" fmla="*/ 201 h 376"/>
                <a:gd name="T108" fmla="*/ 39 w 341"/>
                <a:gd name="T109" fmla="*/ 201 h 376"/>
                <a:gd name="T110" fmla="*/ 0 w 341"/>
                <a:gd name="T111" fmla="*/ 240 h 376"/>
                <a:gd name="T112" fmla="*/ 0 w 341"/>
                <a:gd name="T113" fmla="*/ 323 h 376"/>
                <a:gd name="T114" fmla="*/ 39 w 341"/>
                <a:gd name="T115" fmla="*/ 363 h 376"/>
                <a:gd name="T116" fmla="*/ 99 w 341"/>
                <a:gd name="T117" fmla="*/ 363 h 376"/>
                <a:gd name="T118" fmla="*/ 106 w 341"/>
                <a:gd name="T119" fmla="*/ 368 h 376"/>
                <a:gd name="T120" fmla="*/ 142 w 341"/>
                <a:gd name="T121" fmla="*/ 375 h 376"/>
                <a:gd name="T122" fmla="*/ 176 w 341"/>
                <a:gd name="T123" fmla="*/ 376 h 376"/>
                <a:gd name="T124" fmla="*/ 166 w 341"/>
                <a:gd name="T125" fmla="*/ 354 h 3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41" h="376">
                  <a:moveTo>
                    <a:pt x="296" y="374"/>
                  </a:moveTo>
                  <a:cubicBezTo>
                    <a:pt x="203" y="374"/>
                    <a:pt x="203" y="374"/>
                    <a:pt x="203" y="374"/>
                  </a:cubicBezTo>
                  <a:cubicBezTo>
                    <a:pt x="192" y="374"/>
                    <a:pt x="183" y="366"/>
                    <a:pt x="183" y="355"/>
                  </a:cubicBezTo>
                  <a:cubicBezTo>
                    <a:pt x="183" y="355"/>
                    <a:pt x="183" y="355"/>
                    <a:pt x="183" y="355"/>
                  </a:cubicBezTo>
                  <a:cubicBezTo>
                    <a:pt x="183" y="345"/>
                    <a:pt x="192" y="336"/>
                    <a:pt x="203" y="336"/>
                  </a:cubicBezTo>
                  <a:cubicBezTo>
                    <a:pt x="296" y="336"/>
                    <a:pt x="296" y="336"/>
                    <a:pt x="296" y="336"/>
                  </a:cubicBezTo>
                  <a:cubicBezTo>
                    <a:pt x="307" y="336"/>
                    <a:pt x="315" y="345"/>
                    <a:pt x="315" y="355"/>
                  </a:cubicBezTo>
                  <a:cubicBezTo>
                    <a:pt x="315" y="355"/>
                    <a:pt x="315" y="355"/>
                    <a:pt x="315" y="355"/>
                  </a:cubicBezTo>
                  <a:cubicBezTo>
                    <a:pt x="315" y="366"/>
                    <a:pt x="307" y="374"/>
                    <a:pt x="296" y="374"/>
                  </a:cubicBezTo>
                  <a:close/>
                  <a:moveTo>
                    <a:pt x="333" y="299"/>
                  </a:moveTo>
                  <a:cubicBezTo>
                    <a:pt x="333" y="299"/>
                    <a:pt x="333" y="299"/>
                    <a:pt x="333" y="299"/>
                  </a:cubicBezTo>
                  <a:cubicBezTo>
                    <a:pt x="333" y="289"/>
                    <a:pt x="325" y="280"/>
                    <a:pt x="314" y="280"/>
                  </a:cubicBezTo>
                  <a:cubicBezTo>
                    <a:pt x="221" y="280"/>
                    <a:pt x="221" y="280"/>
                    <a:pt x="221" y="280"/>
                  </a:cubicBezTo>
                  <a:cubicBezTo>
                    <a:pt x="210" y="280"/>
                    <a:pt x="201" y="289"/>
                    <a:pt x="201" y="299"/>
                  </a:cubicBezTo>
                  <a:cubicBezTo>
                    <a:pt x="201" y="299"/>
                    <a:pt x="201" y="299"/>
                    <a:pt x="201" y="299"/>
                  </a:cubicBezTo>
                  <a:cubicBezTo>
                    <a:pt x="201" y="310"/>
                    <a:pt x="210" y="318"/>
                    <a:pt x="221" y="318"/>
                  </a:cubicBezTo>
                  <a:cubicBezTo>
                    <a:pt x="314" y="318"/>
                    <a:pt x="314" y="318"/>
                    <a:pt x="314" y="318"/>
                  </a:cubicBezTo>
                  <a:cubicBezTo>
                    <a:pt x="325" y="318"/>
                    <a:pt x="333" y="310"/>
                    <a:pt x="333" y="299"/>
                  </a:cubicBezTo>
                  <a:close/>
                  <a:moveTo>
                    <a:pt x="338" y="241"/>
                  </a:moveTo>
                  <a:cubicBezTo>
                    <a:pt x="338" y="241"/>
                    <a:pt x="338" y="241"/>
                    <a:pt x="338" y="241"/>
                  </a:cubicBezTo>
                  <a:cubicBezTo>
                    <a:pt x="338" y="231"/>
                    <a:pt x="330" y="222"/>
                    <a:pt x="319" y="222"/>
                  </a:cubicBezTo>
                  <a:cubicBezTo>
                    <a:pt x="226" y="222"/>
                    <a:pt x="226" y="222"/>
                    <a:pt x="226" y="222"/>
                  </a:cubicBezTo>
                  <a:cubicBezTo>
                    <a:pt x="215" y="222"/>
                    <a:pt x="206" y="231"/>
                    <a:pt x="206" y="241"/>
                  </a:cubicBezTo>
                  <a:cubicBezTo>
                    <a:pt x="206" y="241"/>
                    <a:pt x="206" y="241"/>
                    <a:pt x="206" y="241"/>
                  </a:cubicBezTo>
                  <a:cubicBezTo>
                    <a:pt x="206" y="252"/>
                    <a:pt x="215" y="260"/>
                    <a:pt x="226" y="260"/>
                  </a:cubicBezTo>
                  <a:cubicBezTo>
                    <a:pt x="319" y="260"/>
                    <a:pt x="319" y="260"/>
                    <a:pt x="319" y="260"/>
                  </a:cubicBezTo>
                  <a:cubicBezTo>
                    <a:pt x="330" y="260"/>
                    <a:pt x="338" y="252"/>
                    <a:pt x="338" y="241"/>
                  </a:cubicBezTo>
                  <a:close/>
                  <a:moveTo>
                    <a:pt x="341" y="184"/>
                  </a:moveTo>
                  <a:cubicBezTo>
                    <a:pt x="341" y="184"/>
                    <a:pt x="341" y="184"/>
                    <a:pt x="341" y="184"/>
                  </a:cubicBezTo>
                  <a:cubicBezTo>
                    <a:pt x="341" y="174"/>
                    <a:pt x="333" y="165"/>
                    <a:pt x="322" y="165"/>
                  </a:cubicBezTo>
                  <a:cubicBezTo>
                    <a:pt x="229" y="165"/>
                    <a:pt x="229" y="165"/>
                    <a:pt x="229" y="165"/>
                  </a:cubicBezTo>
                  <a:cubicBezTo>
                    <a:pt x="218" y="165"/>
                    <a:pt x="209" y="174"/>
                    <a:pt x="209" y="184"/>
                  </a:cubicBezTo>
                  <a:cubicBezTo>
                    <a:pt x="209" y="184"/>
                    <a:pt x="209" y="184"/>
                    <a:pt x="209" y="184"/>
                  </a:cubicBezTo>
                  <a:cubicBezTo>
                    <a:pt x="209" y="195"/>
                    <a:pt x="218" y="203"/>
                    <a:pt x="229" y="203"/>
                  </a:cubicBezTo>
                  <a:cubicBezTo>
                    <a:pt x="322" y="203"/>
                    <a:pt x="322" y="203"/>
                    <a:pt x="322" y="203"/>
                  </a:cubicBezTo>
                  <a:cubicBezTo>
                    <a:pt x="333" y="203"/>
                    <a:pt x="341" y="195"/>
                    <a:pt x="341" y="184"/>
                  </a:cubicBezTo>
                  <a:close/>
                  <a:moveTo>
                    <a:pt x="166" y="354"/>
                  </a:moveTo>
                  <a:cubicBezTo>
                    <a:pt x="166" y="338"/>
                    <a:pt x="178" y="325"/>
                    <a:pt x="194" y="323"/>
                  </a:cubicBezTo>
                  <a:cubicBezTo>
                    <a:pt x="186" y="318"/>
                    <a:pt x="180" y="308"/>
                    <a:pt x="180" y="298"/>
                  </a:cubicBezTo>
                  <a:cubicBezTo>
                    <a:pt x="180" y="284"/>
                    <a:pt x="189" y="272"/>
                    <a:pt x="202" y="268"/>
                  </a:cubicBezTo>
                  <a:cubicBezTo>
                    <a:pt x="193" y="263"/>
                    <a:pt x="187" y="253"/>
                    <a:pt x="187" y="242"/>
                  </a:cubicBezTo>
                  <a:cubicBezTo>
                    <a:pt x="187" y="228"/>
                    <a:pt x="197" y="216"/>
                    <a:pt x="209" y="212"/>
                  </a:cubicBezTo>
                  <a:cubicBezTo>
                    <a:pt x="199" y="207"/>
                    <a:pt x="191" y="197"/>
                    <a:pt x="191" y="184"/>
                  </a:cubicBezTo>
                  <a:cubicBezTo>
                    <a:pt x="191" y="167"/>
                    <a:pt x="205" y="153"/>
                    <a:pt x="222" y="153"/>
                  </a:cubicBezTo>
                  <a:cubicBezTo>
                    <a:pt x="229" y="153"/>
                    <a:pt x="229" y="153"/>
                    <a:pt x="229" y="153"/>
                  </a:cubicBezTo>
                  <a:cubicBezTo>
                    <a:pt x="227" y="152"/>
                    <a:pt x="226" y="151"/>
                    <a:pt x="225" y="150"/>
                  </a:cubicBezTo>
                  <a:cubicBezTo>
                    <a:pt x="219" y="148"/>
                    <a:pt x="217" y="143"/>
                    <a:pt x="211" y="132"/>
                  </a:cubicBezTo>
                  <a:cubicBezTo>
                    <a:pt x="206" y="120"/>
                    <a:pt x="225" y="86"/>
                    <a:pt x="231" y="66"/>
                  </a:cubicBezTo>
                  <a:cubicBezTo>
                    <a:pt x="236" y="47"/>
                    <a:pt x="235" y="33"/>
                    <a:pt x="227" y="16"/>
                  </a:cubicBezTo>
                  <a:cubicBezTo>
                    <a:pt x="219" y="0"/>
                    <a:pt x="196" y="0"/>
                    <a:pt x="191" y="4"/>
                  </a:cubicBezTo>
                  <a:cubicBezTo>
                    <a:pt x="185" y="8"/>
                    <a:pt x="185" y="18"/>
                    <a:pt x="183" y="28"/>
                  </a:cubicBezTo>
                  <a:cubicBezTo>
                    <a:pt x="181" y="38"/>
                    <a:pt x="166" y="73"/>
                    <a:pt x="151" y="103"/>
                  </a:cubicBezTo>
                  <a:cubicBezTo>
                    <a:pt x="135" y="133"/>
                    <a:pt x="113" y="164"/>
                    <a:pt x="98" y="196"/>
                  </a:cubicBezTo>
                  <a:cubicBezTo>
                    <a:pt x="97" y="198"/>
                    <a:pt x="97" y="199"/>
                    <a:pt x="96" y="201"/>
                  </a:cubicBezTo>
                  <a:cubicBezTo>
                    <a:pt x="39" y="201"/>
                    <a:pt x="39" y="201"/>
                    <a:pt x="39" y="201"/>
                  </a:cubicBezTo>
                  <a:cubicBezTo>
                    <a:pt x="17" y="201"/>
                    <a:pt x="0" y="218"/>
                    <a:pt x="0" y="240"/>
                  </a:cubicBezTo>
                  <a:cubicBezTo>
                    <a:pt x="0" y="323"/>
                    <a:pt x="0" y="323"/>
                    <a:pt x="0" y="323"/>
                  </a:cubicBezTo>
                  <a:cubicBezTo>
                    <a:pt x="0" y="345"/>
                    <a:pt x="17" y="363"/>
                    <a:pt x="39" y="363"/>
                  </a:cubicBezTo>
                  <a:cubicBezTo>
                    <a:pt x="99" y="363"/>
                    <a:pt x="99" y="363"/>
                    <a:pt x="99" y="363"/>
                  </a:cubicBezTo>
                  <a:cubicBezTo>
                    <a:pt x="102" y="365"/>
                    <a:pt x="104" y="367"/>
                    <a:pt x="106" y="368"/>
                  </a:cubicBezTo>
                  <a:cubicBezTo>
                    <a:pt x="117" y="374"/>
                    <a:pt x="127" y="374"/>
                    <a:pt x="142" y="375"/>
                  </a:cubicBezTo>
                  <a:cubicBezTo>
                    <a:pt x="157" y="376"/>
                    <a:pt x="166" y="376"/>
                    <a:pt x="176" y="376"/>
                  </a:cubicBezTo>
                  <a:cubicBezTo>
                    <a:pt x="170" y="371"/>
                    <a:pt x="166" y="363"/>
                    <a:pt x="166" y="354"/>
                  </a:cubicBez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grpSp>
        <p:nvGrpSpPr>
          <p:cNvPr id="321" name="Group 59">
            <a:extLst>
              <a:ext uri="{FF2B5EF4-FFF2-40B4-BE49-F238E27FC236}">
                <a16:creationId xmlns:a16="http://schemas.microsoft.com/office/drawing/2014/main" xmlns="" id="{C4AAC1BB-BE75-4A15-ACE5-BCC7CF15A69C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957970" y="3969082"/>
            <a:ext cx="630688" cy="588337"/>
            <a:chOff x="351" y="2441"/>
            <a:chExt cx="551" cy="514"/>
          </a:xfrm>
          <a:effectLst>
            <a:outerShdw blurRad="101600" dist="76200" dir="2700000" algn="ctr" rotWithShape="0">
              <a:srgbClr val="000000">
                <a:alpha val="29000"/>
              </a:srgbClr>
            </a:outerShdw>
          </a:effectLst>
        </p:grpSpPr>
        <p:sp>
          <p:nvSpPr>
            <p:cNvPr id="322" name="AutoShape 58">
              <a:extLst>
                <a:ext uri="{FF2B5EF4-FFF2-40B4-BE49-F238E27FC236}">
                  <a16:creationId xmlns:a16="http://schemas.microsoft.com/office/drawing/2014/main" xmlns="" id="{2EE9EBC8-AF57-43CD-9DBB-E4322124E500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51" y="2441"/>
              <a:ext cx="551" cy="51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23" name="Freeform 60">
              <a:extLst>
                <a:ext uri="{FF2B5EF4-FFF2-40B4-BE49-F238E27FC236}">
                  <a16:creationId xmlns:a16="http://schemas.microsoft.com/office/drawing/2014/main" xmlns="" id="{254A5EEC-41FB-4494-ADBD-6E5EE52F2A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51" y="2440"/>
              <a:ext cx="552" cy="516"/>
            </a:xfrm>
            <a:custGeom>
              <a:avLst/>
              <a:gdLst>
                <a:gd name="T0" fmla="*/ 485 w 490"/>
                <a:gd name="T1" fmla="*/ 288 h 458"/>
                <a:gd name="T2" fmla="*/ 483 w 490"/>
                <a:gd name="T3" fmla="*/ 276 h 458"/>
                <a:gd name="T4" fmla="*/ 473 w 490"/>
                <a:gd name="T5" fmla="*/ 244 h 458"/>
                <a:gd name="T6" fmla="*/ 442 w 490"/>
                <a:gd name="T7" fmla="*/ 224 h 458"/>
                <a:gd name="T8" fmla="*/ 450 w 490"/>
                <a:gd name="T9" fmla="*/ 198 h 458"/>
                <a:gd name="T10" fmla="*/ 362 w 490"/>
                <a:gd name="T11" fmla="*/ 198 h 458"/>
                <a:gd name="T12" fmla="*/ 330 w 490"/>
                <a:gd name="T13" fmla="*/ 160 h 458"/>
                <a:gd name="T14" fmla="*/ 327 w 490"/>
                <a:gd name="T15" fmla="*/ 133 h 458"/>
                <a:gd name="T16" fmla="*/ 325 w 490"/>
                <a:gd name="T17" fmla="*/ 116 h 458"/>
                <a:gd name="T18" fmla="*/ 315 w 490"/>
                <a:gd name="T19" fmla="*/ 90 h 458"/>
                <a:gd name="T20" fmla="*/ 291 w 490"/>
                <a:gd name="T21" fmla="*/ 52 h 458"/>
                <a:gd name="T22" fmla="*/ 248 w 490"/>
                <a:gd name="T23" fmla="*/ 0 h 458"/>
                <a:gd name="T24" fmla="*/ 212 w 490"/>
                <a:gd name="T25" fmla="*/ 70 h 458"/>
                <a:gd name="T26" fmla="*/ 186 w 490"/>
                <a:gd name="T27" fmla="*/ 82 h 458"/>
                <a:gd name="T28" fmla="*/ 178 w 490"/>
                <a:gd name="T29" fmla="*/ 94 h 458"/>
                <a:gd name="T30" fmla="*/ 169 w 490"/>
                <a:gd name="T31" fmla="*/ 122 h 458"/>
                <a:gd name="T32" fmla="*/ 130 w 490"/>
                <a:gd name="T33" fmla="*/ 202 h 458"/>
                <a:gd name="T34" fmla="*/ 86 w 490"/>
                <a:gd name="T35" fmla="*/ 154 h 458"/>
                <a:gd name="T36" fmla="*/ 50 w 490"/>
                <a:gd name="T37" fmla="*/ 224 h 458"/>
                <a:gd name="T38" fmla="*/ 24 w 490"/>
                <a:gd name="T39" fmla="*/ 236 h 458"/>
                <a:gd name="T40" fmla="*/ 16 w 490"/>
                <a:gd name="T41" fmla="*/ 248 h 458"/>
                <a:gd name="T42" fmla="*/ 7 w 490"/>
                <a:gd name="T43" fmla="*/ 276 h 458"/>
                <a:gd name="T44" fmla="*/ 52 w 490"/>
                <a:gd name="T45" fmla="*/ 334 h 458"/>
                <a:gd name="T46" fmla="*/ 173 w 490"/>
                <a:gd name="T47" fmla="*/ 372 h 458"/>
                <a:gd name="T48" fmla="*/ 169 w 490"/>
                <a:gd name="T49" fmla="*/ 400 h 458"/>
                <a:gd name="T50" fmla="*/ 162 w 490"/>
                <a:gd name="T51" fmla="*/ 458 h 458"/>
                <a:gd name="T52" fmla="*/ 327 w 490"/>
                <a:gd name="T53" fmla="*/ 412 h 458"/>
                <a:gd name="T54" fmla="*/ 325 w 490"/>
                <a:gd name="T55" fmla="*/ 400 h 458"/>
                <a:gd name="T56" fmla="*/ 319 w 490"/>
                <a:gd name="T57" fmla="*/ 374 h 458"/>
                <a:gd name="T58" fmla="*/ 358 w 490"/>
                <a:gd name="T59" fmla="*/ 334 h 458"/>
                <a:gd name="T60" fmla="*/ 487 w 490"/>
                <a:gd name="T61" fmla="*/ 334 h 458"/>
                <a:gd name="T62" fmla="*/ 490 w 490"/>
                <a:gd name="T63" fmla="*/ 334 h 4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90" h="458">
                  <a:moveTo>
                    <a:pt x="490" y="334"/>
                  </a:moveTo>
                  <a:cubicBezTo>
                    <a:pt x="485" y="288"/>
                    <a:pt x="485" y="288"/>
                    <a:pt x="485" y="288"/>
                  </a:cubicBezTo>
                  <a:cubicBezTo>
                    <a:pt x="485" y="287"/>
                    <a:pt x="485" y="287"/>
                    <a:pt x="485" y="287"/>
                  </a:cubicBezTo>
                  <a:cubicBezTo>
                    <a:pt x="484" y="283"/>
                    <a:pt x="484" y="280"/>
                    <a:pt x="483" y="276"/>
                  </a:cubicBezTo>
                  <a:cubicBezTo>
                    <a:pt x="483" y="270"/>
                    <a:pt x="483" y="270"/>
                    <a:pt x="483" y="270"/>
                  </a:cubicBezTo>
                  <a:cubicBezTo>
                    <a:pt x="481" y="255"/>
                    <a:pt x="478" y="249"/>
                    <a:pt x="473" y="244"/>
                  </a:cubicBezTo>
                  <a:cubicBezTo>
                    <a:pt x="473" y="244"/>
                    <a:pt x="473" y="244"/>
                    <a:pt x="473" y="244"/>
                  </a:cubicBezTo>
                  <a:cubicBezTo>
                    <a:pt x="466" y="235"/>
                    <a:pt x="455" y="228"/>
                    <a:pt x="442" y="224"/>
                  </a:cubicBezTo>
                  <a:cubicBezTo>
                    <a:pt x="446" y="218"/>
                    <a:pt x="448" y="212"/>
                    <a:pt x="449" y="206"/>
                  </a:cubicBezTo>
                  <a:cubicBezTo>
                    <a:pt x="450" y="203"/>
                    <a:pt x="450" y="201"/>
                    <a:pt x="450" y="198"/>
                  </a:cubicBezTo>
                  <a:cubicBezTo>
                    <a:pt x="450" y="174"/>
                    <a:pt x="430" y="154"/>
                    <a:pt x="406" y="154"/>
                  </a:cubicBezTo>
                  <a:cubicBezTo>
                    <a:pt x="382" y="154"/>
                    <a:pt x="362" y="174"/>
                    <a:pt x="362" y="198"/>
                  </a:cubicBezTo>
                  <a:cubicBezTo>
                    <a:pt x="362" y="198"/>
                    <a:pt x="362" y="198"/>
                    <a:pt x="362" y="199"/>
                  </a:cubicBezTo>
                  <a:cubicBezTo>
                    <a:pt x="354" y="184"/>
                    <a:pt x="343" y="171"/>
                    <a:pt x="330" y="160"/>
                  </a:cubicBezTo>
                  <a:cubicBezTo>
                    <a:pt x="328" y="145"/>
                    <a:pt x="328" y="145"/>
                    <a:pt x="328" y="145"/>
                  </a:cubicBezTo>
                  <a:cubicBezTo>
                    <a:pt x="327" y="133"/>
                    <a:pt x="327" y="133"/>
                    <a:pt x="327" y="133"/>
                  </a:cubicBezTo>
                  <a:cubicBezTo>
                    <a:pt x="326" y="129"/>
                    <a:pt x="326" y="126"/>
                    <a:pt x="325" y="122"/>
                  </a:cubicBezTo>
                  <a:cubicBezTo>
                    <a:pt x="325" y="116"/>
                    <a:pt x="325" y="116"/>
                    <a:pt x="325" y="116"/>
                  </a:cubicBezTo>
                  <a:cubicBezTo>
                    <a:pt x="323" y="101"/>
                    <a:pt x="320" y="95"/>
                    <a:pt x="315" y="90"/>
                  </a:cubicBezTo>
                  <a:cubicBezTo>
                    <a:pt x="315" y="90"/>
                    <a:pt x="315" y="90"/>
                    <a:pt x="315" y="90"/>
                  </a:cubicBezTo>
                  <a:cubicBezTo>
                    <a:pt x="308" y="81"/>
                    <a:pt x="297" y="74"/>
                    <a:pt x="284" y="70"/>
                  </a:cubicBezTo>
                  <a:cubicBezTo>
                    <a:pt x="288" y="64"/>
                    <a:pt x="290" y="58"/>
                    <a:pt x="291" y="52"/>
                  </a:cubicBezTo>
                  <a:cubicBezTo>
                    <a:pt x="292" y="49"/>
                    <a:pt x="292" y="47"/>
                    <a:pt x="292" y="44"/>
                  </a:cubicBezTo>
                  <a:cubicBezTo>
                    <a:pt x="292" y="20"/>
                    <a:pt x="272" y="0"/>
                    <a:pt x="248" y="0"/>
                  </a:cubicBezTo>
                  <a:cubicBezTo>
                    <a:pt x="224" y="0"/>
                    <a:pt x="204" y="20"/>
                    <a:pt x="204" y="44"/>
                  </a:cubicBezTo>
                  <a:cubicBezTo>
                    <a:pt x="204" y="54"/>
                    <a:pt x="207" y="63"/>
                    <a:pt x="212" y="70"/>
                  </a:cubicBezTo>
                  <a:cubicBezTo>
                    <a:pt x="205" y="72"/>
                    <a:pt x="198" y="75"/>
                    <a:pt x="192" y="79"/>
                  </a:cubicBezTo>
                  <a:cubicBezTo>
                    <a:pt x="186" y="82"/>
                    <a:pt x="186" y="82"/>
                    <a:pt x="186" y="82"/>
                  </a:cubicBezTo>
                  <a:cubicBezTo>
                    <a:pt x="186" y="83"/>
                    <a:pt x="186" y="83"/>
                    <a:pt x="186" y="83"/>
                  </a:cubicBezTo>
                  <a:cubicBezTo>
                    <a:pt x="183" y="86"/>
                    <a:pt x="180" y="90"/>
                    <a:pt x="178" y="94"/>
                  </a:cubicBezTo>
                  <a:cubicBezTo>
                    <a:pt x="175" y="100"/>
                    <a:pt x="172" y="110"/>
                    <a:pt x="169" y="122"/>
                  </a:cubicBezTo>
                  <a:cubicBezTo>
                    <a:pt x="169" y="122"/>
                    <a:pt x="169" y="122"/>
                    <a:pt x="169" y="122"/>
                  </a:cubicBezTo>
                  <a:cubicBezTo>
                    <a:pt x="164" y="160"/>
                    <a:pt x="164" y="160"/>
                    <a:pt x="164" y="160"/>
                  </a:cubicBezTo>
                  <a:cubicBezTo>
                    <a:pt x="150" y="172"/>
                    <a:pt x="138" y="186"/>
                    <a:pt x="130" y="202"/>
                  </a:cubicBezTo>
                  <a:cubicBezTo>
                    <a:pt x="130" y="201"/>
                    <a:pt x="130" y="199"/>
                    <a:pt x="130" y="198"/>
                  </a:cubicBezTo>
                  <a:cubicBezTo>
                    <a:pt x="130" y="174"/>
                    <a:pt x="110" y="154"/>
                    <a:pt x="86" y="154"/>
                  </a:cubicBezTo>
                  <a:cubicBezTo>
                    <a:pt x="62" y="154"/>
                    <a:pt x="42" y="174"/>
                    <a:pt x="42" y="198"/>
                  </a:cubicBezTo>
                  <a:cubicBezTo>
                    <a:pt x="42" y="208"/>
                    <a:pt x="45" y="217"/>
                    <a:pt x="50" y="224"/>
                  </a:cubicBezTo>
                  <a:cubicBezTo>
                    <a:pt x="43" y="226"/>
                    <a:pt x="36" y="229"/>
                    <a:pt x="30" y="233"/>
                  </a:cubicBezTo>
                  <a:cubicBezTo>
                    <a:pt x="24" y="236"/>
                    <a:pt x="24" y="236"/>
                    <a:pt x="24" y="236"/>
                  </a:cubicBezTo>
                  <a:cubicBezTo>
                    <a:pt x="24" y="237"/>
                    <a:pt x="24" y="237"/>
                    <a:pt x="24" y="237"/>
                  </a:cubicBezTo>
                  <a:cubicBezTo>
                    <a:pt x="21" y="240"/>
                    <a:pt x="18" y="244"/>
                    <a:pt x="16" y="248"/>
                  </a:cubicBezTo>
                  <a:cubicBezTo>
                    <a:pt x="13" y="254"/>
                    <a:pt x="10" y="264"/>
                    <a:pt x="7" y="276"/>
                  </a:cubicBezTo>
                  <a:cubicBezTo>
                    <a:pt x="7" y="276"/>
                    <a:pt x="7" y="276"/>
                    <a:pt x="7" y="276"/>
                  </a:cubicBezTo>
                  <a:cubicBezTo>
                    <a:pt x="0" y="334"/>
                    <a:pt x="0" y="334"/>
                    <a:pt x="0" y="334"/>
                  </a:cubicBezTo>
                  <a:cubicBezTo>
                    <a:pt x="52" y="334"/>
                    <a:pt x="52" y="334"/>
                    <a:pt x="52" y="334"/>
                  </a:cubicBezTo>
                  <a:cubicBezTo>
                    <a:pt x="136" y="334"/>
                    <a:pt x="136" y="334"/>
                    <a:pt x="136" y="334"/>
                  </a:cubicBezTo>
                  <a:cubicBezTo>
                    <a:pt x="145" y="349"/>
                    <a:pt x="158" y="362"/>
                    <a:pt x="173" y="372"/>
                  </a:cubicBezTo>
                  <a:cubicBezTo>
                    <a:pt x="176" y="375"/>
                    <a:pt x="176" y="375"/>
                    <a:pt x="176" y="375"/>
                  </a:cubicBezTo>
                  <a:cubicBezTo>
                    <a:pt x="174" y="381"/>
                    <a:pt x="171" y="390"/>
                    <a:pt x="169" y="400"/>
                  </a:cubicBezTo>
                  <a:cubicBezTo>
                    <a:pt x="169" y="400"/>
                    <a:pt x="169" y="400"/>
                    <a:pt x="169" y="400"/>
                  </a:cubicBezTo>
                  <a:cubicBezTo>
                    <a:pt x="162" y="458"/>
                    <a:pt x="162" y="458"/>
                    <a:pt x="162" y="458"/>
                  </a:cubicBezTo>
                  <a:cubicBezTo>
                    <a:pt x="332" y="458"/>
                    <a:pt x="332" y="458"/>
                    <a:pt x="332" y="458"/>
                  </a:cubicBezTo>
                  <a:cubicBezTo>
                    <a:pt x="327" y="412"/>
                    <a:pt x="327" y="412"/>
                    <a:pt x="327" y="412"/>
                  </a:cubicBezTo>
                  <a:cubicBezTo>
                    <a:pt x="327" y="411"/>
                    <a:pt x="327" y="411"/>
                    <a:pt x="327" y="411"/>
                  </a:cubicBezTo>
                  <a:cubicBezTo>
                    <a:pt x="326" y="407"/>
                    <a:pt x="326" y="404"/>
                    <a:pt x="325" y="400"/>
                  </a:cubicBezTo>
                  <a:cubicBezTo>
                    <a:pt x="325" y="394"/>
                    <a:pt x="325" y="394"/>
                    <a:pt x="325" y="394"/>
                  </a:cubicBezTo>
                  <a:cubicBezTo>
                    <a:pt x="323" y="384"/>
                    <a:pt x="322" y="378"/>
                    <a:pt x="319" y="374"/>
                  </a:cubicBezTo>
                  <a:cubicBezTo>
                    <a:pt x="322" y="372"/>
                    <a:pt x="322" y="372"/>
                    <a:pt x="322" y="372"/>
                  </a:cubicBezTo>
                  <a:cubicBezTo>
                    <a:pt x="337" y="362"/>
                    <a:pt x="349" y="349"/>
                    <a:pt x="358" y="334"/>
                  </a:cubicBezTo>
                  <a:cubicBezTo>
                    <a:pt x="372" y="334"/>
                    <a:pt x="372" y="334"/>
                    <a:pt x="372" y="334"/>
                  </a:cubicBezTo>
                  <a:cubicBezTo>
                    <a:pt x="487" y="334"/>
                    <a:pt x="487" y="334"/>
                    <a:pt x="487" y="334"/>
                  </a:cubicBezTo>
                  <a:cubicBezTo>
                    <a:pt x="487" y="334"/>
                    <a:pt x="487" y="334"/>
                    <a:pt x="487" y="334"/>
                  </a:cubicBezTo>
                  <a:lnTo>
                    <a:pt x="490" y="33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24" name="Freeform 61">
              <a:extLst>
                <a:ext uri="{FF2B5EF4-FFF2-40B4-BE49-F238E27FC236}">
                  <a16:creationId xmlns:a16="http://schemas.microsoft.com/office/drawing/2014/main" xmlns="" id="{D8D7C4D2-7F59-49B8-9267-A9EE1545FA5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6" y="2453"/>
              <a:ext cx="522" cy="490"/>
            </a:xfrm>
            <a:custGeom>
              <a:avLst/>
              <a:gdLst>
                <a:gd name="T0" fmla="*/ 105 w 464"/>
                <a:gd name="T1" fmla="*/ 192 h 434"/>
                <a:gd name="T2" fmla="*/ 73 w 464"/>
                <a:gd name="T3" fmla="*/ 154 h 434"/>
                <a:gd name="T4" fmla="*/ 73 w 464"/>
                <a:gd name="T5" fmla="*/ 218 h 434"/>
                <a:gd name="T6" fmla="*/ 414 w 464"/>
                <a:gd name="T7" fmla="*/ 210 h 434"/>
                <a:gd name="T8" fmla="*/ 425 w 464"/>
                <a:gd name="T9" fmla="*/ 186 h 434"/>
                <a:gd name="T10" fmla="*/ 361 w 464"/>
                <a:gd name="T11" fmla="*/ 186 h 434"/>
                <a:gd name="T12" fmla="*/ 414 w 464"/>
                <a:gd name="T13" fmla="*/ 210 h 434"/>
                <a:gd name="T14" fmla="*/ 267 w 464"/>
                <a:gd name="T15" fmla="*/ 38 h 434"/>
                <a:gd name="T16" fmla="*/ 235 w 464"/>
                <a:gd name="T17" fmla="*/ 0 h 434"/>
                <a:gd name="T18" fmla="*/ 235 w 464"/>
                <a:gd name="T19" fmla="*/ 64 h 434"/>
                <a:gd name="T20" fmla="*/ 165 w 464"/>
                <a:gd name="T21" fmla="*/ 134 h 434"/>
                <a:gd name="T22" fmla="*/ 167 w 464"/>
                <a:gd name="T23" fmla="*/ 122 h 434"/>
                <a:gd name="T24" fmla="*/ 185 w 464"/>
                <a:gd name="T25" fmla="*/ 78 h 434"/>
                <a:gd name="T26" fmla="*/ 208 w 464"/>
                <a:gd name="T27" fmla="*/ 68 h 434"/>
                <a:gd name="T28" fmla="*/ 263 w 464"/>
                <a:gd name="T29" fmla="*/ 68 h 434"/>
                <a:gd name="T30" fmla="*/ 300 w 464"/>
                <a:gd name="T31" fmla="*/ 106 h 434"/>
                <a:gd name="T32" fmla="*/ 302 w 464"/>
                <a:gd name="T33" fmla="*/ 123 h 434"/>
                <a:gd name="T34" fmla="*/ 234 w 464"/>
                <a:gd name="T35" fmla="*/ 115 h 434"/>
                <a:gd name="T36" fmla="*/ 461 w 464"/>
                <a:gd name="T37" fmla="*/ 310 h 434"/>
                <a:gd name="T38" fmla="*/ 371 w 464"/>
                <a:gd name="T39" fmla="*/ 310 h 434"/>
                <a:gd name="T40" fmla="*/ 356 w 464"/>
                <a:gd name="T41" fmla="*/ 310 h 434"/>
                <a:gd name="T42" fmla="*/ 367 w 464"/>
                <a:gd name="T43" fmla="*/ 222 h 434"/>
                <a:gd name="T44" fmla="*/ 421 w 464"/>
                <a:gd name="T45" fmla="*/ 222 h 434"/>
                <a:gd name="T46" fmla="*/ 458 w 464"/>
                <a:gd name="T47" fmla="*/ 260 h 434"/>
                <a:gd name="T48" fmla="*/ 460 w 464"/>
                <a:gd name="T49" fmla="*/ 277 h 434"/>
                <a:gd name="T50" fmla="*/ 461 w 464"/>
                <a:gd name="T51" fmla="*/ 310 h 434"/>
                <a:gd name="T52" fmla="*/ 185 w 464"/>
                <a:gd name="T53" fmla="*/ 355 h 434"/>
                <a:gd name="T54" fmla="*/ 175 w 464"/>
                <a:gd name="T55" fmla="*/ 366 h 434"/>
                <a:gd name="T56" fmla="*/ 167 w 464"/>
                <a:gd name="T57" fmla="*/ 400 h 434"/>
                <a:gd name="T58" fmla="*/ 213 w 464"/>
                <a:gd name="T59" fmla="*/ 434 h 434"/>
                <a:gd name="T60" fmla="*/ 303 w 464"/>
                <a:gd name="T61" fmla="*/ 434 h 434"/>
                <a:gd name="T62" fmla="*/ 306 w 464"/>
                <a:gd name="T63" fmla="*/ 434 h 434"/>
                <a:gd name="T64" fmla="*/ 300 w 464"/>
                <a:gd name="T65" fmla="*/ 390 h 434"/>
                <a:gd name="T66" fmla="*/ 292 w 464"/>
                <a:gd name="T67" fmla="*/ 363 h 434"/>
                <a:gd name="T68" fmla="*/ 235 w 464"/>
                <a:gd name="T69" fmla="*/ 352 h 434"/>
                <a:gd name="T70" fmla="*/ 255 w 464"/>
                <a:gd name="T71" fmla="*/ 334 h 434"/>
                <a:gd name="T72" fmla="*/ 266 w 464"/>
                <a:gd name="T73" fmla="*/ 310 h 434"/>
                <a:gd name="T74" fmla="*/ 202 w 464"/>
                <a:gd name="T75" fmla="*/ 310 h 434"/>
                <a:gd name="T76" fmla="*/ 255 w 464"/>
                <a:gd name="T77" fmla="*/ 334 h 434"/>
                <a:gd name="T78" fmla="*/ 51 w 464"/>
                <a:gd name="T79" fmla="*/ 310 h 434"/>
                <a:gd name="T80" fmla="*/ 5 w 464"/>
                <a:gd name="T81" fmla="*/ 276 h 434"/>
                <a:gd name="T82" fmla="*/ 13 w 464"/>
                <a:gd name="T83" fmla="*/ 242 h 434"/>
                <a:gd name="T84" fmla="*/ 23 w 464"/>
                <a:gd name="T85" fmla="*/ 231 h 434"/>
                <a:gd name="T86" fmla="*/ 73 w 464"/>
                <a:gd name="T87" fmla="*/ 228 h 434"/>
                <a:gd name="T88" fmla="*/ 101 w 464"/>
                <a:gd name="T89" fmla="*/ 222 h 434"/>
                <a:gd name="T90" fmla="*/ 112 w 464"/>
                <a:gd name="T91" fmla="*/ 310 h 434"/>
                <a:gd name="T92" fmla="*/ 114 w 464"/>
                <a:gd name="T93" fmla="*/ 251 h 434"/>
                <a:gd name="T94" fmla="*/ 354 w 464"/>
                <a:gd name="T95" fmla="*/ 251 h 434"/>
                <a:gd name="T96" fmla="*/ 276 w 464"/>
                <a:gd name="T97" fmla="*/ 333 h 434"/>
                <a:gd name="T98" fmla="*/ 282 w 464"/>
                <a:gd name="T99" fmla="*/ 310 h 434"/>
                <a:gd name="T100" fmla="*/ 186 w 464"/>
                <a:gd name="T101" fmla="*/ 310 h 434"/>
                <a:gd name="T102" fmla="*/ 177 w 464"/>
                <a:gd name="T103" fmla="*/ 342 h 434"/>
                <a:gd name="T104" fmla="*/ 169 w 464"/>
                <a:gd name="T105" fmla="*/ 348 h 434"/>
                <a:gd name="T106" fmla="*/ 114 w 464"/>
                <a:gd name="T107" fmla="*/ 251 h 4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464" h="434">
                  <a:moveTo>
                    <a:pt x="94" y="210"/>
                  </a:moveTo>
                  <a:cubicBezTo>
                    <a:pt x="99" y="206"/>
                    <a:pt x="103" y="199"/>
                    <a:pt x="105" y="192"/>
                  </a:cubicBezTo>
                  <a:cubicBezTo>
                    <a:pt x="105" y="190"/>
                    <a:pt x="105" y="188"/>
                    <a:pt x="105" y="186"/>
                  </a:cubicBezTo>
                  <a:cubicBezTo>
                    <a:pt x="105" y="168"/>
                    <a:pt x="91" y="154"/>
                    <a:pt x="73" y="154"/>
                  </a:cubicBezTo>
                  <a:cubicBezTo>
                    <a:pt x="55" y="154"/>
                    <a:pt x="41" y="168"/>
                    <a:pt x="41" y="186"/>
                  </a:cubicBezTo>
                  <a:cubicBezTo>
                    <a:pt x="41" y="204"/>
                    <a:pt x="55" y="218"/>
                    <a:pt x="73" y="218"/>
                  </a:cubicBezTo>
                  <a:cubicBezTo>
                    <a:pt x="81" y="218"/>
                    <a:pt x="88" y="215"/>
                    <a:pt x="94" y="210"/>
                  </a:cubicBezTo>
                  <a:moveTo>
                    <a:pt x="414" y="210"/>
                  </a:moveTo>
                  <a:cubicBezTo>
                    <a:pt x="419" y="206"/>
                    <a:pt x="423" y="199"/>
                    <a:pt x="425" y="192"/>
                  </a:cubicBezTo>
                  <a:cubicBezTo>
                    <a:pt x="425" y="190"/>
                    <a:pt x="425" y="188"/>
                    <a:pt x="425" y="186"/>
                  </a:cubicBezTo>
                  <a:cubicBezTo>
                    <a:pt x="425" y="168"/>
                    <a:pt x="411" y="154"/>
                    <a:pt x="393" y="154"/>
                  </a:cubicBezTo>
                  <a:cubicBezTo>
                    <a:pt x="375" y="154"/>
                    <a:pt x="361" y="168"/>
                    <a:pt x="361" y="186"/>
                  </a:cubicBezTo>
                  <a:cubicBezTo>
                    <a:pt x="361" y="204"/>
                    <a:pt x="375" y="218"/>
                    <a:pt x="393" y="218"/>
                  </a:cubicBezTo>
                  <a:cubicBezTo>
                    <a:pt x="401" y="218"/>
                    <a:pt x="408" y="215"/>
                    <a:pt x="414" y="210"/>
                  </a:cubicBezTo>
                  <a:moveTo>
                    <a:pt x="256" y="56"/>
                  </a:moveTo>
                  <a:cubicBezTo>
                    <a:pt x="261" y="52"/>
                    <a:pt x="265" y="45"/>
                    <a:pt x="267" y="38"/>
                  </a:cubicBezTo>
                  <a:cubicBezTo>
                    <a:pt x="267" y="36"/>
                    <a:pt x="267" y="34"/>
                    <a:pt x="267" y="32"/>
                  </a:cubicBezTo>
                  <a:cubicBezTo>
                    <a:pt x="267" y="14"/>
                    <a:pt x="253" y="0"/>
                    <a:pt x="235" y="0"/>
                  </a:cubicBezTo>
                  <a:cubicBezTo>
                    <a:pt x="217" y="0"/>
                    <a:pt x="203" y="14"/>
                    <a:pt x="203" y="32"/>
                  </a:cubicBezTo>
                  <a:cubicBezTo>
                    <a:pt x="203" y="50"/>
                    <a:pt x="217" y="64"/>
                    <a:pt x="235" y="64"/>
                  </a:cubicBezTo>
                  <a:cubicBezTo>
                    <a:pt x="243" y="64"/>
                    <a:pt x="250" y="61"/>
                    <a:pt x="256" y="56"/>
                  </a:cubicBezTo>
                  <a:moveTo>
                    <a:pt x="165" y="134"/>
                  </a:moveTo>
                  <a:cubicBezTo>
                    <a:pt x="167" y="122"/>
                    <a:pt x="167" y="122"/>
                    <a:pt x="167" y="122"/>
                  </a:cubicBezTo>
                  <a:cubicBezTo>
                    <a:pt x="167" y="122"/>
                    <a:pt x="167" y="122"/>
                    <a:pt x="167" y="122"/>
                  </a:cubicBezTo>
                  <a:cubicBezTo>
                    <a:pt x="169" y="105"/>
                    <a:pt x="173" y="92"/>
                    <a:pt x="175" y="88"/>
                  </a:cubicBezTo>
                  <a:cubicBezTo>
                    <a:pt x="177" y="84"/>
                    <a:pt x="180" y="81"/>
                    <a:pt x="185" y="78"/>
                  </a:cubicBezTo>
                  <a:cubicBezTo>
                    <a:pt x="185" y="77"/>
                    <a:pt x="185" y="77"/>
                    <a:pt x="185" y="77"/>
                  </a:cubicBezTo>
                  <a:cubicBezTo>
                    <a:pt x="191" y="73"/>
                    <a:pt x="199" y="70"/>
                    <a:pt x="208" y="68"/>
                  </a:cubicBezTo>
                  <a:cubicBezTo>
                    <a:pt x="235" y="74"/>
                    <a:pt x="235" y="74"/>
                    <a:pt x="235" y="74"/>
                  </a:cubicBezTo>
                  <a:cubicBezTo>
                    <a:pt x="263" y="68"/>
                    <a:pt x="263" y="68"/>
                    <a:pt x="263" y="68"/>
                  </a:cubicBezTo>
                  <a:cubicBezTo>
                    <a:pt x="277" y="71"/>
                    <a:pt x="287" y="78"/>
                    <a:pt x="292" y="85"/>
                  </a:cubicBezTo>
                  <a:cubicBezTo>
                    <a:pt x="294" y="88"/>
                    <a:pt x="297" y="88"/>
                    <a:pt x="300" y="106"/>
                  </a:cubicBezTo>
                  <a:cubicBezTo>
                    <a:pt x="300" y="112"/>
                    <a:pt x="300" y="112"/>
                    <a:pt x="300" y="112"/>
                  </a:cubicBezTo>
                  <a:cubicBezTo>
                    <a:pt x="301" y="116"/>
                    <a:pt x="301" y="118"/>
                    <a:pt x="302" y="123"/>
                  </a:cubicBezTo>
                  <a:cubicBezTo>
                    <a:pt x="303" y="134"/>
                    <a:pt x="303" y="134"/>
                    <a:pt x="303" y="134"/>
                  </a:cubicBezTo>
                  <a:cubicBezTo>
                    <a:pt x="283" y="122"/>
                    <a:pt x="259" y="115"/>
                    <a:pt x="234" y="115"/>
                  </a:cubicBezTo>
                  <a:cubicBezTo>
                    <a:pt x="209" y="115"/>
                    <a:pt x="185" y="122"/>
                    <a:pt x="165" y="134"/>
                  </a:cubicBezTo>
                  <a:close/>
                  <a:moveTo>
                    <a:pt x="461" y="310"/>
                  </a:moveTo>
                  <a:cubicBezTo>
                    <a:pt x="461" y="310"/>
                    <a:pt x="461" y="310"/>
                    <a:pt x="461" y="310"/>
                  </a:cubicBezTo>
                  <a:cubicBezTo>
                    <a:pt x="371" y="310"/>
                    <a:pt x="371" y="310"/>
                    <a:pt x="371" y="310"/>
                  </a:cubicBezTo>
                  <a:cubicBezTo>
                    <a:pt x="371" y="310"/>
                    <a:pt x="371" y="310"/>
                    <a:pt x="371" y="310"/>
                  </a:cubicBezTo>
                  <a:cubicBezTo>
                    <a:pt x="356" y="310"/>
                    <a:pt x="356" y="310"/>
                    <a:pt x="356" y="310"/>
                  </a:cubicBezTo>
                  <a:cubicBezTo>
                    <a:pt x="365" y="292"/>
                    <a:pt x="370" y="272"/>
                    <a:pt x="370" y="251"/>
                  </a:cubicBezTo>
                  <a:cubicBezTo>
                    <a:pt x="370" y="241"/>
                    <a:pt x="369" y="231"/>
                    <a:pt x="367" y="222"/>
                  </a:cubicBezTo>
                  <a:cubicBezTo>
                    <a:pt x="393" y="228"/>
                    <a:pt x="393" y="228"/>
                    <a:pt x="393" y="228"/>
                  </a:cubicBezTo>
                  <a:cubicBezTo>
                    <a:pt x="421" y="222"/>
                    <a:pt x="421" y="222"/>
                    <a:pt x="421" y="222"/>
                  </a:cubicBezTo>
                  <a:cubicBezTo>
                    <a:pt x="435" y="225"/>
                    <a:pt x="445" y="232"/>
                    <a:pt x="450" y="239"/>
                  </a:cubicBezTo>
                  <a:cubicBezTo>
                    <a:pt x="452" y="242"/>
                    <a:pt x="455" y="242"/>
                    <a:pt x="458" y="260"/>
                  </a:cubicBezTo>
                  <a:cubicBezTo>
                    <a:pt x="458" y="266"/>
                    <a:pt x="458" y="266"/>
                    <a:pt x="458" y="266"/>
                  </a:cubicBezTo>
                  <a:cubicBezTo>
                    <a:pt x="459" y="270"/>
                    <a:pt x="459" y="272"/>
                    <a:pt x="460" y="277"/>
                  </a:cubicBezTo>
                  <a:cubicBezTo>
                    <a:pt x="464" y="310"/>
                    <a:pt x="464" y="310"/>
                    <a:pt x="464" y="310"/>
                  </a:cubicBezTo>
                  <a:lnTo>
                    <a:pt x="461" y="310"/>
                  </a:lnTo>
                  <a:close/>
                  <a:moveTo>
                    <a:pt x="208" y="346"/>
                  </a:moveTo>
                  <a:cubicBezTo>
                    <a:pt x="199" y="348"/>
                    <a:pt x="191" y="351"/>
                    <a:pt x="185" y="355"/>
                  </a:cubicBezTo>
                  <a:cubicBezTo>
                    <a:pt x="185" y="355"/>
                    <a:pt x="185" y="355"/>
                    <a:pt x="185" y="356"/>
                  </a:cubicBezTo>
                  <a:cubicBezTo>
                    <a:pt x="180" y="359"/>
                    <a:pt x="177" y="362"/>
                    <a:pt x="175" y="366"/>
                  </a:cubicBezTo>
                  <a:cubicBezTo>
                    <a:pt x="173" y="370"/>
                    <a:pt x="169" y="383"/>
                    <a:pt x="167" y="400"/>
                  </a:cubicBezTo>
                  <a:cubicBezTo>
                    <a:pt x="167" y="400"/>
                    <a:pt x="167" y="400"/>
                    <a:pt x="167" y="400"/>
                  </a:cubicBezTo>
                  <a:cubicBezTo>
                    <a:pt x="162" y="434"/>
                    <a:pt x="162" y="434"/>
                    <a:pt x="162" y="434"/>
                  </a:cubicBezTo>
                  <a:cubicBezTo>
                    <a:pt x="213" y="434"/>
                    <a:pt x="213" y="434"/>
                    <a:pt x="213" y="434"/>
                  </a:cubicBezTo>
                  <a:cubicBezTo>
                    <a:pt x="213" y="434"/>
                    <a:pt x="213" y="434"/>
                    <a:pt x="213" y="434"/>
                  </a:cubicBezTo>
                  <a:cubicBezTo>
                    <a:pt x="303" y="434"/>
                    <a:pt x="303" y="434"/>
                    <a:pt x="303" y="434"/>
                  </a:cubicBezTo>
                  <a:cubicBezTo>
                    <a:pt x="303" y="434"/>
                    <a:pt x="303" y="434"/>
                    <a:pt x="303" y="434"/>
                  </a:cubicBezTo>
                  <a:cubicBezTo>
                    <a:pt x="306" y="434"/>
                    <a:pt x="306" y="434"/>
                    <a:pt x="306" y="434"/>
                  </a:cubicBezTo>
                  <a:cubicBezTo>
                    <a:pt x="302" y="401"/>
                    <a:pt x="302" y="401"/>
                    <a:pt x="302" y="401"/>
                  </a:cubicBezTo>
                  <a:cubicBezTo>
                    <a:pt x="301" y="396"/>
                    <a:pt x="301" y="394"/>
                    <a:pt x="300" y="390"/>
                  </a:cubicBezTo>
                  <a:cubicBezTo>
                    <a:pt x="300" y="384"/>
                    <a:pt x="300" y="384"/>
                    <a:pt x="300" y="384"/>
                  </a:cubicBezTo>
                  <a:cubicBezTo>
                    <a:pt x="297" y="366"/>
                    <a:pt x="294" y="366"/>
                    <a:pt x="292" y="363"/>
                  </a:cubicBezTo>
                  <a:cubicBezTo>
                    <a:pt x="287" y="356"/>
                    <a:pt x="277" y="349"/>
                    <a:pt x="263" y="346"/>
                  </a:cubicBezTo>
                  <a:cubicBezTo>
                    <a:pt x="235" y="352"/>
                    <a:pt x="235" y="352"/>
                    <a:pt x="235" y="352"/>
                  </a:cubicBezTo>
                  <a:lnTo>
                    <a:pt x="208" y="346"/>
                  </a:lnTo>
                  <a:close/>
                  <a:moveTo>
                    <a:pt x="255" y="334"/>
                  </a:moveTo>
                  <a:cubicBezTo>
                    <a:pt x="260" y="330"/>
                    <a:pt x="264" y="323"/>
                    <a:pt x="265" y="316"/>
                  </a:cubicBezTo>
                  <a:cubicBezTo>
                    <a:pt x="266" y="314"/>
                    <a:pt x="266" y="312"/>
                    <a:pt x="266" y="310"/>
                  </a:cubicBezTo>
                  <a:cubicBezTo>
                    <a:pt x="266" y="292"/>
                    <a:pt x="252" y="278"/>
                    <a:pt x="234" y="278"/>
                  </a:cubicBezTo>
                  <a:cubicBezTo>
                    <a:pt x="216" y="278"/>
                    <a:pt x="202" y="292"/>
                    <a:pt x="202" y="310"/>
                  </a:cubicBezTo>
                  <a:cubicBezTo>
                    <a:pt x="202" y="328"/>
                    <a:pt x="216" y="342"/>
                    <a:pt x="234" y="342"/>
                  </a:cubicBezTo>
                  <a:cubicBezTo>
                    <a:pt x="242" y="342"/>
                    <a:pt x="249" y="339"/>
                    <a:pt x="255" y="334"/>
                  </a:cubicBezTo>
                  <a:moveTo>
                    <a:pt x="51" y="310"/>
                  </a:moveTo>
                  <a:cubicBezTo>
                    <a:pt x="51" y="310"/>
                    <a:pt x="51" y="310"/>
                    <a:pt x="51" y="310"/>
                  </a:cubicBezTo>
                  <a:cubicBezTo>
                    <a:pt x="0" y="310"/>
                    <a:pt x="0" y="310"/>
                    <a:pt x="0" y="310"/>
                  </a:cubicBezTo>
                  <a:cubicBezTo>
                    <a:pt x="5" y="276"/>
                    <a:pt x="5" y="276"/>
                    <a:pt x="5" y="276"/>
                  </a:cubicBezTo>
                  <a:cubicBezTo>
                    <a:pt x="5" y="276"/>
                    <a:pt x="5" y="276"/>
                    <a:pt x="5" y="276"/>
                  </a:cubicBezTo>
                  <a:cubicBezTo>
                    <a:pt x="7" y="259"/>
                    <a:pt x="11" y="246"/>
                    <a:pt x="13" y="242"/>
                  </a:cubicBezTo>
                  <a:cubicBezTo>
                    <a:pt x="15" y="238"/>
                    <a:pt x="18" y="235"/>
                    <a:pt x="23" y="232"/>
                  </a:cubicBezTo>
                  <a:cubicBezTo>
                    <a:pt x="23" y="231"/>
                    <a:pt x="23" y="231"/>
                    <a:pt x="23" y="231"/>
                  </a:cubicBezTo>
                  <a:cubicBezTo>
                    <a:pt x="29" y="227"/>
                    <a:pt x="37" y="224"/>
                    <a:pt x="46" y="222"/>
                  </a:cubicBezTo>
                  <a:cubicBezTo>
                    <a:pt x="73" y="228"/>
                    <a:pt x="73" y="228"/>
                    <a:pt x="73" y="228"/>
                  </a:cubicBezTo>
                  <a:cubicBezTo>
                    <a:pt x="101" y="222"/>
                    <a:pt x="101" y="222"/>
                    <a:pt x="101" y="222"/>
                  </a:cubicBezTo>
                  <a:cubicBezTo>
                    <a:pt x="101" y="222"/>
                    <a:pt x="101" y="222"/>
                    <a:pt x="101" y="222"/>
                  </a:cubicBezTo>
                  <a:cubicBezTo>
                    <a:pt x="99" y="231"/>
                    <a:pt x="98" y="241"/>
                    <a:pt x="98" y="251"/>
                  </a:cubicBezTo>
                  <a:cubicBezTo>
                    <a:pt x="98" y="272"/>
                    <a:pt x="103" y="292"/>
                    <a:pt x="112" y="310"/>
                  </a:cubicBezTo>
                  <a:lnTo>
                    <a:pt x="51" y="310"/>
                  </a:lnTo>
                  <a:close/>
                  <a:moveTo>
                    <a:pt x="114" y="251"/>
                  </a:moveTo>
                  <a:cubicBezTo>
                    <a:pt x="114" y="185"/>
                    <a:pt x="168" y="131"/>
                    <a:pt x="234" y="131"/>
                  </a:cubicBezTo>
                  <a:cubicBezTo>
                    <a:pt x="300" y="131"/>
                    <a:pt x="354" y="185"/>
                    <a:pt x="354" y="251"/>
                  </a:cubicBezTo>
                  <a:cubicBezTo>
                    <a:pt x="354" y="292"/>
                    <a:pt x="333" y="328"/>
                    <a:pt x="302" y="350"/>
                  </a:cubicBezTo>
                  <a:cubicBezTo>
                    <a:pt x="296" y="343"/>
                    <a:pt x="287" y="337"/>
                    <a:pt x="276" y="333"/>
                  </a:cubicBezTo>
                  <a:cubicBezTo>
                    <a:pt x="278" y="329"/>
                    <a:pt x="280" y="324"/>
                    <a:pt x="281" y="319"/>
                  </a:cubicBezTo>
                  <a:cubicBezTo>
                    <a:pt x="282" y="316"/>
                    <a:pt x="282" y="313"/>
                    <a:pt x="282" y="310"/>
                  </a:cubicBezTo>
                  <a:cubicBezTo>
                    <a:pt x="282" y="284"/>
                    <a:pt x="260" y="262"/>
                    <a:pt x="234" y="262"/>
                  </a:cubicBezTo>
                  <a:cubicBezTo>
                    <a:pt x="208" y="262"/>
                    <a:pt x="186" y="284"/>
                    <a:pt x="186" y="310"/>
                  </a:cubicBezTo>
                  <a:cubicBezTo>
                    <a:pt x="186" y="319"/>
                    <a:pt x="188" y="327"/>
                    <a:pt x="192" y="334"/>
                  </a:cubicBezTo>
                  <a:cubicBezTo>
                    <a:pt x="187" y="336"/>
                    <a:pt x="181" y="339"/>
                    <a:pt x="177" y="342"/>
                  </a:cubicBezTo>
                  <a:cubicBezTo>
                    <a:pt x="169" y="346"/>
                    <a:pt x="169" y="346"/>
                    <a:pt x="169" y="346"/>
                  </a:cubicBezTo>
                  <a:cubicBezTo>
                    <a:pt x="169" y="348"/>
                    <a:pt x="169" y="348"/>
                    <a:pt x="169" y="348"/>
                  </a:cubicBezTo>
                  <a:cubicBezTo>
                    <a:pt x="168" y="348"/>
                    <a:pt x="167" y="349"/>
                    <a:pt x="167" y="350"/>
                  </a:cubicBezTo>
                  <a:cubicBezTo>
                    <a:pt x="135" y="329"/>
                    <a:pt x="114" y="292"/>
                    <a:pt x="114" y="251"/>
                  </a:cubicBez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grpSp>
        <p:nvGrpSpPr>
          <p:cNvPr id="325" name="Group 137">
            <a:extLst>
              <a:ext uri="{FF2B5EF4-FFF2-40B4-BE49-F238E27FC236}">
                <a16:creationId xmlns:a16="http://schemas.microsoft.com/office/drawing/2014/main" xmlns="" id="{461D63CE-E9F0-4462-A047-1E96E22B063F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82119" y="3241969"/>
            <a:ext cx="406516" cy="405399"/>
            <a:chOff x="2375" y="2275"/>
            <a:chExt cx="364" cy="363"/>
          </a:xfrm>
          <a:effectLst>
            <a:outerShdw blurRad="101600" dist="76200" dir="2700000" algn="ctr" rotWithShape="0">
              <a:srgbClr val="000000">
                <a:alpha val="29000"/>
              </a:srgbClr>
            </a:outerShdw>
          </a:effectLst>
        </p:grpSpPr>
        <p:sp>
          <p:nvSpPr>
            <p:cNvPr id="326" name="AutoShape 136">
              <a:extLst>
                <a:ext uri="{FF2B5EF4-FFF2-40B4-BE49-F238E27FC236}">
                  <a16:creationId xmlns:a16="http://schemas.microsoft.com/office/drawing/2014/main" xmlns="" id="{CD9C0200-EDD5-4CCE-BAA4-5DC9033669FF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375" y="2275"/>
              <a:ext cx="364" cy="3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27" name="Oval 138">
              <a:extLst>
                <a:ext uri="{FF2B5EF4-FFF2-40B4-BE49-F238E27FC236}">
                  <a16:creationId xmlns:a16="http://schemas.microsoft.com/office/drawing/2014/main" xmlns="" id="{98B3FC4D-FA73-4E30-8D7E-51966C68199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76" y="2275"/>
              <a:ext cx="363" cy="362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28" name="Freeform 139">
              <a:extLst>
                <a:ext uri="{FF2B5EF4-FFF2-40B4-BE49-F238E27FC236}">
                  <a16:creationId xmlns:a16="http://schemas.microsoft.com/office/drawing/2014/main" xmlns="" id="{566D952B-2BA6-4909-84F1-722B3FB7F44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98" y="2296"/>
              <a:ext cx="320" cy="319"/>
            </a:xfrm>
            <a:custGeom>
              <a:avLst/>
              <a:gdLst>
                <a:gd name="T0" fmla="*/ 120 w 240"/>
                <a:gd name="T1" fmla="*/ 0 h 240"/>
                <a:gd name="T2" fmla="*/ 0 w 240"/>
                <a:gd name="T3" fmla="*/ 120 h 240"/>
                <a:gd name="T4" fmla="*/ 120 w 240"/>
                <a:gd name="T5" fmla="*/ 240 h 240"/>
                <a:gd name="T6" fmla="*/ 240 w 240"/>
                <a:gd name="T7" fmla="*/ 120 h 240"/>
                <a:gd name="T8" fmla="*/ 120 w 240"/>
                <a:gd name="T9" fmla="*/ 0 h 240"/>
                <a:gd name="T10" fmla="*/ 95 w 240"/>
                <a:gd name="T11" fmla="*/ 211 h 240"/>
                <a:gd name="T12" fmla="*/ 122 w 240"/>
                <a:gd name="T13" fmla="*/ 123 h 240"/>
                <a:gd name="T14" fmla="*/ 67 w 240"/>
                <a:gd name="T15" fmla="*/ 132 h 240"/>
                <a:gd name="T16" fmla="*/ 121 w 240"/>
                <a:gd name="T17" fmla="*/ 29 h 240"/>
                <a:gd name="T18" fmla="*/ 167 w 240"/>
                <a:gd name="T19" fmla="*/ 34 h 240"/>
                <a:gd name="T20" fmla="*/ 118 w 240"/>
                <a:gd name="T21" fmla="*/ 99 h 240"/>
                <a:gd name="T22" fmla="*/ 173 w 240"/>
                <a:gd name="T23" fmla="*/ 96 h 240"/>
                <a:gd name="T24" fmla="*/ 95 w 240"/>
                <a:gd name="T25" fmla="*/ 211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40" h="240">
                  <a:moveTo>
                    <a:pt x="120" y="0"/>
                  </a:moveTo>
                  <a:cubicBezTo>
                    <a:pt x="54" y="0"/>
                    <a:pt x="0" y="54"/>
                    <a:pt x="0" y="120"/>
                  </a:cubicBezTo>
                  <a:cubicBezTo>
                    <a:pt x="0" y="186"/>
                    <a:pt x="54" y="240"/>
                    <a:pt x="120" y="240"/>
                  </a:cubicBezTo>
                  <a:cubicBezTo>
                    <a:pt x="186" y="240"/>
                    <a:pt x="240" y="186"/>
                    <a:pt x="240" y="120"/>
                  </a:cubicBezTo>
                  <a:cubicBezTo>
                    <a:pt x="240" y="54"/>
                    <a:pt x="186" y="0"/>
                    <a:pt x="120" y="0"/>
                  </a:cubicBezTo>
                  <a:close/>
                  <a:moveTo>
                    <a:pt x="95" y="211"/>
                  </a:moveTo>
                  <a:cubicBezTo>
                    <a:pt x="122" y="123"/>
                    <a:pt x="122" y="123"/>
                    <a:pt x="122" y="123"/>
                  </a:cubicBezTo>
                  <a:cubicBezTo>
                    <a:pt x="67" y="132"/>
                    <a:pt x="67" y="132"/>
                    <a:pt x="67" y="132"/>
                  </a:cubicBezTo>
                  <a:cubicBezTo>
                    <a:pt x="121" y="29"/>
                    <a:pt x="121" y="29"/>
                    <a:pt x="121" y="29"/>
                  </a:cubicBezTo>
                  <a:cubicBezTo>
                    <a:pt x="167" y="34"/>
                    <a:pt x="167" y="34"/>
                    <a:pt x="167" y="34"/>
                  </a:cubicBezTo>
                  <a:cubicBezTo>
                    <a:pt x="118" y="99"/>
                    <a:pt x="118" y="99"/>
                    <a:pt x="118" y="99"/>
                  </a:cubicBezTo>
                  <a:cubicBezTo>
                    <a:pt x="173" y="96"/>
                    <a:pt x="173" y="96"/>
                    <a:pt x="173" y="96"/>
                  </a:cubicBezTo>
                  <a:lnTo>
                    <a:pt x="95" y="211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grpSp>
        <p:nvGrpSpPr>
          <p:cNvPr id="329" name="Group 142">
            <a:extLst>
              <a:ext uri="{FF2B5EF4-FFF2-40B4-BE49-F238E27FC236}">
                <a16:creationId xmlns:a16="http://schemas.microsoft.com/office/drawing/2014/main" xmlns="" id="{80B4C104-D468-42DF-A53A-93C39A0B69EB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922555" y="3242102"/>
            <a:ext cx="254631" cy="397582"/>
            <a:chOff x="2891" y="2291"/>
            <a:chExt cx="228" cy="356"/>
          </a:xfrm>
          <a:effectLst>
            <a:outerShdw blurRad="101600" dist="76200" dir="2700000" algn="ctr" rotWithShape="0">
              <a:srgbClr val="000000">
                <a:alpha val="29000"/>
              </a:srgbClr>
            </a:outerShdw>
          </a:effectLst>
        </p:grpSpPr>
        <p:sp>
          <p:nvSpPr>
            <p:cNvPr id="330" name="AutoShape 141">
              <a:extLst>
                <a:ext uri="{FF2B5EF4-FFF2-40B4-BE49-F238E27FC236}">
                  <a16:creationId xmlns:a16="http://schemas.microsoft.com/office/drawing/2014/main" xmlns="" id="{386F41CD-5053-4543-AD93-CD404CFE1386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891" y="2291"/>
              <a:ext cx="228" cy="35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31" name="Freeform 143">
              <a:extLst>
                <a:ext uri="{FF2B5EF4-FFF2-40B4-BE49-F238E27FC236}">
                  <a16:creationId xmlns:a16="http://schemas.microsoft.com/office/drawing/2014/main" xmlns="" id="{11B22453-8E31-4A67-99B6-6C9287CD73CB}"/>
                </a:ext>
              </a:extLst>
            </p:cNvPr>
            <p:cNvSpPr>
              <a:spLocks/>
            </p:cNvSpPr>
            <p:nvPr/>
          </p:nvSpPr>
          <p:spPr bwMode="auto">
            <a:xfrm>
              <a:off x="2891" y="2291"/>
              <a:ext cx="231" cy="357"/>
            </a:xfrm>
            <a:custGeom>
              <a:avLst/>
              <a:gdLst>
                <a:gd name="T0" fmla="*/ 149 w 152"/>
                <a:gd name="T1" fmla="*/ 83 h 235"/>
                <a:gd name="T2" fmla="*/ 134 w 152"/>
                <a:gd name="T3" fmla="*/ 75 h 235"/>
                <a:gd name="T4" fmla="*/ 108 w 152"/>
                <a:gd name="T5" fmla="*/ 77 h 235"/>
                <a:gd name="T6" fmla="*/ 141 w 152"/>
                <a:gd name="T7" fmla="*/ 32 h 235"/>
                <a:gd name="T8" fmla="*/ 143 w 152"/>
                <a:gd name="T9" fmla="*/ 16 h 235"/>
                <a:gd name="T10" fmla="*/ 130 w 152"/>
                <a:gd name="T11" fmla="*/ 7 h 235"/>
                <a:gd name="T12" fmla="*/ 78 w 152"/>
                <a:gd name="T13" fmla="*/ 1 h 235"/>
                <a:gd name="T14" fmla="*/ 62 w 152"/>
                <a:gd name="T15" fmla="*/ 10 h 235"/>
                <a:gd name="T16" fmla="*/ 3 w 152"/>
                <a:gd name="T17" fmla="*/ 123 h 235"/>
                <a:gd name="T18" fmla="*/ 4 w 152"/>
                <a:gd name="T19" fmla="*/ 140 h 235"/>
                <a:gd name="T20" fmla="*/ 20 w 152"/>
                <a:gd name="T21" fmla="*/ 147 h 235"/>
                <a:gd name="T22" fmla="*/ 55 w 152"/>
                <a:gd name="T23" fmla="*/ 141 h 235"/>
                <a:gd name="T24" fmla="*/ 33 w 152"/>
                <a:gd name="T25" fmla="*/ 215 h 235"/>
                <a:gd name="T26" fmla="*/ 41 w 152"/>
                <a:gd name="T27" fmla="*/ 234 h 235"/>
                <a:gd name="T28" fmla="*/ 48 w 152"/>
                <a:gd name="T29" fmla="*/ 235 h 235"/>
                <a:gd name="T30" fmla="*/ 61 w 152"/>
                <a:gd name="T31" fmla="*/ 228 h 235"/>
                <a:gd name="T32" fmla="*/ 148 w 152"/>
                <a:gd name="T33" fmla="*/ 100 h 235"/>
                <a:gd name="T34" fmla="*/ 149 w 152"/>
                <a:gd name="T35" fmla="*/ 83 h 2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235">
                  <a:moveTo>
                    <a:pt x="149" y="83"/>
                  </a:moveTo>
                  <a:cubicBezTo>
                    <a:pt x="146" y="78"/>
                    <a:pt x="140" y="75"/>
                    <a:pt x="134" y="75"/>
                  </a:cubicBezTo>
                  <a:cubicBezTo>
                    <a:pt x="108" y="77"/>
                    <a:pt x="108" y="77"/>
                    <a:pt x="108" y="77"/>
                  </a:cubicBezTo>
                  <a:cubicBezTo>
                    <a:pt x="141" y="32"/>
                    <a:pt x="141" y="32"/>
                    <a:pt x="141" y="32"/>
                  </a:cubicBezTo>
                  <a:cubicBezTo>
                    <a:pt x="144" y="28"/>
                    <a:pt x="145" y="22"/>
                    <a:pt x="143" y="16"/>
                  </a:cubicBezTo>
                  <a:cubicBezTo>
                    <a:pt x="141" y="11"/>
                    <a:pt x="136" y="8"/>
                    <a:pt x="130" y="7"/>
                  </a:cubicBezTo>
                  <a:cubicBezTo>
                    <a:pt x="78" y="1"/>
                    <a:pt x="78" y="1"/>
                    <a:pt x="78" y="1"/>
                  </a:cubicBezTo>
                  <a:cubicBezTo>
                    <a:pt x="72" y="0"/>
                    <a:pt x="65" y="4"/>
                    <a:pt x="62" y="10"/>
                  </a:cubicBezTo>
                  <a:cubicBezTo>
                    <a:pt x="3" y="123"/>
                    <a:pt x="3" y="123"/>
                    <a:pt x="3" y="123"/>
                  </a:cubicBezTo>
                  <a:cubicBezTo>
                    <a:pt x="0" y="129"/>
                    <a:pt x="1" y="135"/>
                    <a:pt x="4" y="140"/>
                  </a:cubicBezTo>
                  <a:cubicBezTo>
                    <a:pt x="8" y="145"/>
                    <a:pt x="14" y="148"/>
                    <a:pt x="20" y="147"/>
                  </a:cubicBezTo>
                  <a:cubicBezTo>
                    <a:pt x="55" y="141"/>
                    <a:pt x="55" y="141"/>
                    <a:pt x="55" y="141"/>
                  </a:cubicBezTo>
                  <a:cubicBezTo>
                    <a:pt x="33" y="215"/>
                    <a:pt x="33" y="215"/>
                    <a:pt x="33" y="215"/>
                  </a:cubicBezTo>
                  <a:cubicBezTo>
                    <a:pt x="30" y="222"/>
                    <a:pt x="34" y="230"/>
                    <a:pt x="41" y="234"/>
                  </a:cubicBezTo>
                  <a:cubicBezTo>
                    <a:pt x="43" y="235"/>
                    <a:pt x="46" y="235"/>
                    <a:pt x="48" y="235"/>
                  </a:cubicBezTo>
                  <a:cubicBezTo>
                    <a:pt x="53" y="235"/>
                    <a:pt x="58" y="233"/>
                    <a:pt x="61" y="228"/>
                  </a:cubicBezTo>
                  <a:cubicBezTo>
                    <a:pt x="148" y="100"/>
                    <a:pt x="148" y="100"/>
                    <a:pt x="148" y="100"/>
                  </a:cubicBezTo>
                  <a:cubicBezTo>
                    <a:pt x="152" y="95"/>
                    <a:pt x="152" y="89"/>
                    <a:pt x="149" y="8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32" name="Freeform 144">
              <a:extLst>
                <a:ext uri="{FF2B5EF4-FFF2-40B4-BE49-F238E27FC236}">
                  <a16:creationId xmlns:a16="http://schemas.microsoft.com/office/drawing/2014/main" xmlns="" id="{AB0865F3-B834-456D-8FB8-37AD08F02D6D}"/>
                </a:ext>
              </a:extLst>
            </p:cNvPr>
            <p:cNvSpPr>
              <a:spLocks/>
            </p:cNvSpPr>
            <p:nvPr/>
          </p:nvSpPr>
          <p:spPr bwMode="auto">
            <a:xfrm>
              <a:off x="2917" y="2317"/>
              <a:ext cx="179" cy="307"/>
            </a:xfrm>
            <a:custGeom>
              <a:avLst/>
              <a:gdLst>
                <a:gd name="T0" fmla="*/ 179 w 179"/>
                <a:gd name="T1" fmla="*/ 112 h 307"/>
                <a:gd name="T2" fmla="*/ 86 w 179"/>
                <a:gd name="T3" fmla="*/ 119 h 307"/>
                <a:gd name="T4" fmla="*/ 169 w 179"/>
                <a:gd name="T5" fmla="*/ 9 h 307"/>
                <a:gd name="T6" fmla="*/ 91 w 179"/>
                <a:gd name="T7" fmla="*/ 0 h 307"/>
                <a:gd name="T8" fmla="*/ 0 w 179"/>
                <a:gd name="T9" fmla="*/ 173 h 307"/>
                <a:gd name="T10" fmla="*/ 93 w 179"/>
                <a:gd name="T11" fmla="*/ 158 h 307"/>
                <a:gd name="T12" fmla="*/ 47 w 179"/>
                <a:gd name="T13" fmla="*/ 307 h 307"/>
                <a:gd name="T14" fmla="*/ 179 w 179"/>
                <a:gd name="T15" fmla="*/ 112 h 3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9" h="307">
                  <a:moveTo>
                    <a:pt x="179" y="112"/>
                  </a:moveTo>
                  <a:lnTo>
                    <a:pt x="86" y="119"/>
                  </a:lnTo>
                  <a:lnTo>
                    <a:pt x="169" y="9"/>
                  </a:lnTo>
                  <a:lnTo>
                    <a:pt x="91" y="0"/>
                  </a:lnTo>
                  <a:lnTo>
                    <a:pt x="0" y="173"/>
                  </a:lnTo>
                  <a:lnTo>
                    <a:pt x="93" y="158"/>
                  </a:lnTo>
                  <a:lnTo>
                    <a:pt x="47" y="307"/>
                  </a:lnTo>
                  <a:lnTo>
                    <a:pt x="179" y="112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grpSp>
        <p:nvGrpSpPr>
          <p:cNvPr id="333" name="Group 127">
            <a:extLst>
              <a:ext uri="{FF2B5EF4-FFF2-40B4-BE49-F238E27FC236}">
                <a16:creationId xmlns:a16="http://schemas.microsoft.com/office/drawing/2014/main" xmlns="" id="{364E7FCB-F473-4869-B9D4-E4EF274338AC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310802" y="3272611"/>
            <a:ext cx="377689" cy="377689"/>
            <a:chOff x="1249" y="2275"/>
            <a:chExt cx="388" cy="388"/>
          </a:xfrm>
          <a:effectLst>
            <a:outerShdw blurRad="101600" dist="76200" dir="2700000" algn="ctr" rotWithShape="0">
              <a:srgbClr val="000000">
                <a:alpha val="29000"/>
              </a:srgbClr>
            </a:outerShdw>
          </a:effectLst>
        </p:grpSpPr>
        <p:sp>
          <p:nvSpPr>
            <p:cNvPr id="334" name="AutoShape 126">
              <a:extLst>
                <a:ext uri="{FF2B5EF4-FFF2-40B4-BE49-F238E27FC236}">
                  <a16:creationId xmlns:a16="http://schemas.microsoft.com/office/drawing/2014/main" xmlns="" id="{C3C817C2-415D-4C6A-807D-3EC68E28D8BD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249" y="2275"/>
              <a:ext cx="388" cy="3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35" name="Oval 128">
              <a:extLst>
                <a:ext uri="{FF2B5EF4-FFF2-40B4-BE49-F238E27FC236}">
                  <a16:creationId xmlns:a16="http://schemas.microsoft.com/office/drawing/2014/main" xmlns="" id="{2C655DDD-A2F3-4DED-82CE-D6F563CCE0A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0" y="2275"/>
              <a:ext cx="387" cy="387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36" name="Freeform 129">
              <a:extLst>
                <a:ext uri="{FF2B5EF4-FFF2-40B4-BE49-F238E27FC236}">
                  <a16:creationId xmlns:a16="http://schemas.microsoft.com/office/drawing/2014/main" xmlns="" id="{8B367C32-2290-41D9-9F1A-D67E7D4585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73" y="2298"/>
              <a:ext cx="341" cy="341"/>
            </a:xfrm>
            <a:custGeom>
              <a:avLst/>
              <a:gdLst>
                <a:gd name="T0" fmla="*/ 120 w 240"/>
                <a:gd name="T1" fmla="*/ 0 h 240"/>
                <a:gd name="T2" fmla="*/ 0 w 240"/>
                <a:gd name="T3" fmla="*/ 120 h 240"/>
                <a:gd name="T4" fmla="*/ 120 w 240"/>
                <a:gd name="T5" fmla="*/ 240 h 240"/>
                <a:gd name="T6" fmla="*/ 240 w 240"/>
                <a:gd name="T7" fmla="*/ 120 h 240"/>
                <a:gd name="T8" fmla="*/ 120 w 240"/>
                <a:gd name="T9" fmla="*/ 0 h 240"/>
                <a:gd name="T10" fmla="*/ 136 w 240"/>
                <a:gd name="T11" fmla="*/ 198 h 240"/>
                <a:gd name="T12" fmla="*/ 103 w 240"/>
                <a:gd name="T13" fmla="*/ 198 h 240"/>
                <a:gd name="T14" fmla="*/ 103 w 240"/>
                <a:gd name="T15" fmla="*/ 166 h 240"/>
                <a:gd name="T16" fmla="*/ 136 w 240"/>
                <a:gd name="T17" fmla="*/ 166 h 240"/>
                <a:gd name="T18" fmla="*/ 136 w 240"/>
                <a:gd name="T19" fmla="*/ 198 h 240"/>
                <a:gd name="T20" fmla="*/ 134 w 240"/>
                <a:gd name="T21" fmla="*/ 153 h 240"/>
                <a:gd name="T22" fmla="*/ 106 w 240"/>
                <a:gd name="T23" fmla="*/ 153 h 240"/>
                <a:gd name="T24" fmla="*/ 94 w 240"/>
                <a:gd name="T25" fmla="*/ 51 h 240"/>
                <a:gd name="T26" fmla="*/ 121 w 240"/>
                <a:gd name="T27" fmla="*/ 45 h 240"/>
                <a:gd name="T28" fmla="*/ 146 w 240"/>
                <a:gd name="T29" fmla="*/ 51 h 240"/>
                <a:gd name="T30" fmla="*/ 134 w 240"/>
                <a:gd name="T31" fmla="*/ 153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40" h="240">
                  <a:moveTo>
                    <a:pt x="120" y="0"/>
                  </a:moveTo>
                  <a:cubicBezTo>
                    <a:pt x="54" y="0"/>
                    <a:pt x="0" y="54"/>
                    <a:pt x="0" y="120"/>
                  </a:cubicBezTo>
                  <a:cubicBezTo>
                    <a:pt x="0" y="186"/>
                    <a:pt x="54" y="240"/>
                    <a:pt x="120" y="240"/>
                  </a:cubicBezTo>
                  <a:cubicBezTo>
                    <a:pt x="186" y="240"/>
                    <a:pt x="240" y="186"/>
                    <a:pt x="240" y="120"/>
                  </a:cubicBezTo>
                  <a:cubicBezTo>
                    <a:pt x="240" y="54"/>
                    <a:pt x="186" y="0"/>
                    <a:pt x="120" y="0"/>
                  </a:cubicBezTo>
                  <a:close/>
                  <a:moveTo>
                    <a:pt x="136" y="198"/>
                  </a:moveTo>
                  <a:cubicBezTo>
                    <a:pt x="103" y="198"/>
                    <a:pt x="103" y="198"/>
                    <a:pt x="103" y="198"/>
                  </a:cubicBezTo>
                  <a:cubicBezTo>
                    <a:pt x="103" y="166"/>
                    <a:pt x="103" y="166"/>
                    <a:pt x="103" y="166"/>
                  </a:cubicBezTo>
                  <a:cubicBezTo>
                    <a:pt x="136" y="166"/>
                    <a:pt x="136" y="166"/>
                    <a:pt x="136" y="166"/>
                  </a:cubicBezTo>
                  <a:lnTo>
                    <a:pt x="136" y="198"/>
                  </a:lnTo>
                  <a:close/>
                  <a:moveTo>
                    <a:pt x="134" y="153"/>
                  </a:moveTo>
                  <a:cubicBezTo>
                    <a:pt x="106" y="153"/>
                    <a:pt x="106" y="153"/>
                    <a:pt x="106" y="153"/>
                  </a:cubicBezTo>
                  <a:cubicBezTo>
                    <a:pt x="94" y="51"/>
                    <a:pt x="94" y="51"/>
                    <a:pt x="94" y="51"/>
                  </a:cubicBezTo>
                  <a:cubicBezTo>
                    <a:pt x="94" y="51"/>
                    <a:pt x="103" y="45"/>
                    <a:pt x="121" y="45"/>
                  </a:cubicBezTo>
                  <a:cubicBezTo>
                    <a:pt x="138" y="45"/>
                    <a:pt x="146" y="51"/>
                    <a:pt x="146" y="51"/>
                  </a:cubicBezTo>
                  <a:lnTo>
                    <a:pt x="134" y="153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grpSp>
        <p:nvGrpSpPr>
          <p:cNvPr id="337" name="Group 132">
            <a:extLst>
              <a:ext uri="{FF2B5EF4-FFF2-40B4-BE49-F238E27FC236}">
                <a16:creationId xmlns:a16="http://schemas.microsoft.com/office/drawing/2014/main" xmlns="" id="{E730CEFC-D396-4A94-B055-F2A69C082090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831532" y="3252380"/>
            <a:ext cx="376716" cy="377689"/>
            <a:chOff x="1674" y="2275"/>
            <a:chExt cx="387" cy="388"/>
          </a:xfrm>
          <a:effectLst>
            <a:outerShdw blurRad="101600" dist="76200" dir="2700000" algn="ctr" rotWithShape="0">
              <a:srgbClr val="000000">
                <a:alpha val="29000"/>
              </a:srgbClr>
            </a:outerShdw>
          </a:effectLst>
        </p:grpSpPr>
        <p:sp>
          <p:nvSpPr>
            <p:cNvPr id="338" name="AutoShape 131">
              <a:extLst>
                <a:ext uri="{FF2B5EF4-FFF2-40B4-BE49-F238E27FC236}">
                  <a16:creationId xmlns:a16="http://schemas.microsoft.com/office/drawing/2014/main" xmlns="" id="{7F407D2B-6090-4BC2-9AEF-F9B11061F3FD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74" y="2275"/>
              <a:ext cx="387" cy="3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39" name="Oval 133">
              <a:extLst>
                <a:ext uri="{FF2B5EF4-FFF2-40B4-BE49-F238E27FC236}">
                  <a16:creationId xmlns:a16="http://schemas.microsoft.com/office/drawing/2014/main" xmlns="" id="{491511F2-1C1F-4F9F-BFD0-DFC3098B914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74" y="2275"/>
              <a:ext cx="386" cy="387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40" name="Freeform 134">
              <a:extLst>
                <a:ext uri="{FF2B5EF4-FFF2-40B4-BE49-F238E27FC236}">
                  <a16:creationId xmlns:a16="http://schemas.microsoft.com/office/drawing/2014/main" xmlns="" id="{86E96D40-E917-4BCD-8927-A1C448C5E16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97" y="2298"/>
              <a:ext cx="340" cy="341"/>
            </a:xfrm>
            <a:custGeom>
              <a:avLst/>
              <a:gdLst>
                <a:gd name="T0" fmla="*/ 120 w 240"/>
                <a:gd name="T1" fmla="*/ 0 h 240"/>
                <a:gd name="T2" fmla="*/ 0 w 240"/>
                <a:gd name="T3" fmla="*/ 120 h 240"/>
                <a:gd name="T4" fmla="*/ 120 w 240"/>
                <a:gd name="T5" fmla="*/ 240 h 240"/>
                <a:gd name="T6" fmla="*/ 240 w 240"/>
                <a:gd name="T7" fmla="*/ 120 h 240"/>
                <a:gd name="T8" fmla="*/ 120 w 240"/>
                <a:gd name="T9" fmla="*/ 0 h 240"/>
                <a:gd name="T10" fmla="*/ 120 w 240"/>
                <a:gd name="T11" fmla="*/ 219 h 240"/>
                <a:gd name="T12" fmla="*/ 21 w 240"/>
                <a:gd name="T13" fmla="*/ 120 h 240"/>
                <a:gd name="T14" fmla="*/ 120 w 240"/>
                <a:gd name="T15" fmla="*/ 21 h 240"/>
                <a:gd name="T16" fmla="*/ 219 w 240"/>
                <a:gd name="T17" fmla="*/ 120 h 240"/>
                <a:gd name="T18" fmla="*/ 120 w 240"/>
                <a:gd name="T19" fmla="*/ 219 h 240"/>
                <a:gd name="T20" fmla="*/ 136 w 240"/>
                <a:gd name="T21" fmla="*/ 198 h 240"/>
                <a:gd name="T22" fmla="*/ 103 w 240"/>
                <a:gd name="T23" fmla="*/ 198 h 240"/>
                <a:gd name="T24" fmla="*/ 103 w 240"/>
                <a:gd name="T25" fmla="*/ 166 h 240"/>
                <a:gd name="T26" fmla="*/ 136 w 240"/>
                <a:gd name="T27" fmla="*/ 166 h 240"/>
                <a:gd name="T28" fmla="*/ 136 w 240"/>
                <a:gd name="T29" fmla="*/ 198 h 240"/>
                <a:gd name="T30" fmla="*/ 94 w 240"/>
                <a:gd name="T31" fmla="*/ 51 h 240"/>
                <a:gd name="T32" fmla="*/ 121 w 240"/>
                <a:gd name="T33" fmla="*/ 45 h 240"/>
                <a:gd name="T34" fmla="*/ 146 w 240"/>
                <a:gd name="T35" fmla="*/ 51 h 240"/>
                <a:gd name="T36" fmla="*/ 134 w 240"/>
                <a:gd name="T37" fmla="*/ 153 h 240"/>
                <a:gd name="T38" fmla="*/ 106 w 240"/>
                <a:gd name="T39" fmla="*/ 153 h 240"/>
                <a:gd name="T40" fmla="*/ 94 w 240"/>
                <a:gd name="T41" fmla="*/ 51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40" h="240">
                  <a:moveTo>
                    <a:pt x="120" y="0"/>
                  </a:moveTo>
                  <a:cubicBezTo>
                    <a:pt x="54" y="0"/>
                    <a:pt x="0" y="54"/>
                    <a:pt x="0" y="120"/>
                  </a:cubicBezTo>
                  <a:cubicBezTo>
                    <a:pt x="0" y="186"/>
                    <a:pt x="54" y="240"/>
                    <a:pt x="120" y="240"/>
                  </a:cubicBezTo>
                  <a:cubicBezTo>
                    <a:pt x="186" y="240"/>
                    <a:pt x="240" y="186"/>
                    <a:pt x="240" y="120"/>
                  </a:cubicBezTo>
                  <a:cubicBezTo>
                    <a:pt x="240" y="54"/>
                    <a:pt x="186" y="0"/>
                    <a:pt x="120" y="0"/>
                  </a:cubicBezTo>
                  <a:close/>
                  <a:moveTo>
                    <a:pt x="120" y="219"/>
                  </a:moveTo>
                  <a:cubicBezTo>
                    <a:pt x="65" y="219"/>
                    <a:pt x="21" y="175"/>
                    <a:pt x="21" y="120"/>
                  </a:cubicBezTo>
                  <a:cubicBezTo>
                    <a:pt x="21" y="65"/>
                    <a:pt x="65" y="21"/>
                    <a:pt x="120" y="21"/>
                  </a:cubicBezTo>
                  <a:cubicBezTo>
                    <a:pt x="175" y="21"/>
                    <a:pt x="219" y="65"/>
                    <a:pt x="219" y="120"/>
                  </a:cubicBezTo>
                  <a:cubicBezTo>
                    <a:pt x="219" y="175"/>
                    <a:pt x="175" y="219"/>
                    <a:pt x="120" y="219"/>
                  </a:cubicBezTo>
                  <a:close/>
                  <a:moveTo>
                    <a:pt x="136" y="198"/>
                  </a:moveTo>
                  <a:cubicBezTo>
                    <a:pt x="103" y="198"/>
                    <a:pt x="103" y="198"/>
                    <a:pt x="103" y="198"/>
                  </a:cubicBezTo>
                  <a:cubicBezTo>
                    <a:pt x="103" y="166"/>
                    <a:pt x="103" y="166"/>
                    <a:pt x="103" y="166"/>
                  </a:cubicBezTo>
                  <a:cubicBezTo>
                    <a:pt x="136" y="166"/>
                    <a:pt x="136" y="166"/>
                    <a:pt x="136" y="166"/>
                  </a:cubicBezTo>
                  <a:lnTo>
                    <a:pt x="136" y="198"/>
                  </a:lnTo>
                  <a:close/>
                  <a:moveTo>
                    <a:pt x="94" y="51"/>
                  </a:moveTo>
                  <a:cubicBezTo>
                    <a:pt x="94" y="51"/>
                    <a:pt x="103" y="45"/>
                    <a:pt x="121" y="45"/>
                  </a:cubicBezTo>
                  <a:cubicBezTo>
                    <a:pt x="138" y="45"/>
                    <a:pt x="146" y="51"/>
                    <a:pt x="146" y="51"/>
                  </a:cubicBezTo>
                  <a:cubicBezTo>
                    <a:pt x="134" y="153"/>
                    <a:pt x="134" y="153"/>
                    <a:pt x="134" y="153"/>
                  </a:cubicBezTo>
                  <a:cubicBezTo>
                    <a:pt x="106" y="153"/>
                    <a:pt x="106" y="153"/>
                    <a:pt x="106" y="153"/>
                  </a:cubicBezTo>
                  <a:lnTo>
                    <a:pt x="94" y="51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grpSp>
        <p:nvGrpSpPr>
          <p:cNvPr id="341" name="Group 23">
            <a:extLst>
              <a:ext uri="{FF2B5EF4-FFF2-40B4-BE49-F238E27FC236}">
                <a16:creationId xmlns:a16="http://schemas.microsoft.com/office/drawing/2014/main" xmlns="" id="{63A4BD8E-92BD-4EA9-855F-4FC1E3B1502B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542380" y="3432837"/>
            <a:ext cx="377690" cy="377690"/>
            <a:chOff x="1511" y="948"/>
            <a:chExt cx="412" cy="412"/>
          </a:xfrm>
          <a:effectLst>
            <a:outerShdw blurRad="101600" dist="76200" dir="2700000" algn="ctr" rotWithShape="0">
              <a:srgbClr val="000000">
                <a:alpha val="29000"/>
              </a:srgbClr>
            </a:outerShdw>
          </a:effectLst>
        </p:grpSpPr>
        <p:sp>
          <p:nvSpPr>
            <p:cNvPr id="342" name="AutoShape 22">
              <a:extLst>
                <a:ext uri="{FF2B5EF4-FFF2-40B4-BE49-F238E27FC236}">
                  <a16:creationId xmlns:a16="http://schemas.microsoft.com/office/drawing/2014/main" xmlns="" id="{3FD87494-E26A-4CD2-BDCD-D04F60422E74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511" y="948"/>
              <a:ext cx="412" cy="4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43" name="Oval 24">
              <a:extLst>
                <a:ext uri="{FF2B5EF4-FFF2-40B4-BE49-F238E27FC236}">
                  <a16:creationId xmlns:a16="http://schemas.microsoft.com/office/drawing/2014/main" xmlns="" id="{BEA9E0BD-93F4-442F-AA8E-BF334F1507E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12" y="949"/>
              <a:ext cx="412" cy="412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44" name="Freeform 25">
              <a:extLst>
                <a:ext uri="{FF2B5EF4-FFF2-40B4-BE49-F238E27FC236}">
                  <a16:creationId xmlns:a16="http://schemas.microsoft.com/office/drawing/2014/main" xmlns="" id="{84D49982-98D2-403B-9EBD-F52BAFD6DF9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37" y="974"/>
              <a:ext cx="362" cy="362"/>
            </a:xfrm>
            <a:custGeom>
              <a:avLst/>
              <a:gdLst>
                <a:gd name="T0" fmla="*/ 200 w 400"/>
                <a:gd name="T1" fmla="*/ 0 h 400"/>
                <a:gd name="T2" fmla="*/ 0 w 400"/>
                <a:gd name="T3" fmla="*/ 200 h 400"/>
                <a:gd name="T4" fmla="*/ 200 w 400"/>
                <a:gd name="T5" fmla="*/ 400 h 400"/>
                <a:gd name="T6" fmla="*/ 400 w 400"/>
                <a:gd name="T7" fmla="*/ 200 h 400"/>
                <a:gd name="T8" fmla="*/ 200 w 400"/>
                <a:gd name="T9" fmla="*/ 0 h 400"/>
                <a:gd name="T10" fmla="*/ 268 w 400"/>
                <a:gd name="T11" fmla="*/ 122 h 400"/>
                <a:gd name="T12" fmla="*/ 302 w 400"/>
                <a:gd name="T13" fmla="*/ 156 h 400"/>
                <a:gd name="T14" fmla="*/ 268 w 400"/>
                <a:gd name="T15" fmla="*/ 190 h 400"/>
                <a:gd name="T16" fmla="*/ 234 w 400"/>
                <a:gd name="T17" fmla="*/ 156 h 400"/>
                <a:gd name="T18" fmla="*/ 268 w 400"/>
                <a:gd name="T19" fmla="*/ 122 h 400"/>
                <a:gd name="T20" fmla="*/ 132 w 400"/>
                <a:gd name="T21" fmla="*/ 122 h 400"/>
                <a:gd name="T22" fmla="*/ 166 w 400"/>
                <a:gd name="T23" fmla="*/ 156 h 400"/>
                <a:gd name="T24" fmla="*/ 132 w 400"/>
                <a:gd name="T25" fmla="*/ 190 h 400"/>
                <a:gd name="T26" fmla="*/ 98 w 400"/>
                <a:gd name="T27" fmla="*/ 156 h 400"/>
                <a:gd name="T28" fmla="*/ 132 w 400"/>
                <a:gd name="T29" fmla="*/ 122 h 400"/>
                <a:gd name="T30" fmla="*/ 321 w 400"/>
                <a:gd name="T31" fmla="*/ 316 h 400"/>
                <a:gd name="T32" fmla="*/ 306 w 400"/>
                <a:gd name="T33" fmla="*/ 322 h 400"/>
                <a:gd name="T34" fmla="*/ 291 w 400"/>
                <a:gd name="T35" fmla="*/ 316 h 400"/>
                <a:gd name="T36" fmla="*/ 200 w 400"/>
                <a:gd name="T37" fmla="*/ 279 h 400"/>
                <a:gd name="T38" fmla="*/ 110 w 400"/>
                <a:gd name="T39" fmla="*/ 316 h 400"/>
                <a:gd name="T40" fmla="*/ 110 w 400"/>
                <a:gd name="T41" fmla="*/ 316 h 400"/>
                <a:gd name="T42" fmla="*/ 80 w 400"/>
                <a:gd name="T43" fmla="*/ 316 h 400"/>
                <a:gd name="T44" fmla="*/ 80 w 400"/>
                <a:gd name="T45" fmla="*/ 286 h 400"/>
                <a:gd name="T46" fmla="*/ 321 w 400"/>
                <a:gd name="T47" fmla="*/ 286 h 400"/>
                <a:gd name="T48" fmla="*/ 321 w 400"/>
                <a:gd name="T49" fmla="*/ 316 h 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400" h="400">
                  <a:moveTo>
                    <a:pt x="200" y="0"/>
                  </a:moveTo>
                  <a:cubicBezTo>
                    <a:pt x="90" y="0"/>
                    <a:pt x="0" y="90"/>
                    <a:pt x="0" y="200"/>
                  </a:cubicBezTo>
                  <a:cubicBezTo>
                    <a:pt x="0" y="310"/>
                    <a:pt x="90" y="400"/>
                    <a:pt x="200" y="400"/>
                  </a:cubicBezTo>
                  <a:cubicBezTo>
                    <a:pt x="311" y="400"/>
                    <a:pt x="400" y="310"/>
                    <a:pt x="400" y="200"/>
                  </a:cubicBezTo>
                  <a:cubicBezTo>
                    <a:pt x="400" y="90"/>
                    <a:pt x="311" y="0"/>
                    <a:pt x="200" y="0"/>
                  </a:cubicBezTo>
                  <a:close/>
                  <a:moveTo>
                    <a:pt x="268" y="122"/>
                  </a:moveTo>
                  <a:cubicBezTo>
                    <a:pt x="287" y="122"/>
                    <a:pt x="302" y="137"/>
                    <a:pt x="302" y="156"/>
                  </a:cubicBezTo>
                  <a:cubicBezTo>
                    <a:pt x="302" y="175"/>
                    <a:pt x="287" y="190"/>
                    <a:pt x="268" y="190"/>
                  </a:cubicBezTo>
                  <a:cubicBezTo>
                    <a:pt x="250" y="190"/>
                    <a:pt x="234" y="175"/>
                    <a:pt x="234" y="156"/>
                  </a:cubicBezTo>
                  <a:cubicBezTo>
                    <a:pt x="234" y="137"/>
                    <a:pt x="250" y="122"/>
                    <a:pt x="268" y="122"/>
                  </a:cubicBezTo>
                  <a:close/>
                  <a:moveTo>
                    <a:pt x="132" y="122"/>
                  </a:moveTo>
                  <a:cubicBezTo>
                    <a:pt x="151" y="122"/>
                    <a:pt x="166" y="137"/>
                    <a:pt x="166" y="156"/>
                  </a:cubicBezTo>
                  <a:cubicBezTo>
                    <a:pt x="166" y="175"/>
                    <a:pt x="151" y="190"/>
                    <a:pt x="132" y="190"/>
                  </a:cubicBezTo>
                  <a:cubicBezTo>
                    <a:pt x="114" y="190"/>
                    <a:pt x="98" y="175"/>
                    <a:pt x="98" y="156"/>
                  </a:cubicBezTo>
                  <a:cubicBezTo>
                    <a:pt x="98" y="137"/>
                    <a:pt x="114" y="122"/>
                    <a:pt x="132" y="122"/>
                  </a:cubicBezTo>
                  <a:close/>
                  <a:moveTo>
                    <a:pt x="321" y="316"/>
                  </a:moveTo>
                  <a:cubicBezTo>
                    <a:pt x="317" y="320"/>
                    <a:pt x="311" y="322"/>
                    <a:pt x="306" y="322"/>
                  </a:cubicBezTo>
                  <a:cubicBezTo>
                    <a:pt x="300" y="322"/>
                    <a:pt x="295" y="320"/>
                    <a:pt x="291" y="316"/>
                  </a:cubicBezTo>
                  <a:cubicBezTo>
                    <a:pt x="267" y="292"/>
                    <a:pt x="235" y="279"/>
                    <a:pt x="200" y="279"/>
                  </a:cubicBezTo>
                  <a:cubicBezTo>
                    <a:pt x="166" y="279"/>
                    <a:pt x="134" y="292"/>
                    <a:pt x="110" y="316"/>
                  </a:cubicBezTo>
                  <a:cubicBezTo>
                    <a:pt x="110" y="316"/>
                    <a:pt x="110" y="316"/>
                    <a:pt x="110" y="316"/>
                  </a:cubicBezTo>
                  <a:cubicBezTo>
                    <a:pt x="102" y="324"/>
                    <a:pt x="88" y="324"/>
                    <a:pt x="80" y="316"/>
                  </a:cubicBezTo>
                  <a:cubicBezTo>
                    <a:pt x="72" y="308"/>
                    <a:pt x="72" y="294"/>
                    <a:pt x="80" y="286"/>
                  </a:cubicBezTo>
                  <a:cubicBezTo>
                    <a:pt x="146" y="219"/>
                    <a:pt x="254" y="219"/>
                    <a:pt x="321" y="286"/>
                  </a:cubicBezTo>
                  <a:cubicBezTo>
                    <a:pt x="329" y="294"/>
                    <a:pt x="329" y="308"/>
                    <a:pt x="321" y="316"/>
                  </a:cubicBez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grpSp>
        <p:nvGrpSpPr>
          <p:cNvPr id="345" name="Group 28">
            <a:extLst>
              <a:ext uri="{FF2B5EF4-FFF2-40B4-BE49-F238E27FC236}">
                <a16:creationId xmlns:a16="http://schemas.microsoft.com/office/drawing/2014/main" xmlns="" id="{23452EC1-73EE-44DB-96BC-C03CAE459F0E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079020" y="3429819"/>
            <a:ext cx="369439" cy="369439"/>
            <a:chOff x="915" y="957"/>
            <a:chExt cx="403" cy="403"/>
          </a:xfrm>
          <a:effectLst>
            <a:outerShdw blurRad="101600" dist="76200" dir="2700000" algn="ctr" rotWithShape="0">
              <a:srgbClr val="000000">
                <a:alpha val="29000"/>
              </a:srgbClr>
            </a:outerShdw>
          </a:effectLst>
        </p:grpSpPr>
        <p:sp>
          <p:nvSpPr>
            <p:cNvPr id="346" name="AutoShape 27">
              <a:extLst>
                <a:ext uri="{FF2B5EF4-FFF2-40B4-BE49-F238E27FC236}">
                  <a16:creationId xmlns:a16="http://schemas.microsoft.com/office/drawing/2014/main" xmlns="" id="{F8066806-D410-45DC-BE78-95D6419CADE7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915" y="957"/>
              <a:ext cx="403" cy="40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47" name="Oval 29">
              <a:extLst>
                <a:ext uri="{FF2B5EF4-FFF2-40B4-BE49-F238E27FC236}">
                  <a16:creationId xmlns:a16="http://schemas.microsoft.com/office/drawing/2014/main" xmlns="" id="{628C482D-5571-4C01-A741-04FE53B8FC2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6" y="958"/>
              <a:ext cx="403" cy="403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48" name="Freeform 30">
              <a:extLst>
                <a:ext uri="{FF2B5EF4-FFF2-40B4-BE49-F238E27FC236}">
                  <a16:creationId xmlns:a16="http://schemas.microsoft.com/office/drawing/2014/main" xmlns="" id="{8EAE96B9-04C5-4FF4-B7B5-E1548340AD5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41" y="983"/>
              <a:ext cx="353" cy="353"/>
            </a:xfrm>
            <a:custGeom>
              <a:avLst/>
              <a:gdLst>
                <a:gd name="T0" fmla="*/ 200 w 400"/>
                <a:gd name="T1" fmla="*/ 0 h 400"/>
                <a:gd name="T2" fmla="*/ 0 w 400"/>
                <a:gd name="T3" fmla="*/ 200 h 400"/>
                <a:gd name="T4" fmla="*/ 200 w 400"/>
                <a:gd name="T5" fmla="*/ 400 h 400"/>
                <a:gd name="T6" fmla="*/ 400 w 400"/>
                <a:gd name="T7" fmla="*/ 200 h 400"/>
                <a:gd name="T8" fmla="*/ 200 w 400"/>
                <a:gd name="T9" fmla="*/ 0 h 400"/>
                <a:gd name="T10" fmla="*/ 268 w 400"/>
                <a:gd name="T11" fmla="*/ 122 h 400"/>
                <a:gd name="T12" fmla="*/ 302 w 400"/>
                <a:gd name="T13" fmla="*/ 156 h 400"/>
                <a:gd name="T14" fmla="*/ 268 w 400"/>
                <a:gd name="T15" fmla="*/ 190 h 400"/>
                <a:gd name="T16" fmla="*/ 234 w 400"/>
                <a:gd name="T17" fmla="*/ 156 h 400"/>
                <a:gd name="T18" fmla="*/ 268 w 400"/>
                <a:gd name="T19" fmla="*/ 122 h 400"/>
                <a:gd name="T20" fmla="*/ 132 w 400"/>
                <a:gd name="T21" fmla="*/ 122 h 400"/>
                <a:gd name="T22" fmla="*/ 166 w 400"/>
                <a:gd name="T23" fmla="*/ 156 h 400"/>
                <a:gd name="T24" fmla="*/ 132 w 400"/>
                <a:gd name="T25" fmla="*/ 190 h 400"/>
                <a:gd name="T26" fmla="*/ 98 w 400"/>
                <a:gd name="T27" fmla="*/ 156 h 400"/>
                <a:gd name="T28" fmla="*/ 132 w 400"/>
                <a:gd name="T29" fmla="*/ 122 h 400"/>
                <a:gd name="T30" fmla="*/ 303 w 400"/>
                <a:gd name="T31" fmla="*/ 294 h 400"/>
                <a:gd name="T32" fmla="*/ 97 w 400"/>
                <a:gd name="T33" fmla="*/ 294 h 400"/>
                <a:gd name="T34" fmla="*/ 76 w 400"/>
                <a:gd name="T35" fmla="*/ 273 h 400"/>
                <a:gd name="T36" fmla="*/ 97 w 400"/>
                <a:gd name="T37" fmla="*/ 252 h 400"/>
                <a:gd name="T38" fmla="*/ 303 w 400"/>
                <a:gd name="T39" fmla="*/ 252 h 400"/>
                <a:gd name="T40" fmla="*/ 324 w 400"/>
                <a:gd name="T41" fmla="*/ 273 h 400"/>
                <a:gd name="T42" fmla="*/ 303 w 400"/>
                <a:gd name="T43" fmla="*/ 294 h 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00" h="400">
                  <a:moveTo>
                    <a:pt x="200" y="0"/>
                  </a:moveTo>
                  <a:cubicBezTo>
                    <a:pt x="90" y="0"/>
                    <a:pt x="0" y="90"/>
                    <a:pt x="0" y="200"/>
                  </a:cubicBezTo>
                  <a:cubicBezTo>
                    <a:pt x="0" y="310"/>
                    <a:pt x="90" y="400"/>
                    <a:pt x="200" y="400"/>
                  </a:cubicBezTo>
                  <a:cubicBezTo>
                    <a:pt x="310" y="400"/>
                    <a:pt x="400" y="310"/>
                    <a:pt x="400" y="200"/>
                  </a:cubicBezTo>
                  <a:cubicBezTo>
                    <a:pt x="400" y="90"/>
                    <a:pt x="310" y="0"/>
                    <a:pt x="200" y="0"/>
                  </a:cubicBezTo>
                  <a:close/>
                  <a:moveTo>
                    <a:pt x="268" y="122"/>
                  </a:moveTo>
                  <a:cubicBezTo>
                    <a:pt x="287" y="122"/>
                    <a:pt x="302" y="137"/>
                    <a:pt x="302" y="156"/>
                  </a:cubicBezTo>
                  <a:cubicBezTo>
                    <a:pt x="302" y="175"/>
                    <a:pt x="287" y="190"/>
                    <a:pt x="268" y="190"/>
                  </a:cubicBezTo>
                  <a:cubicBezTo>
                    <a:pt x="249" y="190"/>
                    <a:pt x="234" y="175"/>
                    <a:pt x="234" y="156"/>
                  </a:cubicBezTo>
                  <a:cubicBezTo>
                    <a:pt x="234" y="137"/>
                    <a:pt x="249" y="122"/>
                    <a:pt x="268" y="122"/>
                  </a:cubicBezTo>
                  <a:close/>
                  <a:moveTo>
                    <a:pt x="132" y="122"/>
                  </a:moveTo>
                  <a:cubicBezTo>
                    <a:pt x="151" y="122"/>
                    <a:pt x="166" y="137"/>
                    <a:pt x="166" y="156"/>
                  </a:cubicBezTo>
                  <a:cubicBezTo>
                    <a:pt x="166" y="175"/>
                    <a:pt x="151" y="190"/>
                    <a:pt x="132" y="190"/>
                  </a:cubicBezTo>
                  <a:cubicBezTo>
                    <a:pt x="113" y="190"/>
                    <a:pt x="98" y="175"/>
                    <a:pt x="98" y="156"/>
                  </a:cubicBezTo>
                  <a:cubicBezTo>
                    <a:pt x="98" y="137"/>
                    <a:pt x="113" y="122"/>
                    <a:pt x="132" y="122"/>
                  </a:cubicBezTo>
                  <a:close/>
                  <a:moveTo>
                    <a:pt x="303" y="294"/>
                  </a:moveTo>
                  <a:cubicBezTo>
                    <a:pt x="97" y="294"/>
                    <a:pt x="97" y="294"/>
                    <a:pt x="97" y="294"/>
                  </a:cubicBezTo>
                  <a:cubicBezTo>
                    <a:pt x="85" y="294"/>
                    <a:pt x="76" y="285"/>
                    <a:pt x="76" y="273"/>
                  </a:cubicBezTo>
                  <a:cubicBezTo>
                    <a:pt x="76" y="262"/>
                    <a:pt x="85" y="252"/>
                    <a:pt x="97" y="252"/>
                  </a:cubicBezTo>
                  <a:cubicBezTo>
                    <a:pt x="303" y="252"/>
                    <a:pt x="303" y="252"/>
                    <a:pt x="303" y="252"/>
                  </a:cubicBezTo>
                  <a:cubicBezTo>
                    <a:pt x="315" y="252"/>
                    <a:pt x="324" y="262"/>
                    <a:pt x="324" y="273"/>
                  </a:cubicBezTo>
                  <a:cubicBezTo>
                    <a:pt x="324" y="285"/>
                    <a:pt x="315" y="294"/>
                    <a:pt x="303" y="294"/>
                  </a:cubicBez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grpSp>
        <p:nvGrpSpPr>
          <p:cNvPr id="349" name="Group 33">
            <a:extLst>
              <a:ext uri="{FF2B5EF4-FFF2-40B4-BE49-F238E27FC236}">
                <a16:creationId xmlns:a16="http://schemas.microsoft.com/office/drawing/2014/main" xmlns="" id="{F4F7A0CA-8537-4BD6-A8A0-EF8D2AC9B8E7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612196" y="3436963"/>
            <a:ext cx="369439" cy="369439"/>
            <a:chOff x="309" y="957"/>
            <a:chExt cx="403" cy="403"/>
          </a:xfrm>
          <a:effectLst>
            <a:outerShdw blurRad="101600" dist="76200" dir="2700000" algn="ctr" rotWithShape="0">
              <a:srgbClr val="000000">
                <a:alpha val="29000"/>
              </a:srgbClr>
            </a:outerShdw>
          </a:effectLst>
        </p:grpSpPr>
        <p:sp>
          <p:nvSpPr>
            <p:cNvPr id="350" name="AutoShape 32">
              <a:extLst>
                <a:ext uri="{FF2B5EF4-FFF2-40B4-BE49-F238E27FC236}">
                  <a16:creationId xmlns:a16="http://schemas.microsoft.com/office/drawing/2014/main" xmlns="" id="{E499C8C9-7ADD-4D3F-9DB2-BD7E2EF3F027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09" y="957"/>
              <a:ext cx="403" cy="40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51" name="Oval 34">
              <a:extLst>
                <a:ext uri="{FF2B5EF4-FFF2-40B4-BE49-F238E27FC236}">
                  <a16:creationId xmlns:a16="http://schemas.microsoft.com/office/drawing/2014/main" xmlns="" id="{44CF195E-C228-4A64-AE0A-6E3F48A2F3E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0" y="958"/>
              <a:ext cx="403" cy="403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52" name="Freeform 35">
              <a:extLst>
                <a:ext uri="{FF2B5EF4-FFF2-40B4-BE49-F238E27FC236}">
                  <a16:creationId xmlns:a16="http://schemas.microsoft.com/office/drawing/2014/main" xmlns="" id="{13870447-FC87-4281-9030-FEB0B63BDB1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5" y="983"/>
              <a:ext cx="353" cy="353"/>
            </a:xfrm>
            <a:custGeom>
              <a:avLst/>
              <a:gdLst>
                <a:gd name="T0" fmla="*/ 200 w 400"/>
                <a:gd name="T1" fmla="*/ 0 h 400"/>
                <a:gd name="T2" fmla="*/ 0 w 400"/>
                <a:gd name="T3" fmla="*/ 200 h 400"/>
                <a:gd name="T4" fmla="*/ 200 w 400"/>
                <a:gd name="T5" fmla="*/ 400 h 400"/>
                <a:gd name="T6" fmla="*/ 400 w 400"/>
                <a:gd name="T7" fmla="*/ 200 h 400"/>
                <a:gd name="T8" fmla="*/ 200 w 400"/>
                <a:gd name="T9" fmla="*/ 0 h 400"/>
                <a:gd name="T10" fmla="*/ 268 w 400"/>
                <a:gd name="T11" fmla="*/ 122 h 400"/>
                <a:gd name="T12" fmla="*/ 302 w 400"/>
                <a:gd name="T13" fmla="*/ 156 h 400"/>
                <a:gd name="T14" fmla="*/ 268 w 400"/>
                <a:gd name="T15" fmla="*/ 190 h 400"/>
                <a:gd name="T16" fmla="*/ 234 w 400"/>
                <a:gd name="T17" fmla="*/ 156 h 400"/>
                <a:gd name="T18" fmla="*/ 268 w 400"/>
                <a:gd name="T19" fmla="*/ 122 h 400"/>
                <a:gd name="T20" fmla="*/ 132 w 400"/>
                <a:gd name="T21" fmla="*/ 122 h 400"/>
                <a:gd name="T22" fmla="*/ 166 w 400"/>
                <a:gd name="T23" fmla="*/ 156 h 400"/>
                <a:gd name="T24" fmla="*/ 132 w 400"/>
                <a:gd name="T25" fmla="*/ 190 h 400"/>
                <a:gd name="T26" fmla="*/ 98 w 400"/>
                <a:gd name="T27" fmla="*/ 156 h 400"/>
                <a:gd name="T28" fmla="*/ 132 w 400"/>
                <a:gd name="T29" fmla="*/ 122 h 400"/>
                <a:gd name="T30" fmla="*/ 320 w 400"/>
                <a:gd name="T31" fmla="*/ 272 h 400"/>
                <a:gd name="T32" fmla="*/ 200 w 400"/>
                <a:gd name="T33" fmla="*/ 322 h 400"/>
                <a:gd name="T34" fmla="*/ 200 w 400"/>
                <a:gd name="T35" fmla="*/ 322 h 400"/>
                <a:gd name="T36" fmla="*/ 80 w 400"/>
                <a:gd name="T37" fmla="*/ 272 h 400"/>
                <a:gd name="T38" fmla="*/ 80 w 400"/>
                <a:gd name="T39" fmla="*/ 242 h 400"/>
                <a:gd name="T40" fmla="*/ 110 w 400"/>
                <a:gd name="T41" fmla="*/ 242 h 400"/>
                <a:gd name="T42" fmla="*/ 110 w 400"/>
                <a:gd name="T43" fmla="*/ 242 h 400"/>
                <a:gd name="T44" fmla="*/ 200 w 400"/>
                <a:gd name="T45" fmla="*/ 280 h 400"/>
                <a:gd name="T46" fmla="*/ 290 w 400"/>
                <a:gd name="T47" fmla="*/ 242 h 400"/>
                <a:gd name="T48" fmla="*/ 320 w 400"/>
                <a:gd name="T49" fmla="*/ 242 h 400"/>
                <a:gd name="T50" fmla="*/ 320 w 400"/>
                <a:gd name="T51" fmla="*/ 272 h 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400" h="400">
                  <a:moveTo>
                    <a:pt x="200" y="0"/>
                  </a:moveTo>
                  <a:cubicBezTo>
                    <a:pt x="90" y="0"/>
                    <a:pt x="0" y="90"/>
                    <a:pt x="0" y="200"/>
                  </a:cubicBezTo>
                  <a:cubicBezTo>
                    <a:pt x="0" y="310"/>
                    <a:pt x="90" y="400"/>
                    <a:pt x="200" y="400"/>
                  </a:cubicBezTo>
                  <a:cubicBezTo>
                    <a:pt x="310" y="400"/>
                    <a:pt x="400" y="310"/>
                    <a:pt x="400" y="200"/>
                  </a:cubicBezTo>
                  <a:cubicBezTo>
                    <a:pt x="400" y="90"/>
                    <a:pt x="310" y="0"/>
                    <a:pt x="200" y="0"/>
                  </a:cubicBezTo>
                  <a:close/>
                  <a:moveTo>
                    <a:pt x="268" y="122"/>
                  </a:moveTo>
                  <a:cubicBezTo>
                    <a:pt x="287" y="122"/>
                    <a:pt x="302" y="137"/>
                    <a:pt x="302" y="156"/>
                  </a:cubicBezTo>
                  <a:cubicBezTo>
                    <a:pt x="302" y="175"/>
                    <a:pt x="287" y="190"/>
                    <a:pt x="268" y="190"/>
                  </a:cubicBezTo>
                  <a:cubicBezTo>
                    <a:pt x="249" y="190"/>
                    <a:pt x="234" y="175"/>
                    <a:pt x="234" y="156"/>
                  </a:cubicBezTo>
                  <a:cubicBezTo>
                    <a:pt x="234" y="137"/>
                    <a:pt x="249" y="122"/>
                    <a:pt x="268" y="122"/>
                  </a:cubicBezTo>
                  <a:close/>
                  <a:moveTo>
                    <a:pt x="132" y="122"/>
                  </a:moveTo>
                  <a:cubicBezTo>
                    <a:pt x="151" y="122"/>
                    <a:pt x="166" y="137"/>
                    <a:pt x="166" y="156"/>
                  </a:cubicBezTo>
                  <a:cubicBezTo>
                    <a:pt x="166" y="175"/>
                    <a:pt x="151" y="190"/>
                    <a:pt x="132" y="190"/>
                  </a:cubicBezTo>
                  <a:cubicBezTo>
                    <a:pt x="113" y="190"/>
                    <a:pt x="98" y="175"/>
                    <a:pt x="98" y="156"/>
                  </a:cubicBezTo>
                  <a:cubicBezTo>
                    <a:pt x="98" y="137"/>
                    <a:pt x="113" y="122"/>
                    <a:pt x="132" y="122"/>
                  </a:cubicBezTo>
                  <a:close/>
                  <a:moveTo>
                    <a:pt x="320" y="272"/>
                  </a:moveTo>
                  <a:cubicBezTo>
                    <a:pt x="288" y="304"/>
                    <a:pt x="246" y="322"/>
                    <a:pt x="200" y="322"/>
                  </a:cubicBezTo>
                  <a:cubicBezTo>
                    <a:pt x="200" y="322"/>
                    <a:pt x="200" y="322"/>
                    <a:pt x="200" y="322"/>
                  </a:cubicBezTo>
                  <a:cubicBezTo>
                    <a:pt x="154" y="322"/>
                    <a:pt x="112" y="304"/>
                    <a:pt x="80" y="272"/>
                  </a:cubicBezTo>
                  <a:cubicBezTo>
                    <a:pt x="71" y="264"/>
                    <a:pt x="71" y="251"/>
                    <a:pt x="80" y="242"/>
                  </a:cubicBezTo>
                  <a:cubicBezTo>
                    <a:pt x="88" y="234"/>
                    <a:pt x="101" y="234"/>
                    <a:pt x="110" y="242"/>
                  </a:cubicBezTo>
                  <a:cubicBezTo>
                    <a:pt x="110" y="242"/>
                    <a:pt x="110" y="242"/>
                    <a:pt x="110" y="242"/>
                  </a:cubicBezTo>
                  <a:cubicBezTo>
                    <a:pt x="134" y="266"/>
                    <a:pt x="166" y="280"/>
                    <a:pt x="200" y="280"/>
                  </a:cubicBezTo>
                  <a:cubicBezTo>
                    <a:pt x="234" y="280"/>
                    <a:pt x="266" y="266"/>
                    <a:pt x="290" y="242"/>
                  </a:cubicBezTo>
                  <a:cubicBezTo>
                    <a:pt x="299" y="234"/>
                    <a:pt x="312" y="234"/>
                    <a:pt x="320" y="242"/>
                  </a:cubicBezTo>
                  <a:cubicBezTo>
                    <a:pt x="329" y="251"/>
                    <a:pt x="329" y="264"/>
                    <a:pt x="320" y="272"/>
                  </a:cubicBez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grpSp>
        <p:nvGrpSpPr>
          <p:cNvPr id="353" name="Group 44">
            <a:extLst>
              <a:ext uri="{FF2B5EF4-FFF2-40B4-BE49-F238E27FC236}">
                <a16:creationId xmlns:a16="http://schemas.microsoft.com/office/drawing/2014/main" xmlns="" id="{AD083FAF-D2B0-4F7F-B927-4F979C7FE6AB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874175" y="3390021"/>
            <a:ext cx="298621" cy="405049"/>
            <a:chOff x="2032" y="1832"/>
            <a:chExt cx="289" cy="392"/>
          </a:xfrm>
          <a:effectLst>
            <a:outerShdw blurRad="101600" dist="76200" dir="2700000" algn="ctr" rotWithShape="0">
              <a:srgbClr val="000000">
                <a:alpha val="29000"/>
              </a:srgbClr>
            </a:outerShdw>
          </a:effectLst>
        </p:grpSpPr>
        <p:sp>
          <p:nvSpPr>
            <p:cNvPr id="354" name="AutoShape 43">
              <a:extLst>
                <a:ext uri="{FF2B5EF4-FFF2-40B4-BE49-F238E27FC236}">
                  <a16:creationId xmlns:a16="http://schemas.microsoft.com/office/drawing/2014/main" xmlns="" id="{BB66A4FF-EAA6-49A2-BD01-2CBEDD9EC8F5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032" y="1832"/>
              <a:ext cx="289" cy="39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5" name="Freeform 45">
              <a:extLst>
                <a:ext uri="{FF2B5EF4-FFF2-40B4-BE49-F238E27FC236}">
                  <a16:creationId xmlns:a16="http://schemas.microsoft.com/office/drawing/2014/main" xmlns="" id="{8D4774E9-39B4-4506-A093-316936B43219}"/>
                </a:ext>
              </a:extLst>
            </p:cNvPr>
            <p:cNvSpPr>
              <a:spLocks/>
            </p:cNvSpPr>
            <p:nvPr/>
          </p:nvSpPr>
          <p:spPr bwMode="auto">
            <a:xfrm>
              <a:off x="2030" y="1831"/>
              <a:ext cx="294" cy="394"/>
            </a:xfrm>
            <a:custGeom>
              <a:avLst/>
              <a:gdLst>
                <a:gd name="T0" fmla="*/ 384 w 388"/>
                <a:gd name="T1" fmla="*/ 425 h 518"/>
                <a:gd name="T2" fmla="*/ 287 w 388"/>
                <a:gd name="T3" fmla="*/ 510 h 518"/>
                <a:gd name="T4" fmla="*/ 285 w 388"/>
                <a:gd name="T5" fmla="*/ 510 h 518"/>
                <a:gd name="T6" fmla="*/ 195 w 388"/>
                <a:gd name="T7" fmla="*/ 518 h 518"/>
                <a:gd name="T8" fmla="*/ 104 w 388"/>
                <a:gd name="T9" fmla="*/ 510 h 518"/>
                <a:gd name="T10" fmla="*/ 101 w 388"/>
                <a:gd name="T11" fmla="*/ 509 h 518"/>
                <a:gd name="T12" fmla="*/ 4 w 388"/>
                <a:gd name="T13" fmla="*/ 428 h 518"/>
                <a:gd name="T14" fmla="*/ 46 w 388"/>
                <a:gd name="T15" fmla="*/ 254 h 518"/>
                <a:gd name="T16" fmla="*/ 90 w 388"/>
                <a:gd name="T17" fmla="*/ 200 h 518"/>
                <a:gd name="T18" fmla="*/ 126 w 388"/>
                <a:gd name="T19" fmla="*/ 157 h 518"/>
                <a:gd name="T20" fmla="*/ 116 w 388"/>
                <a:gd name="T21" fmla="*/ 133 h 518"/>
                <a:gd name="T22" fmla="*/ 125 w 388"/>
                <a:gd name="T23" fmla="*/ 111 h 518"/>
                <a:gd name="T24" fmla="*/ 116 w 388"/>
                <a:gd name="T25" fmla="*/ 93 h 518"/>
                <a:gd name="T26" fmla="*/ 97 w 388"/>
                <a:gd name="T27" fmla="*/ 50 h 518"/>
                <a:gd name="T28" fmla="*/ 111 w 388"/>
                <a:gd name="T29" fmla="*/ 11 h 518"/>
                <a:gd name="T30" fmla="*/ 147 w 388"/>
                <a:gd name="T31" fmla="*/ 0 h 518"/>
                <a:gd name="T32" fmla="*/ 186 w 388"/>
                <a:gd name="T33" fmla="*/ 15 h 518"/>
                <a:gd name="T34" fmla="*/ 194 w 388"/>
                <a:gd name="T35" fmla="*/ 22 h 518"/>
                <a:gd name="T36" fmla="*/ 207 w 388"/>
                <a:gd name="T37" fmla="*/ 28 h 518"/>
                <a:gd name="T38" fmla="*/ 214 w 388"/>
                <a:gd name="T39" fmla="*/ 26 h 518"/>
                <a:gd name="T40" fmla="*/ 244 w 388"/>
                <a:gd name="T41" fmla="*/ 20 h 518"/>
                <a:gd name="T42" fmla="*/ 272 w 388"/>
                <a:gd name="T43" fmla="*/ 29 h 518"/>
                <a:gd name="T44" fmla="*/ 280 w 388"/>
                <a:gd name="T45" fmla="*/ 77 h 518"/>
                <a:gd name="T46" fmla="*/ 263 w 388"/>
                <a:gd name="T47" fmla="*/ 113 h 518"/>
                <a:gd name="T48" fmla="*/ 270 w 388"/>
                <a:gd name="T49" fmla="*/ 133 h 518"/>
                <a:gd name="T50" fmla="*/ 262 w 388"/>
                <a:gd name="T51" fmla="*/ 155 h 518"/>
                <a:gd name="T52" fmla="*/ 299 w 388"/>
                <a:gd name="T53" fmla="*/ 199 h 518"/>
                <a:gd name="T54" fmla="*/ 344 w 388"/>
                <a:gd name="T55" fmla="*/ 254 h 518"/>
                <a:gd name="T56" fmla="*/ 384 w 388"/>
                <a:gd name="T57" fmla="*/ 425 h 5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88" h="518">
                  <a:moveTo>
                    <a:pt x="384" y="425"/>
                  </a:moveTo>
                  <a:cubicBezTo>
                    <a:pt x="381" y="494"/>
                    <a:pt x="333" y="502"/>
                    <a:pt x="287" y="510"/>
                  </a:cubicBezTo>
                  <a:cubicBezTo>
                    <a:pt x="285" y="510"/>
                    <a:pt x="285" y="510"/>
                    <a:pt x="285" y="510"/>
                  </a:cubicBezTo>
                  <a:cubicBezTo>
                    <a:pt x="255" y="515"/>
                    <a:pt x="225" y="518"/>
                    <a:pt x="195" y="518"/>
                  </a:cubicBezTo>
                  <a:cubicBezTo>
                    <a:pt x="164" y="518"/>
                    <a:pt x="134" y="515"/>
                    <a:pt x="104" y="510"/>
                  </a:cubicBezTo>
                  <a:cubicBezTo>
                    <a:pt x="101" y="509"/>
                    <a:pt x="101" y="509"/>
                    <a:pt x="101" y="509"/>
                  </a:cubicBezTo>
                  <a:cubicBezTo>
                    <a:pt x="58" y="502"/>
                    <a:pt x="9" y="494"/>
                    <a:pt x="4" y="428"/>
                  </a:cubicBezTo>
                  <a:cubicBezTo>
                    <a:pt x="0" y="363"/>
                    <a:pt x="13" y="306"/>
                    <a:pt x="46" y="254"/>
                  </a:cubicBezTo>
                  <a:cubicBezTo>
                    <a:pt x="58" y="233"/>
                    <a:pt x="74" y="216"/>
                    <a:pt x="90" y="200"/>
                  </a:cubicBezTo>
                  <a:cubicBezTo>
                    <a:pt x="103" y="185"/>
                    <a:pt x="116" y="172"/>
                    <a:pt x="126" y="157"/>
                  </a:cubicBezTo>
                  <a:cubicBezTo>
                    <a:pt x="120" y="150"/>
                    <a:pt x="116" y="142"/>
                    <a:pt x="116" y="133"/>
                  </a:cubicBezTo>
                  <a:cubicBezTo>
                    <a:pt x="116" y="124"/>
                    <a:pt x="120" y="117"/>
                    <a:pt x="125" y="111"/>
                  </a:cubicBezTo>
                  <a:cubicBezTo>
                    <a:pt x="122" y="105"/>
                    <a:pt x="119" y="99"/>
                    <a:pt x="116" y="93"/>
                  </a:cubicBezTo>
                  <a:cubicBezTo>
                    <a:pt x="109" y="80"/>
                    <a:pt x="103" y="67"/>
                    <a:pt x="97" y="50"/>
                  </a:cubicBezTo>
                  <a:cubicBezTo>
                    <a:pt x="93" y="37"/>
                    <a:pt x="96" y="20"/>
                    <a:pt x="111" y="11"/>
                  </a:cubicBezTo>
                  <a:cubicBezTo>
                    <a:pt x="124" y="4"/>
                    <a:pt x="135" y="0"/>
                    <a:pt x="147" y="0"/>
                  </a:cubicBezTo>
                  <a:cubicBezTo>
                    <a:pt x="160" y="0"/>
                    <a:pt x="173" y="5"/>
                    <a:pt x="186" y="15"/>
                  </a:cubicBezTo>
                  <a:cubicBezTo>
                    <a:pt x="190" y="18"/>
                    <a:pt x="192" y="20"/>
                    <a:pt x="194" y="22"/>
                  </a:cubicBezTo>
                  <a:cubicBezTo>
                    <a:pt x="200" y="26"/>
                    <a:pt x="200" y="27"/>
                    <a:pt x="207" y="28"/>
                  </a:cubicBezTo>
                  <a:cubicBezTo>
                    <a:pt x="214" y="26"/>
                    <a:pt x="214" y="26"/>
                    <a:pt x="214" y="26"/>
                  </a:cubicBezTo>
                  <a:cubicBezTo>
                    <a:pt x="222" y="24"/>
                    <a:pt x="233" y="20"/>
                    <a:pt x="244" y="20"/>
                  </a:cubicBezTo>
                  <a:cubicBezTo>
                    <a:pt x="255" y="20"/>
                    <a:pt x="265" y="23"/>
                    <a:pt x="272" y="29"/>
                  </a:cubicBezTo>
                  <a:cubicBezTo>
                    <a:pt x="284" y="37"/>
                    <a:pt x="292" y="53"/>
                    <a:pt x="280" y="77"/>
                  </a:cubicBezTo>
                  <a:cubicBezTo>
                    <a:pt x="263" y="113"/>
                    <a:pt x="263" y="113"/>
                    <a:pt x="263" y="113"/>
                  </a:cubicBezTo>
                  <a:cubicBezTo>
                    <a:pt x="268" y="118"/>
                    <a:pt x="270" y="125"/>
                    <a:pt x="270" y="133"/>
                  </a:cubicBezTo>
                  <a:cubicBezTo>
                    <a:pt x="270" y="141"/>
                    <a:pt x="267" y="149"/>
                    <a:pt x="262" y="155"/>
                  </a:cubicBezTo>
                  <a:cubicBezTo>
                    <a:pt x="272" y="171"/>
                    <a:pt x="285" y="185"/>
                    <a:pt x="299" y="199"/>
                  </a:cubicBezTo>
                  <a:cubicBezTo>
                    <a:pt x="315" y="216"/>
                    <a:pt x="331" y="233"/>
                    <a:pt x="344" y="254"/>
                  </a:cubicBezTo>
                  <a:cubicBezTo>
                    <a:pt x="375" y="305"/>
                    <a:pt x="388" y="361"/>
                    <a:pt x="384" y="42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6" name="Freeform 46">
              <a:extLst>
                <a:ext uri="{FF2B5EF4-FFF2-40B4-BE49-F238E27FC236}">
                  <a16:creationId xmlns:a16="http://schemas.microsoft.com/office/drawing/2014/main" xmlns="" id="{F7241251-AE6A-431A-8B84-7449AE26FEC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48" y="1847"/>
              <a:ext cx="257" cy="361"/>
            </a:xfrm>
            <a:custGeom>
              <a:avLst/>
              <a:gdLst>
                <a:gd name="T0" fmla="*/ 96 w 339"/>
                <a:gd name="T1" fmla="*/ 21 h 475"/>
                <a:gd name="T2" fmla="*/ 147 w 339"/>
                <a:gd name="T3" fmla="*/ 13 h 475"/>
                <a:gd name="T4" fmla="*/ 187 w 339"/>
                <a:gd name="T5" fmla="*/ 69 h 475"/>
                <a:gd name="T6" fmla="*/ 235 w 339"/>
                <a:gd name="T7" fmla="*/ 28 h 475"/>
                <a:gd name="T8" fmla="*/ 214 w 339"/>
                <a:gd name="T9" fmla="*/ 89 h 475"/>
                <a:gd name="T10" fmla="*/ 243 w 339"/>
                <a:gd name="T11" fmla="*/ 257 h 475"/>
                <a:gd name="T12" fmla="*/ 190 w 339"/>
                <a:gd name="T13" fmla="*/ 252 h 475"/>
                <a:gd name="T14" fmla="*/ 181 w 339"/>
                <a:gd name="T15" fmla="*/ 282 h 475"/>
                <a:gd name="T16" fmla="*/ 249 w 339"/>
                <a:gd name="T17" fmla="*/ 342 h 475"/>
                <a:gd name="T18" fmla="*/ 227 w 339"/>
                <a:gd name="T19" fmla="*/ 386 h 475"/>
                <a:gd name="T20" fmla="*/ 181 w 339"/>
                <a:gd name="T21" fmla="*/ 402 h 475"/>
                <a:gd name="T22" fmla="*/ 162 w 339"/>
                <a:gd name="T23" fmla="*/ 425 h 475"/>
                <a:gd name="T24" fmla="*/ 132 w 339"/>
                <a:gd name="T25" fmla="*/ 396 h 475"/>
                <a:gd name="T26" fmla="*/ 99 w 339"/>
                <a:gd name="T27" fmla="*/ 367 h 475"/>
                <a:gd name="T28" fmla="*/ 144 w 339"/>
                <a:gd name="T29" fmla="*/ 340 h 475"/>
                <a:gd name="T30" fmla="*/ 162 w 339"/>
                <a:gd name="T31" fmla="*/ 367 h 475"/>
                <a:gd name="T32" fmla="*/ 126 w 339"/>
                <a:gd name="T33" fmla="*/ 311 h 475"/>
                <a:gd name="T34" fmla="*/ 100 w 339"/>
                <a:gd name="T35" fmla="*/ 266 h 475"/>
                <a:gd name="T36" fmla="*/ 162 w 339"/>
                <a:gd name="T37" fmla="*/ 212 h 475"/>
                <a:gd name="T38" fmla="*/ 181 w 339"/>
                <a:gd name="T39" fmla="*/ 200 h 475"/>
                <a:gd name="T40" fmla="*/ 224 w 339"/>
                <a:gd name="T41" fmla="*/ 226 h 475"/>
                <a:gd name="T42" fmla="*/ 162 w 339"/>
                <a:gd name="T43" fmla="*/ 245 h 475"/>
                <a:gd name="T44" fmla="*/ 148 w 339"/>
                <a:gd name="T45" fmla="*/ 260 h 475"/>
                <a:gd name="T46" fmla="*/ 162 w 339"/>
                <a:gd name="T47" fmla="*/ 277 h 475"/>
                <a:gd name="T48" fmla="*/ 181 w 339"/>
                <a:gd name="T49" fmla="*/ 369 h 475"/>
                <a:gd name="T50" fmla="*/ 201 w 339"/>
                <a:gd name="T51" fmla="*/ 348 h 475"/>
                <a:gd name="T52" fmla="*/ 181 w 339"/>
                <a:gd name="T53" fmla="*/ 328 h 475"/>
                <a:gd name="T54" fmla="*/ 126 w 339"/>
                <a:gd name="T55" fmla="*/ 102 h 475"/>
                <a:gd name="T56" fmla="*/ 222 w 339"/>
                <a:gd name="T57" fmla="*/ 112 h 475"/>
                <a:gd name="T58" fmla="*/ 213 w 339"/>
                <a:gd name="T59" fmla="*/ 122 h 475"/>
                <a:gd name="T60" fmla="*/ 116 w 339"/>
                <a:gd name="T61" fmla="*/ 112 h 475"/>
                <a:gd name="T62" fmla="*/ 126 w 339"/>
                <a:gd name="T63" fmla="*/ 102 h 475"/>
                <a:gd name="T64" fmla="*/ 42 w 339"/>
                <a:gd name="T65" fmla="*/ 246 h 475"/>
                <a:gd name="T66" fmla="*/ 84 w 339"/>
                <a:gd name="T67" fmla="*/ 466 h 475"/>
                <a:gd name="T68" fmla="*/ 337 w 339"/>
                <a:gd name="T69" fmla="*/ 403 h 475"/>
                <a:gd name="T70" fmla="*/ 212 w 339"/>
                <a:gd name="T71" fmla="*/ 137 h 4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339" h="475">
                  <a:moveTo>
                    <a:pt x="127" y="89"/>
                  </a:moveTo>
                  <a:cubicBezTo>
                    <a:pt x="116" y="64"/>
                    <a:pt x="105" y="47"/>
                    <a:pt x="96" y="21"/>
                  </a:cubicBezTo>
                  <a:cubicBezTo>
                    <a:pt x="95" y="18"/>
                    <a:pt x="96" y="13"/>
                    <a:pt x="99" y="11"/>
                  </a:cubicBezTo>
                  <a:cubicBezTo>
                    <a:pt x="117" y="0"/>
                    <a:pt x="131" y="0"/>
                    <a:pt x="147" y="13"/>
                  </a:cubicBezTo>
                  <a:cubicBezTo>
                    <a:pt x="161" y="24"/>
                    <a:pt x="161" y="28"/>
                    <a:pt x="181" y="31"/>
                  </a:cubicBezTo>
                  <a:cubicBezTo>
                    <a:pt x="187" y="69"/>
                    <a:pt x="187" y="69"/>
                    <a:pt x="187" y="69"/>
                  </a:cubicBezTo>
                  <a:cubicBezTo>
                    <a:pt x="196" y="28"/>
                    <a:pt x="196" y="28"/>
                    <a:pt x="196" y="28"/>
                  </a:cubicBezTo>
                  <a:cubicBezTo>
                    <a:pt x="207" y="25"/>
                    <a:pt x="224" y="20"/>
                    <a:pt x="235" y="28"/>
                  </a:cubicBezTo>
                  <a:cubicBezTo>
                    <a:pt x="240" y="32"/>
                    <a:pt x="237" y="41"/>
                    <a:pt x="235" y="46"/>
                  </a:cubicBezTo>
                  <a:cubicBezTo>
                    <a:pt x="214" y="89"/>
                    <a:pt x="214" y="89"/>
                    <a:pt x="214" y="89"/>
                  </a:cubicBezTo>
                  <a:cubicBezTo>
                    <a:pt x="127" y="89"/>
                    <a:pt x="127" y="89"/>
                    <a:pt x="127" y="89"/>
                  </a:cubicBezTo>
                  <a:close/>
                  <a:moveTo>
                    <a:pt x="243" y="257"/>
                  </a:moveTo>
                  <a:cubicBezTo>
                    <a:pt x="196" y="265"/>
                    <a:pt x="196" y="265"/>
                    <a:pt x="196" y="265"/>
                  </a:cubicBezTo>
                  <a:cubicBezTo>
                    <a:pt x="194" y="259"/>
                    <a:pt x="192" y="255"/>
                    <a:pt x="190" y="252"/>
                  </a:cubicBezTo>
                  <a:cubicBezTo>
                    <a:pt x="188" y="250"/>
                    <a:pt x="185" y="248"/>
                    <a:pt x="181" y="245"/>
                  </a:cubicBezTo>
                  <a:cubicBezTo>
                    <a:pt x="181" y="282"/>
                    <a:pt x="181" y="282"/>
                    <a:pt x="181" y="282"/>
                  </a:cubicBezTo>
                  <a:cubicBezTo>
                    <a:pt x="206" y="289"/>
                    <a:pt x="223" y="296"/>
                    <a:pt x="232" y="303"/>
                  </a:cubicBezTo>
                  <a:cubicBezTo>
                    <a:pt x="243" y="313"/>
                    <a:pt x="249" y="326"/>
                    <a:pt x="249" y="342"/>
                  </a:cubicBezTo>
                  <a:cubicBezTo>
                    <a:pt x="249" y="351"/>
                    <a:pt x="247" y="360"/>
                    <a:pt x="243" y="367"/>
                  </a:cubicBezTo>
                  <a:cubicBezTo>
                    <a:pt x="239" y="375"/>
                    <a:pt x="233" y="381"/>
                    <a:pt x="227" y="386"/>
                  </a:cubicBezTo>
                  <a:cubicBezTo>
                    <a:pt x="221" y="391"/>
                    <a:pt x="214" y="395"/>
                    <a:pt x="207" y="397"/>
                  </a:cubicBezTo>
                  <a:cubicBezTo>
                    <a:pt x="200" y="400"/>
                    <a:pt x="191" y="401"/>
                    <a:pt x="181" y="402"/>
                  </a:cubicBezTo>
                  <a:cubicBezTo>
                    <a:pt x="181" y="425"/>
                    <a:pt x="181" y="425"/>
                    <a:pt x="181" y="425"/>
                  </a:cubicBezTo>
                  <a:cubicBezTo>
                    <a:pt x="162" y="425"/>
                    <a:pt x="162" y="425"/>
                    <a:pt x="162" y="425"/>
                  </a:cubicBezTo>
                  <a:cubicBezTo>
                    <a:pt x="162" y="402"/>
                    <a:pt x="162" y="402"/>
                    <a:pt x="162" y="402"/>
                  </a:cubicBezTo>
                  <a:cubicBezTo>
                    <a:pt x="150" y="400"/>
                    <a:pt x="140" y="398"/>
                    <a:pt x="132" y="396"/>
                  </a:cubicBezTo>
                  <a:cubicBezTo>
                    <a:pt x="125" y="393"/>
                    <a:pt x="118" y="389"/>
                    <a:pt x="112" y="383"/>
                  </a:cubicBezTo>
                  <a:cubicBezTo>
                    <a:pt x="107" y="378"/>
                    <a:pt x="103" y="373"/>
                    <a:pt x="99" y="367"/>
                  </a:cubicBezTo>
                  <a:cubicBezTo>
                    <a:pt x="96" y="361"/>
                    <a:pt x="94" y="354"/>
                    <a:pt x="93" y="345"/>
                  </a:cubicBezTo>
                  <a:cubicBezTo>
                    <a:pt x="144" y="340"/>
                    <a:pt x="144" y="340"/>
                    <a:pt x="144" y="340"/>
                  </a:cubicBezTo>
                  <a:cubicBezTo>
                    <a:pt x="145" y="348"/>
                    <a:pt x="147" y="354"/>
                    <a:pt x="150" y="358"/>
                  </a:cubicBezTo>
                  <a:cubicBezTo>
                    <a:pt x="152" y="361"/>
                    <a:pt x="156" y="365"/>
                    <a:pt x="162" y="367"/>
                  </a:cubicBezTo>
                  <a:cubicBezTo>
                    <a:pt x="162" y="323"/>
                    <a:pt x="162" y="323"/>
                    <a:pt x="162" y="323"/>
                  </a:cubicBezTo>
                  <a:cubicBezTo>
                    <a:pt x="145" y="318"/>
                    <a:pt x="133" y="314"/>
                    <a:pt x="126" y="311"/>
                  </a:cubicBezTo>
                  <a:cubicBezTo>
                    <a:pt x="119" y="307"/>
                    <a:pt x="113" y="302"/>
                    <a:pt x="108" y="294"/>
                  </a:cubicBezTo>
                  <a:cubicBezTo>
                    <a:pt x="103" y="287"/>
                    <a:pt x="100" y="277"/>
                    <a:pt x="100" y="266"/>
                  </a:cubicBezTo>
                  <a:cubicBezTo>
                    <a:pt x="100" y="251"/>
                    <a:pt x="105" y="239"/>
                    <a:pt x="116" y="229"/>
                  </a:cubicBezTo>
                  <a:cubicBezTo>
                    <a:pt x="126" y="219"/>
                    <a:pt x="142" y="213"/>
                    <a:pt x="162" y="212"/>
                  </a:cubicBezTo>
                  <a:cubicBezTo>
                    <a:pt x="162" y="200"/>
                    <a:pt x="162" y="200"/>
                    <a:pt x="162" y="200"/>
                  </a:cubicBezTo>
                  <a:cubicBezTo>
                    <a:pt x="181" y="200"/>
                    <a:pt x="181" y="200"/>
                    <a:pt x="181" y="200"/>
                  </a:cubicBezTo>
                  <a:cubicBezTo>
                    <a:pt x="181" y="212"/>
                    <a:pt x="181" y="212"/>
                    <a:pt x="181" y="212"/>
                  </a:cubicBezTo>
                  <a:cubicBezTo>
                    <a:pt x="200" y="213"/>
                    <a:pt x="214" y="218"/>
                    <a:pt x="224" y="226"/>
                  </a:cubicBezTo>
                  <a:cubicBezTo>
                    <a:pt x="234" y="233"/>
                    <a:pt x="240" y="244"/>
                    <a:pt x="243" y="257"/>
                  </a:cubicBezTo>
                  <a:close/>
                  <a:moveTo>
                    <a:pt x="162" y="245"/>
                  </a:moveTo>
                  <a:cubicBezTo>
                    <a:pt x="157" y="246"/>
                    <a:pt x="153" y="249"/>
                    <a:pt x="151" y="251"/>
                  </a:cubicBezTo>
                  <a:cubicBezTo>
                    <a:pt x="149" y="254"/>
                    <a:pt x="148" y="257"/>
                    <a:pt x="148" y="260"/>
                  </a:cubicBezTo>
                  <a:cubicBezTo>
                    <a:pt x="148" y="264"/>
                    <a:pt x="149" y="267"/>
                    <a:pt x="151" y="270"/>
                  </a:cubicBezTo>
                  <a:cubicBezTo>
                    <a:pt x="153" y="273"/>
                    <a:pt x="157" y="275"/>
                    <a:pt x="162" y="277"/>
                  </a:cubicBezTo>
                  <a:cubicBezTo>
                    <a:pt x="162" y="245"/>
                    <a:pt x="162" y="245"/>
                    <a:pt x="162" y="245"/>
                  </a:cubicBezTo>
                  <a:close/>
                  <a:moveTo>
                    <a:pt x="181" y="369"/>
                  </a:moveTo>
                  <a:cubicBezTo>
                    <a:pt x="188" y="367"/>
                    <a:pt x="193" y="364"/>
                    <a:pt x="196" y="361"/>
                  </a:cubicBezTo>
                  <a:cubicBezTo>
                    <a:pt x="200" y="357"/>
                    <a:pt x="201" y="353"/>
                    <a:pt x="201" y="348"/>
                  </a:cubicBezTo>
                  <a:cubicBezTo>
                    <a:pt x="201" y="345"/>
                    <a:pt x="200" y="341"/>
                    <a:pt x="197" y="338"/>
                  </a:cubicBezTo>
                  <a:cubicBezTo>
                    <a:pt x="194" y="334"/>
                    <a:pt x="189" y="331"/>
                    <a:pt x="181" y="328"/>
                  </a:cubicBezTo>
                  <a:cubicBezTo>
                    <a:pt x="181" y="369"/>
                    <a:pt x="181" y="369"/>
                    <a:pt x="181" y="369"/>
                  </a:cubicBezTo>
                  <a:close/>
                  <a:moveTo>
                    <a:pt x="126" y="102"/>
                  </a:moveTo>
                  <a:cubicBezTo>
                    <a:pt x="213" y="102"/>
                    <a:pt x="213" y="102"/>
                    <a:pt x="213" y="102"/>
                  </a:cubicBezTo>
                  <a:cubicBezTo>
                    <a:pt x="218" y="102"/>
                    <a:pt x="222" y="107"/>
                    <a:pt x="222" y="112"/>
                  </a:cubicBezTo>
                  <a:cubicBezTo>
                    <a:pt x="222" y="112"/>
                    <a:pt x="222" y="112"/>
                    <a:pt x="222" y="112"/>
                  </a:cubicBezTo>
                  <a:cubicBezTo>
                    <a:pt x="222" y="117"/>
                    <a:pt x="218" y="122"/>
                    <a:pt x="213" y="122"/>
                  </a:cubicBezTo>
                  <a:cubicBezTo>
                    <a:pt x="126" y="122"/>
                    <a:pt x="126" y="122"/>
                    <a:pt x="126" y="122"/>
                  </a:cubicBezTo>
                  <a:cubicBezTo>
                    <a:pt x="121" y="122"/>
                    <a:pt x="116" y="117"/>
                    <a:pt x="116" y="112"/>
                  </a:cubicBezTo>
                  <a:cubicBezTo>
                    <a:pt x="116" y="112"/>
                    <a:pt x="116" y="112"/>
                    <a:pt x="116" y="112"/>
                  </a:cubicBezTo>
                  <a:cubicBezTo>
                    <a:pt x="116" y="107"/>
                    <a:pt x="121" y="102"/>
                    <a:pt x="126" y="102"/>
                  </a:cubicBezTo>
                  <a:close/>
                  <a:moveTo>
                    <a:pt x="129" y="137"/>
                  </a:moveTo>
                  <a:cubicBezTo>
                    <a:pt x="107" y="178"/>
                    <a:pt x="67" y="206"/>
                    <a:pt x="42" y="246"/>
                  </a:cubicBezTo>
                  <a:cubicBezTo>
                    <a:pt x="11" y="296"/>
                    <a:pt x="0" y="349"/>
                    <a:pt x="4" y="406"/>
                  </a:cubicBezTo>
                  <a:cubicBezTo>
                    <a:pt x="8" y="454"/>
                    <a:pt x="40" y="458"/>
                    <a:pt x="84" y="466"/>
                  </a:cubicBezTo>
                  <a:cubicBezTo>
                    <a:pt x="141" y="475"/>
                    <a:pt x="200" y="475"/>
                    <a:pt x="257" y="466"/>
                  </a:cubicBezTo>
                  <a:cubicBezTo>
                    <a:pt x="304" y="457"/>
                    <a:pt x="334" y="453"/>
                    <a:pt x="337" y="403"/>
                  </a:cubicBezTo>
                  <a:cubicBezTo>
                    <a:pt x="339" y="348"/>
                    <a:pt x="330" y="296"/>
                    <a:pt x="299" y="246"/>
                  </a:cubicBezTo>
                  <a:cubicBezTo>
                    <a:pt x="275" y="206"/>
                    <a:pt x="234" y="178"/>
                    <a:pt x="212" y="137"/>
                  </a:cubicBezTo>
                  <a:lnTo>
                    <a:pt x="129" y="137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57" name="Group 10">
            <a:extLst>
              <a:ext uri="{FF2B5EF4-FFF2-40B4-BE49-F238E27FC236}">
                <a16:creationId xmlns:a16="http://schemas.microsoft.com/office/drawing/2014/main" xmlns="" id="{98A1BF62-8AEC-415B-BD19-4942D75AC810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094075" y="1529946"/>
            <a:ext cx="494974" cy="424263"/>
            <a:chOff x="1953" y="1972"/>
            <a:chExt cx="518" cy="444"/>
          </a:xfrm>
          <a:effectLst>
            <a:outerShdw blurRad="101600" dist="76200" dir="2700000" algn="ctr" rotWithShape="0">
              <a:srgbClr val="000000">
                <a:alpha val="29000"/>
              </a:srgbClr>
            </a:outerShdw>
          </a:effectLst>
        </p:grpSpPr>
        <p:sp>
          <p:nvSpPr>
            <p:cNvPr id="358" name="AutoShape 9">
              <a:extLst>
                <a:ext uri="{FF2B5EF4-FFF2-40B4-BE49-F238E27FC236}">
                  <a16:creationId xmlns:a16="http://schemas.microsoft.com/office/drawing/2014/main" xmlns="" id="{F7D3BDE0-BE8B-4776-BF3E-0BC95C228EFC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953" y="1972"/>
              <a:ext cx="518" cy="4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9" name="Freeform 11">
              <a:extLst>
                <a:ext uri="{FF2B5EF4-FFF2-40B4-BE49-F238E27FC236}">
                  <a16:creationId xmlns:a16="http://schemas.microsoft.com/office/drawing/2014/main" xmlns="" id="{B9DF6275-2C1B-4EF9-964D-786EDEE2B402}"/>
                </a:ext>
              </a:extLst>
            </p:cNvPr>
            <p:cNvSpPr>
              <a:spLocks/>
            </p:cNvSpPr>
            <p:nvPr/>
          </p:nvSpPr>
          <p:spPr bwMode="auto">
            <a:xfrm>
              <a:off x="1952" y="1973"/>
              <a:ext cx="519" cy="443"/>
            </a:xfrm>
            <a:custGeom>
              <a:avLst/>
              <a:gdLst>
                <a:gd name="T0" fmla="*/ 519 w 519"/>
                <a:gd name="T1" fmla="*/ 5 h 443"/>
                <a:gd name="T2" fmla="*/ 519 w 519"/>
                <a:gd name="T3" fmla="*/ 443 h 443"/>
                <a:gd name="T4" fmla="*/ 0 w 519"/>
                <a:gd name="T5" fmla="*/ 443 h 443"/>
                <a:gd name="T6" fmla="*/ 0 w 519"/>
                <a:gd name="T7" fmla="*/ 25 h 443"/>
                <a:gd name="T8" fmla="*/ 29 w 519"/>
                <a:gd name="T9" fmla="*/ 25 h 443"/>
                <a:gd name="T10" fmla="*/ 29 w 519"/>
                <a:gd name="T11" fmla="*/ 0 h 443"/>
                <a:gd name="T12" fmla="*/ 136 w 519"/>
                <a:gd name="T13" fmla="*/ 0 h 443"/>
                <a:gd name="T14" fmla="*/ 136 w 519"/>
                <a:gd name="T15" fmla="*/ 25 h 443"/>
                <a:gd name="T16" fmla="*/ 164 w 519"/>
                <a:gd name="T17" fmla="*/ 5 h 443"/>
                <a:gd name="T18" fmla="*/ 165 w 519"/>
                <a:gd name="T19" fmla="*/ 47 h 443"/>
                <a:gd name="T20" fmla="*/ 165 w 519"/>
                <a:gd name="T21" fmla="*/ 86 h 443"/>
                <a:gd name="T22" fmla="*/ 285 w 519"/>
                <a:gd name="T23" fmla="*/ 5 h 443"/>
                <a:gd name="T24" fmla="*/ 285 w 519"/>
                <a:gd name="T25" fmla="*/ 84 h 443"/>
                <a:gd name="T26" fmla="*/ 402 w 519"/>
                <a:gd name="T27" fmla="*/ 5 h 443"/>
                <a:gd name="T28" fmla="*/ 402 w 519"/>
                <a:gd name="T29" fmla="*/ 83 h 443"/>
                <a:gd name="T30" fmla="*/ 519 w 519"/>
                <a:gd name="T31" fmla="*/ 5 h 4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519" h="443">
                  <a:moveTo>
                    <a:pt x="519" y="5"/>
                  </a:moveTo>
                  <a:lnTo>
                    <a:pt x="519" y="443"/>
                  </a:lnTo>
                  <a:lnTo>
                    <a:pt x="0" y="443"/>
                  </a:lnTo>
                  <a:lnTo>
                    <a:pt x="0" y="25"/>
                  </a:lnTo>
                  <a:lnTo>
                    <a:pt x="29" y="25"/>
                  </a:lnTo>
                  <a:lnTo>
                    <a:pt x="29" y="0"/>
                  </a:lnTo>
                  <a:lnTo>
                    <a:pt x="136" y="0"/>
                  </a:lnTo>
                  <a:lnTo>
                    <a:pt x="136" y="25"/>
                  </a:lnTo>
                  <a:lnTo>
                    <a:pt x="164" y="5"/>
                  </a:lnTo>
                  <a:lnTo>
                    <a:pt x="165" y="47"/>
                  </a:lnTo>
                  <a:lnTo>
                    <a:pt x="165" y="86"/>
                  </a:lnTo>
                  <a:lnTo>
                    <a:pt x="285" y="5"/>
                  </a:lnTo>
                  <a:lnTo>
                    <a:pt x="285" y="84"/>
                  </a:lnTo>
                  <a:lnTo>
                    <a:pt x="402" y="5"/>
                  </a:lnTo>
                  <a:lnTo>
                    <a:pt x="402" y="83"/>
                  </a:lnTo>
                  <a:lnTo>
                    <a:pt x="519" y="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60" name="Freeform 12">
              <a:extLst>
                <a:ext uri="{FF2B5EF4-FFF2-40B4-BE49-F238E27FC236}">
                  <a16:creationId xmlns:a16="http://schemas.microsoft.com/office/drawing/2014/main" xmlns="" id="{036E5F68-FD59-4A06-B6B9-2BC0426D846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75" y="1995"/>
              <a:ext cx="473" cy="398"/>
            </a:xfrm>
            <a:custGeom>
              <a:avLst/>
              <a:gdLst>
                <a:gd name="T0" fmla="*/ 357 w 473"/>
                <a:gd name="T1" fmla="*/ 103 h 398"/>
                <a:gd name="T2" fmla="*/ 357 w 473"/>
                <a:gd name="T3" fmla="*/ 25 h 398"/>
                <a:gd name="T4" fmla="*/ 239 w 473"/>
                <a:gd name="T5" fmla="*/ 104 h 398"/>
                <a:gd name="T6" fmla="*/ 239 w 473"/>
                <a:gd name="T7" fmla="*/ 25 h 398"/>
                <a:gd name="T8" fmla="*/ 121 w 473"/>
                <a:gd name="T9" fmla="*/ 105 h 398"/>
                <a:gd name="T10" fmla="*/ 119 w 473"/>
                <a:gd name="T11" fmla="*/ 105 h 398"/>
                <a:gd name="T12" fmla="*/ 119 w 473"/>
                <a:gd name="T13" fmla="*/ 26 h 398"/>
                <a:gd name="T14" fmla="*/ 119 w 473"/>
                <a:gd name="T15" fmla="*/ 25 h 398"/>
                <a:gd name="T16" fmla="*/ 118 w 473"/>
                <a:gd name="T17" fmla="*/ 26 h 398"/>
                <a:gd name="T18" fmla="*/ 90 w 473"/>
                <a:gd name="T19" fmla="*/ 26 h 398"/>
                <a:gd name="T20" fmla="*/ 90 w 473"/>
                <a:gd name="T21" fmla="*/ 0 h 398"/>
                <a:gd name="T22" fmla="*/ 29 w 473"/>
                <a:gd name="T23" fmla="*/ 0 h 398"/>
                <a:gd name="T24" fmla="*/ 29 w 473"/>
                <a:gd name="T25" fmla="*/ 26 h 398"/>
                <a:gd name="T26" fmla="*/ 0 w 473"/>
                <a:gd name="T27" fmla="*/ 26 h 398"/>
                <a:gd name="T28" fmla="*/ 0 w 473"/>
                <a:gd name="T29" fmla="*/ 105 h 398"/>
                <a:gd name="T30" fmla="*/ 0 w 473"/>
                <a:gd name="T31" fmla="*/ 133 h 398"/>
                <a:gd name="T32" fmla="*/ 0 w 473"/>
                <a:gd name="T33" fmla="*/ 398 h 398"/>
                <a:gd name="T34" fmla="*/ 473 w 473"/>
                <a:gd name="T35" fmla="*/ 398 h 398"/>
                <a:gd name="T36" fmla="*/ 473 w 473"/>
                <a:gd name="T37" fmla="*/ 137 h 398"/>
                <a:gd name="T38" fmla="*/ 473 w 473"/>
                <a:gd name="T39" fmla="*/ 105 h 398"/>
                <a:gd name="T40" fmla="*/ 473 w 473"/>
                <a:gd name="T41" fmla="*/ 25 h 398"/>
                <a:gd name="T42" fmla="*/ 357 w 473"/>
                <a:gd name="T43" fmla="*/ 103 h 398"/>
                <a:gd name="T44" fmla="*/ 213 w 473"/>
                <a:gd name="T45" fmla="*/ 269 h 398"/>
                <a:gd name="T46" fmla="*/ 54 w 473"/>
                <a:gd name="T47" fmla="*/ 269 h 398"/>
                <a:gd name="T48" fmla="*/ 54 w 473"/>
                <a:gd name="T49" fmla="*/ 154 h 398"/>
                <a:gd name="T50" fmla="*/ 213 w 473"/>
                <a:gd name="T51" fmla="*/ 154 h 398"/>
                <a:gd name="T52" fmla="*/ 213 w 473"/>
                <a:gd name="T53" fmla="*/ 269 h 398"/>
                <a:gd name="T54" fmla="*/ 427 w 473"/>
                <a:gd name="T55" fmla="*/ 269 h 398"/>
                <a:gd name="T56" fmla="*/ 268 w 473"/>
                <a:gd name="T57" fmla="*/ 269 h 398"/>
                <a:gd name="T58" fmla="*/ 268 w 473"/>
                <a:gd name="T59" fmla="*/ 154 h 398"/>
                <a:gd name="T60" fmla="*/ 427 w 473"/>
                <a:gd name="T61" fmla="*/ 154 h 398"/>
                <a:gd name="T62" fmla="*/ 427 w 473"/>
                <a:gd name="T63" fmla="*/ 269 h 3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73" h="398">
                  <a:moveTo>
                    <a:pt x="357" y="103"/>
                  </a:moveTo>
                  <a:lnTo>
                    <a:pt x="357" y="25"/>
                  </a:lnTo>
                  <a:lnTo>
                    <a:pt x="239" y="104"/>
                  </a:lnTo>
                  <a:lnTo>
                    <a:pt x="239" y="25"/>
                  </a:lnTo>
                  <a:lnTo>
                    <a:pt x="121" y="105"/>
                  </a:lnTo>
                  <a:lnTo>
                    <a:pt x="119" y="105"/>
                  </a:lnTo>
                  <a:lnTo>
                    <a:pt x="119" y="26"/>
                  </a:lnTo>
                  <a:lnTo>
                    <a:pt x="119" y="25"/>
                  </a:lnTo>
                  <a:lnTo>
                    <a:pt x="118" y="26"/>
                  </a:lnTo>
                  <a:lnTo>
                    <a:pt x="90" y="26"/>
                  </a:lnTo>
                  <a:lnTo>
                    <a:pt x="90" y="0"/>
                  </a:lnTo>
                  <a:lnTo>
                    <a:pt x="29" y="0"/>
                  </a:lnTo>
                  <a:lnTo>
                    <a:pt x="29" y="26"/>
                  </a:lnTo>
                  <a:lnTo>
                    <a:pt x="0" y="26"/>
                  </a:lnTo>
                  <a:lnTo>
                    <a:pt x="0" y="105"/>
                  </a:lnTo>
                  <a:lnTo>
                    <a:pt x="0" y="133"/>
                  </a:lnTo>
                  <a:lnTo>
                    <a:pt x="0" y="398"/>
                  </a:lnTo>
                  <a:lnTo>
                    <a:pt x="473" y="398"/>
                  </a:lnTo>
                  <a:lnTo>
                    <a:pt x="473" y="137"/>
                  </a:lnTo>
                  <a:lnTo>
                    <a:pt x="473" y="105"/>
                  </a:lnTo>
                  <a:lnTo>
                    <a:pt x="473" y="25"/>
                  </a:lnTo>
                  <a:lnTo>
                    <a:pt x="357" y="103"/>
                  </a:lnTo>
                  <a:close/>
                  <a:moveTo>
                    <a:pt x="213" y="269"/>
                  </a:moveTo>
                  <a:lnTo>
                    <a:pt x="54" y="269"/>
                  </a:lnTo>
                  <a:lnTo>
                    <a:pt x="54" y="154"/>
                  </a:lnTo>
                  <a:lnTo>
                    <a:pt x="213" y="154"/>
                  </a:lnTo>
                  <a:lnTo>
                    <a:pt x="213" y="269"/>
                  </a:lnTo>
                  <a:close/>
                  <a:moveTo>
                    <a:pt x="427" y="269"/>
                  </a:moveTo>
                  <a:lnTo>
                    <a:pt x="268" y="269"/>
                  </a:lnTo>
                  <a:lnTo>
                    <a:pt x="268" y="154"/>
                  </a:lnTo>
                  <a:lnTo>
                    <a:pt x="427" y="154"/>
                  </a:lnTo>
                  <a:lnTo>
                    <a:pt x="427" y="269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61" name="Group 7">
            <a:extLst>
              <a:ext uri="{FF2B5EF4-FFF2-40B4-BE49-F238E27FC236}">
                <a16:creationId xmlns:a16="http://schemas.microsoft.com/office/drawing/2014/main" xmlns="" id="{241E887A-A563-458B-9F5C-37F570FB235B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610182" y="2045852"/>
            <a:ext cx="343084" cy="582203"/>
            <a:chOff x="2992" y="866"/>
            <a:chExt cx="363" cy="616"/>
          </a:xfrm>
          <a:effectLst>
            <a:outerShdw blurRad="101600" dist="76200" dir="2700000" algn="ctr" rotWithShape="0">
              <a:srgbClr val="000000">
                <a:alpha val="29000"/>
              </a:srgbClr>
            </a:outerShdw>
          </a:effectLst>
        </p:grpSpPr>
        <p:sp>
          <p:nvSpPr>
            <p:cNvPr id="362" name="AutoShape 6">
              <a:extLst>
                <a:ext uri="{FF2B5EF4-FFF2-40B4-BE49-F238E27FC236}">
                  <a16:creationId xmlns:a16="http://schemas.microsoft.com/office/drawing/2014/main" xmlns="" id="{1F32D12B-84AF-4AFD-A502-2C68F3A78150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992" y="866"/>
              <a:ext cx="363" cy="6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63" name="Rectangle 8">
              <a:extLst>
                <a:ext uri="{FF2B5EF4-FFF2-40B4-BE49-F238E27FC236}">
                  <a16:creationId xmlns:a16="http://schemas.microsoft.com/office/drawing/2014/main" xmlns="" id="{189749AB-616D-493B-8E38-4A119B992CB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93" y="865"/>
              <a:ext cx="361" cy="618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64" name="Freeform 9">
              <a:extLst>
                <a:ext uri="{FF2B5EF4-FFF2-40B4-BE49-F238E27FC236}">
                  <a16:creationId xmlns:a16="http://schemas.microsoft.com/office/drawing/2014/main" xmlns="" id="{45930D4F-0907-449A-9551-FD43915386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13" y="884"/>
              <a:ext cx="321" cy="580"/>
            </a:xfrm>
            <a:custGeom>
              <a:avLst/>
              <a:gdLst>
                <a:gd name="T0" fmla="*/ 0 w 321"/>
                <a:gd name="T1" fmla="*/ 580 h 580"/>
                <a:gd name="T2" fmla="*/ 321 w 321"/>
                <a:gd name="T3" fmla="*/ 0 h 580"/>
                <a:gd name="T4" fmla="*/ 102 w 321"/>
                <a:gd name="T5" fmla="*/ 23 h 580"/>
                <a:gd name="T6" fmla="*/ 148 w 321"/>
                <a:gd name="T7" fmla="*/ 76 h 580"/>
                <a:gd name="T8" fmla="*/ 102 w 321"/>
                <a:gd name="T9" fmla="*/ 23 h 580"/>
                <a:gd name="T10" fmla="*/ 148 w 321"/>
                <a:gd name="T11" fmla="*/ 99 h 580"/>
                <a:gd name="T12" fmla="*/ 102 w 321"/>
                <a:gd name="T13" fmla="*/ 152 h 580"/>
                <a:gd name="T14" fmla="*/ 102 w 321"/>
                <a:gd name="T15" fmla="*/ 175 h 580"/>
                <a:gd name="T16" fmla="*/ 148 w 321"/>
                <a:gd name="T17" fmla="*/ 228 h 580"/>
                <a:gd name="T18" fmla="*/ 102 w 321"/>
                <a:gd name="T19" fmla="*/ 175 h 580"/>
                <a:gd name="T20" fmla="*/ 148 w 321"/>
                <a:gd name="T21" fmla="*/ 251 h 580"/>
                <a:gd name="T22" fmla="*/ 102 w 321"/>
                <a:gd name="T23" fmla="*/ 305 h 580"/>
                <a:gd name="T24" fmla="*/ 102 w 321"/>
                <a:gd name="T25" fmla="*/ 329 h 580"/>
                <a:gd name="T26" fmla="*/ 148 w 321"/>
                <a:gd name="T27" fmla="*/ 381 h 580"/>
                <a:gd name="T28" fmla="*/ 102 w 321"/>
                <a:gd name="T29" fmla="*/ 329 h 580"/>
                <a:gd name="T30" fmla="*/ 32 w 321"/>
                <a:gd name="T31" fmla="*/ 458 h 580"/>
                <a:gd name="T32" fmla="*/ 79 w 321"/>
                <a:gd name="T33" fmla="*/ 405 h 580"/>
                <a:gd name="T34" fmla="*/ 79 w 321"/>
                <a:gd name="T35" fmla="*/ 381 h 580"/>
                <a:gd name="T36" fmla="*/ 32 w 321"/>
                <a:gd name="T37" fmla="*/ 329 h 580"/>
                <a:gd name="T38" fmla="*/ 79 w 321"/>
                <a:gd name="T39" fmla="*/ 381 h 580"/>
                <a:gd name="T40" fmla="*/ 32 w 321"/>
                <a:gd name="T41" fmla="*/ 305 h 580"/>
                <a:gd name="T42" fmla="*/ 79 w 321"/>
                <a:gd name="T43" fmla="*/ 251 h 580"/>
                <a:gd name="T44" fmla="*/ 79 w 321"/>
                <a:gd name="T45" fmla="*/ 228 h 580"/>
                <a:gd name="T46" fmla="*/ 32 w 321"/>
                <a:gd name="T47" fmla="*/ 175 h 580"/>
                <a:gd name="T48" fmla="*/ 79 w 321"/>
                <a:gd name="T49" fmla="*/ 228 h 580"/>
                <a:gd name="T50" fmla="*/ 32 w 321"/>
                <a:gd name="T51" fmla="*/ 152 h 580"/>
                <a:gd name="T52" fmla="*/ 79 w 321"/>
                <a:gd name="T53" fmla="*/ 99 h 580"/>
                <a:gd name="T54" fmla="*/ 79 w 321"/>
                <a:gd name="T55" fmla="*/ 76 h 580"/>
                <a:gd name="T56" fmla="*/ 32 w 321"/>
                <a:gd name="T57" fmla="*/ 23 h 580"/>
                <a:gd name="T58" fmla="*/ 79 w 321"/>
                <a:gd name="T59" fmla="*/ 76 h 580"/>
                <a:gd name="T60" fmla="*/ 102 w 321"/>
                <a:gd name="T61" fmla="*/ 561 h 580"/>
                <a:gd name="T62" fmla="*/ 219 w 321"/>
                <a:gd name="T63" fmla="*/ 405 h 580"/>
                <a:gd name="T64" fmla="*/ 219 w 321"/>
                <a:gd name="T65" fmla="*/ 381 h 580"/>
                <a:gd name="T66" fmla="*/ 173 w 321"/>
                <a:gd name="T67" fmla="*/ 329 h 580"/>
                <a:gd name="T68" fmla="*/ 219 w 321"/>
                <a:gd name="T69" fmla="*/ 381 h 580"/>
                <a:gd name="T70" fmla="*/ 173 w 321"/>
                <a:gd name="T71" fmla="*/ 305 h 580"/>
                <a:gd name="T72" fmla="*/ 219 w 321"/>
                <a:gd name="T73" fmla="*/ 251 h 580"/>
                <a:gd name="T74" fmla="*/ 219 w 321"/>
                <a:gd name="T75" fmla="*/ 228 h 580"/>
                <a:gd name="T76" fmla="*/ 173 w 321"/>
                <a:gd name="T77" fmla="*/ 175 h 580"/>
                <a:gd name="T78" fmla="*/ 219 w 321"/>
                <a:gd name="T79" fmla="*/ 228 h 580"/>
                <a:gd name="T80" fmla="*/ 173 w 321"/>
                <a:gd name="T81" fmla="*/ 152 h 580"/>
                <a:gd name="T82" fmla="*/ 219 w 321"/>
                <a:gd name="T83" fmla="*/ 99 h 580"/>
                <a:gd name="T84" fmla="*/ 219 w 321"/>
                <a:gd name="T85" fmla="*/ 76 h 580"/>
                <a:gd name="T86" fmla="*/ 173 w 321"/>
                <a:gd name="T87" fmla="*/ 23 h 580"/>
                <a:gd name="T88" fmla="*/ 219 w 321"/>
                <a:gd name="T89" fmla="*/ 76 h 580"/>
                <a:gd name="T90" fmla="*/ 242 w 321"/>
                <a:gd name="T91" fmla="*/ 458 h 580"/>
                <a:gd name="T92" fmla="*/ 289 w 321"/>
                <a:gd name="T93" fmla="*/ 405 h 580"/>
                <a:gd name="T94" fmla="*/ 289 w 321"/>
                <a:gd name="T95" fmla="*/ 381 h 580"/>
                <a:gd name="T96" fmla="*/ 242 w 321"/>
                <a:gd name="T97" fmla="*/ 329 h 580"/>
                <a:gd name="T98" fmla="*/ 289 w 321"/>
                <a:gd name="T99" fmla="*/ 381 h 580"/>
                <a:gd name="T100" fmla="*/ 242 w 321"/>
                <a:gd name="T101" fmla="*/ 305 h 580"/>
                <a:gd name="T102" fmla="*/ 289 w 321"/>
                <a:gd name="T103" fmla="*/ 251 h 580"/>
                <a:gd name="T104" fmla="*/ 289 w 321"/>
                <a:gd name="T105" fmla="*/ 228 h 580"/>
                <a:gd name="T106" fmla="*/ 242 w 321"/>
                <a:gd name="T107" fmla="*/ 175 h 580"/>
                <a:gd name="T108" fmla="*/ 289 w 321"/>
                <a:gd name="T109" fmla="*/ 228 h 580"/>
                <a:gd name="T110" fmla="*/ 242 w 321"/>
                <a:gd name="T111" fmla="*/ 152 h 580"/>
                <a:gd name="T112" fmla="*/ 289 w 321"/>
                <a:gd name="T113" fmla="*/ 99 h 580"/>
                <a:gd name="T114" fmla="*/ 289 w 321"/>
                <a:gd name="T115" fmla="*/ 76 h 580"/>
                <a:gd name="T116" fmla="*/ 242 w 321"/>
                <a:gd name="T117" fmla="*/ 23 h 580"/>
                <a:gd name="T118" fmla="*/ 289 w 321"/>
                <a:gd name="T119" fmla="*/ 76 h 5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21" h="580">
                  <a:moveTo>
                    <a:pt x="0" y="0"/>
                  </a:moveTo>
                  <a:lnTo>
                    <a:pt x="0" y="580"/>
                  </a:lnTo>
                  <a:lnTo>
                    <a:pt x="321" y="580"/>
                  </a:lnTo>
                  <a:lnTo>
                    <a:pt x="321" y="0"/>
                  </a:lnTo>
                  <a:lnTo>
                    <a:pt x="0" y="0"/>
                  </a:lnTo>
                  <a:close/>
                  <a:moveTo>
                    <a:pt x="102" y="23"/>
                  </a:moveTo>
                  <a:lnTo>
                    <a:pt x="148" y="23"/>
                  </a:lnTo>
                  <a:lnTo>
                    <a:pt x="148" y="76"/>
                  </a:lnTo>
                  <a:lnTo>
                    <a:pt x="102" y="76"/>
                  </a:lnTo>
                  <a:lnTo>
                    <a:pt x="102" y="23"/>
                  </a:lnTo>
                  <a:close/>
                  <a:moveTo>
                    <a:pt x="102" y="99"/>
                  </a:moveTo>
                  <a:lnTo>
                    <a:pt x="148" y="99"/>
                  </a:lnTo>
                  <a:lnTo>
                    <a:pt x="148" y="152"/>
                  </a:lnTo>
                  <a:lnTo>
                    <a:pt x="102" y="152"/>
                  </a:lnTo>
                  <a:lnTo>
                    <a:pt x="102" y="99"/>
                  </a:lnTo>
                  <a:close/>
                  <a:moveTo>
                    <a:pt x="102" y="175"/>
                  </a:moveTo>
                  <a:lnTo>
                    <a:pt x="148" y="175"/>
                  </a:lnTo>
                  <a:lnTo>
                    <a:pt x="148" y="228"/>
                  </a:lnTo>
                  <a:lnTo>
                    <a:pt x="102" y="228"/>
                  </a:lnTo>
                  <a:lnTo>
                    <a:pt x="102" y="175"/>
                  </a:lnTo>
                  <a:close/>
                  <a:moveTo>
                    <a:pt x="102" y="251"/>
                  </a:moveTo>
                  <a:lnTo>
                    <a:pt x="148" y="251"/>
                  </a:lnTo>
                  <a:lnTo>
                    <a:pt x="148" y="305"/>
                  </a:lnTo>
                  <a:lnTo>
                    <a:pt x="102" y="305"/>
                  </a:lnTo>
                  <a:lnTo>
                    <a:pt x="102" y="251"/>
                  </a:lnTo>
                  <a:close/>
                  <a:moveTo>
                    <a:pt x="102" y="329"/>
                  </a:moveTo>
                  <a:lnTo>
                    <a:pt x="148" y="329"/>
                  </a:lnTo>
                  <a:lnTo>
                    <a:pt x="148" y="381"/>
                  </a:lnTo>
                  <a:lnTo>
                    <a:pt x="102" y="381"/>
                  </a:lnTo>
                  <a:lnTo>
                    <a:pt x="102" y="329"/>
                  </a:lnTo>
                  <a:close/>
                  <a:moveTo>
                    <a:pt x="79" y="458"/>
                  </a:moveTo>
                  <a:lnTo>
                    <a:pt x="32" y="458"/>
                  </a:lnTo>
                  <a:lnTo>
                    <a:pt x="32" y="405"/>
                  </a:lnTo>
                  <a:lnTo>
                    <a:pt x="79" y="405"/>
                  </a:lnTo>
                  <a:lnTo>
                    <a:pt x="79" y="458"/>
                  </a:lnTo>
                  <a:close/>
                  <a:moveTo>
                    <a:pt x="79" y="381"/>
                  </a:moveTo>
                  <a:lnTo>
                    <a:pt x="32" y="381"/>
                  </a:lnTo>
                  <a:lnTo>
                    <a:pt x="32" y="329"/>
                  </a:lnTo>
                  <a:lnTo>
                    <a:pt x="79" y="329"/>
                  </a:lnTo>
                  <a:lnTo>
                    <a:pt x="79" y="381"/>
                  </a:lnTo>
                  <a:close/>
                  <a:moveTo>
                    <a:pt x="79" y="305"/>
                  </a:moveTo>
                  <a:lnTo>
                    <a:pt x="32" y="305"/>
                  </a:lnTo>
                  <a:lnTo>
                    <a:pt x="32" y="251"/>
                  </a:lnTo>
                  <a:lnTo>
                    <a:pt x="79" y="251"/>
                  </a:lnTo>
                  <a:lnTo>
                    <a:pt x="79" y="305"/>
                  </a:lnTo>
                  <a:close/>
                  <a:moveTo>
                    <a:pt x="79" y="228"/>
                  </a:moveTo>
                  <a:lnTo>
                    <a:pt x="32" y="228"/>
                  </a:lnTo>
                  <a:lnTo>
                    <a:pt x="32" y="175"/>
                  </a:lnTo>
                  <a:lnTo>
                    <a:pt x="79" y="175"/>
                  </a:lnTo>
                  <a:lnTo>
                    <a:pt x="79" y="228"/>
                  </a:lnTo>
                  <a:close/>
                  <a:moveTo>
                    <a:pt x="79" y="152"/>
                  </a:moveTo>
                  <a:lnTo>
                    <a:pt x="32" y="152"/>
                  </a:lnTo>
                  <a:lnTo>
                    <a:pt x="32" y="99"/>
                  </a:lnTo>
                  <a:lnTo>
                    <a:pt x="79" y="99"/>
                  </a:lnTo>
                  <a:lnTo>
                    <a:pt x="79" y="152"/>
                  </a:lnTo>
                  <a:close/>
                  <a:moveTo>
                    <a:pt x="79" y="76"/>
                  </a:moveTo>
                  <a:lnTo>
                    <a:pt x="32" y="76"/>
                  </a:lnTo>
                  <a:lnTo>
                    <a:pt x="32" y="23"/>
                  </a:lnTo>
                  <a:lnTo>
                    <a:pt x="79" y="23"/>
                  </a:lnTo>
                  <a:lnTo>
                    <a:pt x="79" y="76"/>
                  </a:lnTo>
                  <a:close/>
                  <a:moveTo>
                    <a:pt x="219" y="561"/>
                  </a:moveTo>
                  <a:lnTo>
                    <a:pt x="102" y="561"/>
                  </a:lnTo>
                  <a:lnTo>
                    <a:pt x="102" y="405"/>
                  </a:lnTo>
                  <a:lnTo>
                    <a:pt x="219" y="405"/>
                  </a:lnTo>
                  <a:lnTo>
                    <a:pt x="219" y="561"/>
                  </a:lnTo>
                  <a:close/>
                  <a:moveTo>
                    <a:pt x="219" y="381"/>
                  </a:moveTo>
                  <a:lnTo>
                    <a:pt x="173" y="381"/>
                  </a:lnTo>
                  <a:lnTo>
                    <a:pt x="173" y="329"/>
                  </a:lnTo>
                  <a:lnTo>
                    <a:pt x="219" y="329"/>
                  </a:lnTo>
                  <a:lnTo>
                    <a:pt x="219" y="381"/>
                  </a:lnTo>
                  <a:close/>
                  <a:moveTo>
                    <a:pt x="219" y="305"/>
                  </a:moveTo>
                  <a:lnTo>
                    <a:pt x="173" y="305"/>
                  </a:lnTo>
                  <a:lnTo>
                    <a:pt x="173" y="251"/>
                  </a:lnTo>
                  <a:lnTo>
                    <a:pt x="219" y="251"/>
                  </a:lnTo>
                  <a:lnTo>
                    <a:pt x="219" y="305"/>
                  </a:lnTo>
                  <a:close/>
                  <a:moveTo>
                    <a:pt x="219" y="228"/>
                  </a:moveTo>
                  <a:lnTo>
                    <a:pt x="173" y="228"/>
                  </a:lnTo>
                  <a:lnTo>
                    <a:pt x="173" y="175"/>
                  </a:lnTo>
                  <a:lnTo>
                    <a:pt x="219" y="175"/>
                  </a:lnTo>
                  <a:lnTo>
                    <a:pt x="219" y="228"/>
                  </a:lnTo>
                  <a:close/>
                  <a:moveTo>
                    <a:pt x="219" y="152"/>
                  </a:moveTo>
                  <a:lnTo>
                    <a:pt x="173" y="152"/>
                  </a:lnTo>
                  <a:lnTo>
                    <a:pt x="173" y="99"/>
                  </a:lnTo>
                  <a:lnTo>
                    <a:pt x="219" y="99"/>
                  </a:lnTo>
                  <a:lnTo>
                    <a:pt x="219" y="152"/>
                  </a:lnTo>
                  <a:close/>
                  <a:moveTo>
                    <a:pt x="219" y="76"/>
                  </a:moveTo>
                  <a:lnTo>
                    <a:pt x="173" y="76"/>
                  </a:lnTo>
                  <a:lnTo>
                    <a:pt x="173" y="23"/>
                  </a:lnTo>
                  <a:lnTo>
                    <a:pt x="219" y="23"/>
                  </a:lnTo>
                  <a:lnTo>
                    <a:pt x="219" y="76"/>
                  </a:lnTo>
                  <a:close/>
                  <a:moveTo>
                    <a:pt x="289" y="458"/>
                  </a:moveTo>
                  <a:lnTo>
                    <a:pt x="242" y="458"/>
                  </a:lnTo>
                  <a:lnTo>
                    <a:pt x="242" y="405"/>
                  </a:lnTo>
                  <a:lnTo>
                    <a:pt x="289" y="405"/>
                  </a:lnTo>
                  <a:lnTo>
                    <a:pt x="289" y="458"/>
                  </a:lnTo>
                  <a:close/>
                  <a:moveTo>
                    <a:pt x="289" y="381"/>
                  </a:moveTo>
                  <a:lnTo>
                    <a:pt x="242" y="381"/>
                  </a:lnTo>
                  <a:lnTo>
                    <a:pt x="242" y="329"/>
                  </a:lnTo>
                  <a:lnTo>
                    <a:pt x="289" y="329"/>
                  </a:lnTo>
                  <a:lnTo>
                    <a:pt x="289" y="381"/>
                  </a:lnTo>
                  <a:close/>
                  <a:moveTo>
                    <a:pt x="289" y="305"/>
                  </a:moveTo>
                  <a:lnTo>
                    <a:pt x="242" y="305"/>
                  </a:lnTo>
                  <a:lnTo>
                    <a:pt x="242" y="251"/>
                  </a:lnTo>
                  <a:lnTo>
                    <a:pt x="289" y="251"/>
                  </a:lnTo>
                  <a:lnTo>
                    <a:pt x="289" y="305"/>
                  </a:lnTo>
                  <a:close/>
                  <a:moveTo>
                    <a:pt x="289" y="228"/>
                  </a:moveTo>
                  <a:lnTo>
                    <a:pt x="242" y="228"/>
                  </a:lnTo>
                  <a:lnTo>
                    <a:pt x="242" y="175"/>
                  </a:lnTo>
                  <a:lnTo>
                    <a:pt x="289" y="175"/>
                  </a:lnTo>
                  <a:lnTo>
                    <a:pt x="289" y="228"/>
                  </a:lnTo>
                  <a:close/>
                  <a:moveTo>
                    <a:pt x="289" y="152"/>
                  </a:moveTo>
                  <a:lnTo>
                    <a:pt x="242" y="152"/>
                  </a:lnTo>
                  <a:lnTo>
                    <a:pt x="242" y="99"/>
                  </a:lnTo>
                  <a:lnTo>
                    <a:pt x="289" y="99"/>
                  </a:lnTo>
                  <a:lnTo>
                    <a:pt x="289" y="152"/>
                  </a:lnTo>
                  <a:close/>
                  <a:moveTo>
                    <a:pt x="289" y="76"/>
                  </a:moveTo>
                  <a:lnTo>
                    <a:pt x="242" y="76"/>
                  </a:lnTo>
                  <a:lnTo>
                    <a:pt x="242" y="23"/>
                  </a:lnTo>
                  <a:lnTo>
                    <a:pt x="289" y="23"/>
                  </a:lnTo>
                  <a:lnTo>
                    <a:pt x="289" y="76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grpSp>
        <p:nvGrpSpPr>
          <p:cNvPr id="365" name="Group 12">
            <a:extLst>
              <a:ext uri="{FF2B5EF4-FFF2-40B4-BE49-F238E27FC236}">
                <a16:creationId xmlns:a16="http://schemas.microsoft.com/office/drawing/2014/main" xmlns="" id="{0B0CF517-16F5-4BC1-BCD6-5A525FA1983A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079817" y="2047593"/>
            <a:ext cx="670100" cy="569916"/>
            <a:chOff x="3499" y="873"/>
            <a:chExt cx="709" cy="603"/>
          </a:xfrm>
          <a:effectLst>
            <a:outerShdw blurRad="101600" dist="76200" dir="2700000" algn="ctr" rotWithShape="0">
              <a:srgbClr val="000000">
                <a:alpha val="29000"/>
              </a:srgbClr>
            </a:outerShdw>
          </a:effectLst>
        </p:grpSpPr>
        <p:sp>
          <p:nvSpPr>
            <p:cNvPr id="366" name="AutoShape 11">
              <a:extLst>
                <a:ext uri="{FF2B5EF4-FFF2-40B4-BE49-F238E27FC236}">
                  <a16:creationId xmlns:a16="http://schemas.microsoft.com/office/drawing/2014/main" xmlns="" id="{531C7BDB-0323-4D9C-8B46-C5056BD66151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499" y="873"/>
              <a:ext cx="709" cy="60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67" name="Freeform 13">
              <a:extLst>
                <a:ext uri="{FF2B5EF4-FFF2-40B4-BE49-F238E27FC236}">
                  <a16:creationId xmlns:a16="http://schemas.microsoft.com/office/drawing/2014/main" xmlns="" id="{FEA91BBF-D9D9-4CFC-A3EA-958ABB2116AD}"/>
                </a:ext>
              </a:extLst>
            </p:cNvPr>
            <p:cNvSpPr>
              <a:spLocks/>
            </p:cNvSpPr>
            <p:nvPr/>
          </p:nvSpPr>
          <p:spPr bwMode="auto">
            <a:xfrm>
              <a:off x="3498" y="872"/>
              <a:ext cx="711" cy="605"/>
            </a:xfrm>
            <a:custGeom>
              <a:avLst/>
              <a:gdLst>
                <a:gd name="T0" fmla="*/ 711 w 711"/>
                <a:gd name="T1" fmla="*/ 223 h 605"/>
                <a:gd name="T2" fmla="*/ 711 w 711"/>
                <a:gd name="T3" fmla="*/ 605 h 605"/>
                <a:gd name="T4" fmla="*/ 0 w 711"/>
                <a:gd name="T5" fmla="*/ 605 h 605"/>
                <a:gd name="T6" fmla="*/ 0 w 711"/>
                <a:gd name="T7" fmla="*/ 0 h 605"/>
                <a:gd name="T8" fmla="*/ 352 w 711"/>
                <a:gd name="T9" fmla="*/ 0 h 605"/>
                <a:gd name="T10" fmla="*/ 352 w 711"/>
                <a:gd name="T11" fmla="*/ 223 h 605"/>
                <a:gd name="T12" fmla="*/ 711 w 711"/>
                <a:gd name="T13" fmla="*/ 223 h 6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11" h="605">
                  <a:moveTo>
                    <a:pt x="711" y="223"/>
                  </a:moveTo>
                  <a:lnTo>
                    <a:pt x="711" y="605"/>
                  </a:lnTo>
                  <a:lnTo>
                    <a:pt x="0" y="605"/>
                  </a:lnTo>
                  <a:lnTo>
                    <a:pt x="0" y="0"/>
                  </a:lnTo>
                  <a:lnTo>
                    <a:pt x="352" y="0"/>
                  </a:lnTo>
                  <a:lnTo>
                    <a:pt x="352" y="223"/>
                  </a:lnTo>
                  <a:lnTo>
                    <a:pt x="711" y="22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68" name="Freeform 14">
              <a:extLst>
                <a:ext uri="{FF2B5EF4-FFF2-40B4-BE49-F238E27FC236}">
                  <a16:creationId xmlns:a16="http://schemas.microsoft.com/office/drawing/2014/main" xmlns="" id="{179112F9-A2DB-4995-B8FB-72396CB5CDA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7" y="891"/>
              <a:ext cx="673" cy="567"/>
            </a:xfrm>
            <a:custGeom>
              <a:avLst/>
              <a:gdLst>
                <a:gd name="T0" fmla="*/ 0 w 673"/>
                <a:gd name="T1" fmla="*/ 0 h 567"/>
                <a:gd name="T2" fmla="*/ 314 w 673"/>
                <a:gd name="T3" fmla="*/ 567 h 567"/>
                <a:gd name="T4" fmla="*/ 314 w 673"/>
                <a:gd name="T5" fmla="*/ 223 h 567"/>
                <a:gd name="T6" fmla="*/ 146 w 673"/>
                <a:gd name="T7" fmla="*/ 74 h 567"/>
                <a:gd name="T8" fmla="*/ 100 w 673"/>
                <a:gd name="T9" fmla="*/ 97 h 567"/>
                <a:gd name="T10" fmla="*/ 100 w 673"/>
                <a:gd name="T11" fmla="*/ 149 h 567"/>
                <a:gd name="T12" fmla="*/ 146 w 673"/>
                <a:gd name="T13" fmla="*/ 171 h 567"/>
                <a:gd name="T14" fmla="*/ 100 w 673"/>
                <a:gd name="T15" fmla="*/ 171 h 567"/>
                <a:gd name="T16" fmla="*/ 146 w 673"/>
                <a:gd name="T17" fmla="*/ 298 h 567"/>
                <a:gd name="T18" fmla="*/ 100 w 673"/>
                <a:gd name="T19" fmla="*/ 321 h 567"/>
                <a:gd name="T20" fmla="*/ 100 w 673"/>
                <a:gd name="T21" fmla="*/ 372 h 567"/>
                <a:gd name="T22" fmla="*/ 33 w 673"/>
                <a:gd name="T23" fmla="*/ 448 h 567"/>
                <a:gd name="T24" fmla="*/ 78 w 673"/>
                <a:gd name="T25" fmla="*/ 448 h 567"/>
                <a:gd name="T26" fmla="*/ 33 w 673"/>
                <a:gd name="T27" fmla="*/ 321 h 567"/>
                <a:gd name="T28" fmla="*/ 78 w 673"/>
                <a:gd name="T29" fmla="*/ 298 h 567"/>
                <a:gd name="T30" fmla="*/ 78 w 673"/>
                <a:gd name="T31" fmla="*/ 246 h 567"/>
                <a:gd name="T32" fmla="*/ 33 w 673"/>
                <a:gd name="T33" fmla="*/ 223 h 567"/>
                <a:gd name="T34" fmla="*/ 78 w 673"/>
                <a:gd name="T35" fmla="*/ 223 h 567"/>
                <a:gd name="T36" fmla="*/ 33 w 673"/>
                <a:gd name="T37" fmla="*/ 97 h 567"/>
                <a:gd name="T38" fmla="*/ 78 w 673"/>
                <a:gd name="T39" fmla="*/ 74 h 567"/>
                <a:gd name="T40" fmla="*/ 78 w 673"/>
                <a:gd name="T41" fmla="*/ 22 h 567"/>
                <a:gd name="T42" fmla="*/ 100 w 673"/>
                <a:gd name="T43" fmla="*/ 548 h 567"/>
                <a:gd name="T44" fmla="*/ 214 w 673"/>
                <a:gd name="T45" fmla="*/ 548 h 567"/>
                <a:gd name="T46" fmla="*/ 169 w 673"/>
                <a:gd name="T47" fmla="*/ 321 h 567"/>
                <a:gd name="T48" fmla="*/ 214 w 673"/>
                <a:gd name="T49" fmla="*/ 298 h 567"/>
                <a:gd name="T50" fmla="*/ 214 w 673"/>
                <a:gd name="T51" fmla="*/ 246 h 567"/>
                <a:gd name="T52" fmla="*/ 169 w 673"/>
                <a:gd name="T53" fmla="*/ 223 h 567"/>
                <a:gd name="T54" fmla="*/ 214 w 673"/>
                <a:gd name="T55" fmla="*/ 223 h 567"/>
                <a:gd name="T56" fmla="*/ 169 w 673"/>
                <a:gd name="T57" fmla="*/ 97 h 567"/>
                <a:gd name="T58" fmla="*/ 214 w 673"/>
                <a:gd name="T59" fmla="*/ 74 h 567"/>
                <a:gd name="T60" fmla="*/ 214 w 673"/>
                <a:gd name="T61" fmla="*/ 22 h 567"/>
                <a:gd name="T62" fmla="*/ 237 w 673"/>
                <a:gd name="T63" fmla="*/ 448 h 567"/>
                <a:gd name="T64" fmla="*/ 282 w 673"/>
                <a:gd name="T65" fmla="*/ 448 h 567"/>
                <a:gd name="T66" fmla="*/ 237 w 673"/>
                <a:gd name="T67" fmla="*/ 321 h 567"/>
                <a:gd name="T68" fmla="*/ 282 w 673"/>
                <a:gd name="T69" fmla="*/ 298 h 567"/>
                <a:gd name="T70" fmla="*/ 282 w 673"/>
                <a:gd name="T71" fmla="*/ 246 h 567"/>
                <a:gd name="T72" fmla="*/ 237 w 673"/>
                <a:gd name="T73" fmla="*/ 223 h 567"/>
                <a:gd name="T74" fmla="*/ 282 w 673"/>
                <a:gd name="T75" fmla="*/ 223 h 567"/>
                <a:gd name="T76" fmla="*/ 237 w 673"/>
                <a:gd name="T77" fmla="*/ 97 h 567"/>
                <a:gd name="T78" fmla="*/ 282 w 673"/>
                <a:gd name="T79" fmla="*/ 74 h 567"/>
                <a:gd name="T80" fmla="*/ 282 w 673"/>
                <a:gd name="T81" fmla="*/ 22 h 567"/>
                <a:gd name="T82" fmla="*/ 314 w 673"/>
                <a:gd name="T83" fmla="*/ 522 h 567"/>
                <a:gd name="T84" fmla="*/ 472 w 673"/>
                <a:gd name="T85" fmla="*/ 522 h 567"/>
                <a:gd name="T86" fmla="*/ 314 w 673"/>
                <a:gd name="T87" fmla="*/ 396 h 567"/>
                <a:gd name="T88" fmla="*/ 472 w 673"/>
                <a:gd name="T89" fmla="*/ 372 h 567"/>
                <a:gd name="T90" fmla="*/ 472 w 673"/>
                <a:gd name="T91" fmla="*/ 321 h 567"/>
                <a:gd name="T92" fmla="*/ 314 w 673"/>
                <a:gd name="T93" fmla="*/ 298 h 567"/>
                <a:gd name="T94" fmla="*/ 472 w 673"/>
                <a:gd name="T95" fmla="*/ 298 h 567"/>
                <a:gd name="T96" fmla="*/ 495 w 673"/>
                <a:gd name="T97" fmla="*/ 470 h 567"/>
                <a:gd name="T98" fmla="*/ 652 w 673"/>
                <a:gd name="T99" fmla="*/ 448 h 567"/>
                <a:gd name="T100" fmla="*/ 652 w 673"/>
                <a:gd name="T101" fmla="*/ 396 h 567"/>
                <a:gd name="T102" fmla="*/ 495 w 673"/>
                <a:gd name="T103" fmla="*/ 372 h 567"/>
                <a:gd name="T104" fmla="*/ 652 w 673"/>
                <a:gd name="T105" fmla="*/ 372 h 567"/>
                <a:gd name="T106" fmla="*/ 495 w 673"/>
                <a:gd name="T107" fmla="*/ 246 h 5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673" h="567">
                  <a:moveTo>
                    <a:pt x="314" y="223"/>
                  </a:moveTo>
                  <a:lnTo>
                    <a:pt x="314" y="0"/>
                  </a:lnTo>
                  <a:lnTo>
                    <a:pt x="0" y="0"/>
                  </a:lnTo>
                  <a:lnTo>
                    <a:pt x="0" y="567"/>
                  </a:lnTo>
                  <a:lnTo>
                    <a:pt x="313" y="567"/>
                  </a:lnTo>
                  <a:lnTo>
                    <a:pt x="314" y="567"/>
                  </a:lnTo>
                  <a:lnTo>
                    <a:pt x="673" y="567"/>
                  </a:lnTo>
                  <a:lnTo>
                    <a:pt x="673" y="223"/>
                  </a:lnTo>
                  <a:lnTo>
                    <a:pt x="314" y="223"/>
                  </a:lnTo>
                  <a:close/>
                  <a:moveTo>
                    <a:pt x="100" y="22"/>
                  </a:moveTo>
                  <a:lnTo>
                    <a:pt x="146" y="22"/>
                  </a:lnTo>
                  <a:lnTo>
                    <a:pt x="146" y="74"/>
                  </a:lnTo>
                  <a:lnTo>
                    <a:pt x="100" y="74"/>
                  </a:lnTo>
                  <a:lnTo>
                    <a:pt x="100" y="22"/>
                  </a:lnTo>
                  <a:close/>
                  <a:moveTo>
                    <a:pt x="100" y="97"/>
                  </a:moveTo>
                  <a:lnTo>
                    <a:pt x="146" y="97"/>
                  </a:lnTo>
                  <a:lnTo>
                    <a:pt x="146" y="149"/>
                  </a:lnTo>
                  <a:lnTo>
                    <a:pt x="100" y="149"/>
                  </a:lnTo>
                  <a:lnTo>
                    <a:pt x="100" y="97"/>
                  </a:lnTo>
                  <a:close/>
                  <a:moveTo>
                    <a:pt x="100" y="171"/>
                  </a:moveTo>
                  <a:lnTo>
                    <a:pt x="146" y="171"/>
                  </a:lnTo>
                  <a:lnTo>
                    <a:pt x="146" y="223"/>
                  </a:lnTo>
                  <a:lnTo>
                    <a:pt x="100" y="223"/>
                  </a:lnTo>
                  <a:lnTo>
                    <a:pt x="100" y="171"/>
                  </a:lnTo>
                  <a:close/>
                  <a:moveTo>
                    <a:pt x="100" y="246"/>
                  </a:moveTo>
                  <a:lnTo>
                    <a:pt x="146" y="246"/>
                  </a:lnTo>
                  <a:lnTo>
                    <a:pt x="146" y="298"/>
                  </a:lnTo>
                  <a:lnTo>
                    <a:pt x="100" y="298"/>
                  </a:lnTo>
                  <a:lnTo>
                    <a:pt x="100" y="246"/>
                  </a:lnTo>
                  <a:close/>
                  <a:moveTo>
                    <a:pt x="100" y="321"/>
                  </a:moveTo>
                  <a:lnTo>
                    <a:pt x="146" y="321"/>
                  </a:lnTo>
                  <a:lnTo>
                    <a:pt x="146" y="372"/>
                  </a:lnTo>
                  <a:lnTo>
                    <a:pt x="100" y="372"/>
                  </a:lnTo>
                  <a:lnTo>
                    <a:pt x="100" y="321"/>
                  </a:lnTo>
                  <a:close/>
                  <a:moveTo>
                    <a:pt x="78" y="448"/>
                  </a:moveTo>
                  <a:lnTo>
                    <a:pt x="33" y="448"/>
                  </a:lnTo>
                  <a:lnTo>
                    <a:pt x="33" y="396"/>
                  </a:lnTo>
                  <a:lnTo>
                    <a:pt x="78" y="396"/>
                  </a:lnTo>
                  <a:lnTo>
                    <a:pt x="78" y="448"/>
                  </a:lnTo>
                  <a:close/>
                  <a:moveTo>
                    <a:pt x="78" y="372"/>
                  </a:moveTo>
                  <a:lnTo>
                    <a:pt x="33" y="372"/>
                  </a:lnTo>
                  <a:lnTo>
                    <a:pt x="33" y="321"/>
                  </a:lnTo>
                  <a:lnTo>
                    <a:pt x="78" y="321"/>
                  </a:lnTo>
                  <a:lnTo>
                    <a:pt x="78" y="372"/>
                  </a:lnTo>
                  <a:close/>
                  <a:moveTo>
                    <a:pt x="78" y="298"/>
                  </a:moveTo>
                  <a:lnTo>
                    <a:pt x="33" y="298"/>
                  </a:lnTo>
                  <a:lnTo>
                    <a:pt x="33" y="246"/>
                  </a:lnTo>
                  <a:lnTo>
                    <a:pt x="78" y="246"/>
                  </a:lnTo>
                  <a:lnTo>
                    <a:pt x="78" y="298"/>
                  </a:lnTo>
                  <a:close/>
                  <a:moveTo>
                    <a:pt x="78" y="223"/>
                  </a:moveTo>
                  <a:lnTo>
                    <a:pt x="33" y="223"/>
                  </a:lnTo>
                  <a:lnTo>
                    <a:pt x="33" y="171"/>
                  </a:lnTo>
                  <a:lnTo>
                    <a:pt x="78" y="171"/>
                  </a:lnTo>
                  <a:lnTo>
                    <a:pt x="78" y="223"/>
                  </a:lnTo>
                  <a:close/>
                  <a:moveTo>
                    <a:pt x="78" y="149"/>
                  </a:moveTo>
                  <a:lnTo>
                    <a:pt x="33" y="149"/>
                  </a:lnTo>
                  <a:lnTo>
                    <a:pt x="33" y="97"/>
                  </a:lnTo>
                  <a:lnTo>
                    <a:pt x="78" y="97"/>
                  </a:lnTo>
                  <a:lnTo>
                    <a:pt x="78" y="149"/>
                  </a:lnTo>
                  <a:close/>
                  <a:moveTo>
                    <a:pt x="78" y="74"/>
                  </a:moveTo>
                  <a:lnTo>
                    <a:pt x="33" y="74"/>
                  </a:lnTo>
                  <a:lnTo>
                    <a:pt x="33" y="22"/>
                  </a:lnTo>
                  <a:lnTo>
                    <a:pt x="78" y="22"/>
                  </a:lnTo>
                  <a:lnTo>
                    <a:pt x="78" y="74"/>
                  </a:lnTo>
                  <a:close/>
                  <a:moveTo>
                    <a:pt x="214" y="548"/>
                  </a:moveTo>
                  <a:lnTo>
                    <a:pt x="100" y="548"/>
                  </a:lnTo>
                  <a:lnTo>
                    <a:pt x="100" y="396"/>
                  </a:lnTo>
                  <a:lnTo>
                    <a:pt x="214" y="396"/>
                  </a:lnTo>
                  <a:lnTo>
                    <a:pt x="214" y="548"/>
                  </a:lnTo>
                  <a:close/>
                  <a:moveTo>
                    <a:pt x="214" y="372"/>
                  </a:moveTo>
                  <a:lnTo>
                    <a:pt x="169" y="372"/>
                  </a:lnTo>
                  <a:lnTo>
                    <a:pt x="169" y="321"/>
                  </a:lnTo>
                  <a:lnTo>
                    <a:pt x="214" y="321"/>
                  </a:lnTo>
                  <a:lnTo>
                    <a:pt x="214" y="372"/>
                  </a:lnTo>
                  <a:close/>
                  <a:moveTo>
                    <a:pt x="214" y="298"/>
                  </a:moveTo>
                  <a:lnTo>
                    <a:pt x="169" y="298"/>
                  </a:lnTo>
                  <a:lnTo>
                    <a:pt x="169" y="246"/>
                  </a:lnTo>
                  <a:lnTo>
                    <a:pt x="214" y="246"/>
                  </a:lnTo>
                  <a:lnTo>
                    <a:pt x="214" y="298"/>
                  </a:lnTo>
                  <a:close/>
                  <a:moveTo>
                    <a:pt x="214" y="223"/>
                  </a:moveTo>
                  <a:lnTo>
                    <a:pt x="169" y="223"/>
                  </a:lnTo>
                  <a:lnTo>
                    <a:pt x="169" y="171"/>
                  </a:lnTo>
                  <a:lnTo>
                    <a:pt x="214" y="171"/>
                  </a:lnTo>
                  <a:lnTo>
                    <a:pt x="214" y="223"/>
                  </a:lnTo>
                  <a:close/>
                  <a:moveTo>
                    <a:pt x="214" y="149"/>
                  </a:moveTo>
                  <a:lnTo>
                    <a:pt x="169" y="149"/>
                  </a:lnTo>
                  <a:lnTo>
                    <a:pt x="169" y="97"/>
                  </a:lnTo>
                  <a:lnTo>
                    <a:pt x="214" y="97"/>
                  </a:lnTo>
                  <a:lnTo>
                    <a:pt x="214" y="149"/>
                  </a:lnTo>
                  <a:close/>
                  <a:moveTo>
                    <a:pt x="214" y="74"/>
                  </a:moveTo>
                  <a:lnTo>
                    <a:pt x="169" y="74"/>
                  </a:lnTo>
                  <a:lnTo>
                    <a:pt x="169" y="22"/>
                  </a:lnTo>
                  <a:lnTo>
                    <a:pt x="214" y="22"/>
                  </a:lnTo>
                  <a:lnTo>
                    <a:pt x="214" y="74"/>
                  </a:lnTo>
                  <a:close/>
                  <a:moveTo>
                    <a:pt x="282" y="448"/>
                  </a:moveTo>
                  <a:lnTo>
                    <a:pt x="237" y="448"/>
                  </a:lnTo>
                  <a:lnTo>
                    <a:pt x="237" y="396"/>
                  </a:lnTo>
                  <a:lnTo>
                    <a:pt x="282" y="396"/>
                  </a:lnTo>
                  <a:lnTo>
                    <a:pt x="282" y="448"/>
                  </a:lnTo>
                  <a:close/>
                  <a:moveTo>
                    <a:pt x="282" y="372"/>
                  </a:moveTo>
                  <a:lnTo>
                    <a:pt x="237" y="372"/>
                  </a:lnTo>
                  <a:lnTo>
                    <a:pt x="237" y="321"/>
                  </a:lnTo>
                  <a:lnTo>
                    <a:pt x="282" y="321"/>
                  </a:lnTo>
                  <a:lnTo>
                    <a:pt x="282" y="372"/>
                  </a:lnTo>
                  <a:close/>
                  <a:moveTo>
                    <a:pt x="282" y="298"/>
                  </a:moveTo>
                  <a:lnTo>
                    <a:pt x="237" y="298"/>
                  </a:lnTo>
                  <a:lnTo>
                    <a:pt x="237" y="246"/>
                  </a:lnTo>
                  <a:lnTo>
                    <a:pt x="282" y="246"/>
                  </a:lnTo>
                  <a:lnTo>
                    <a:pt x="282" y="298"/>
                  </a:lnTo>
                  <a:close/>
                  <a:moveTo>
                    <a:pt x="282" y="223"/>
                  </a:moveTo>
                  <a:lnTo>
                    <a:pt x="237" y="223"/>
                  </a:lnTo>
                  <a:lnTo>
                    <a:pt x="237" y="171"/>
                  </a:lnTo>
                  <a:lnTo>
                    <a:pt x="282" y="171"/>
                  </a:lnTo>
                  <a:lnTo>
                    <a:pt x="282" y="223"/>
                  </a:lnTo>
                  <a:close/>
                  <a:moveTo>
                    <a:pt x="282" y="149"/>
                  </a:moveTo>
                  <a:lnTo>
                    <a:pt x="237" y="149"/>
                  </a:lnTo>
                  <a:lnTo>
                    <a:pt x="237" y="97"/>
                  </a:lnTo>
                  <a:lnTo>
                    <a:pt x="282" y="97"/>
                  </a:lnTo>
                  <a:lnTo>
                    <a:pt x="282" y="149"/>
                  </a:lnTo>
                  <a:close/>
                  <a:moveTo>
                    <a:pt x="282" y="74"/>
                  </a:moveTo>
                  <a:lnTo>
                    <a:pt x="237" y="74"/>
                  </a:lnTo>
                  <a:lnTo>
                    <a:pt x="237" y="22"/>
                  </a:lnTo>
                  <a:lnTo>
                    <a:pt x="282" y="22"/>
                  </a:lnTo>
                  <a:lnTo>
                    <a:pt x="282" y="74"/>
                  </a:lnTo>
                  <a:close/>
                  <a:moveTo>
                    <a:pt x="472" y="522"/>
                  </a:moveTo>
                  <a:lnTo>
                    <a:pt x="314" y="522"/>
                  </a:lnTo>
                  <a:lnTo>
                    <a:pt x="314" y="470"/>
                  </a:lnTo>
                  <a:lnTo>
                    <a:pt x="472" y="470"/>
                  </a:lnTo>
                  <a:lnTo>
                    <a:pt x="472" y="522"/>
                  </a:lnTo>
                  <a:close/>
                  <a:moveTo>
                    <a:pt x="472" y="448"/>
                  </a:moveTo>
                  <a:lnTo>
                    <a:pt x="314" y="448"/>
                  </a:lnTo>
                  <a:lnTo>
                    <a:pt x="314" y="396"/>
                  </a:lnTo>
                  <a:lnTo>
                    <a:pt x="472" y="396"/>
                  </a:lnTo>
                  <a:lnTo>
                    <a:pt x="472" y="448"/>
                  </a:lnTo>
                  <a:close/>
                  <a:moveTo>
                    <a:pt x="472" y="372"/>
                  </a:moveTo>
                  <a:lnTo>
                    <a:pt x="314" y="372"/>
                  </a:lnTo>
                  <a:lnTo>
                    <a:pt x="314" y="321"/>
                  </a:lnTo>
                  <a:lnTo>
                    <a:pt x="472" y="321"/>
                  </a:lnTo>
                  <a:lnTo>
                    <a:pt x="472" y="372"/>
                  </a:lnTo>
                  <a:close/>
                  <a:moveTo>
                    <a:pt x="472" y="298"/>
                  </a:moveTo>
                  <a:lnTo>
                    <a:pt x="314" y="298"/>
                  </a:lnTo>
                  <a:lnTo>
                    <a:pt x="314" y="246"/>
                  </a:lnTo>
                  <a:lnTo>
                    <a:pt x="472" y="246"/>
                  </a:lnTo>
                  <a:lnTo>
                    <a:pt x="472" y="298"/>
                  </a:lnTo>
                  <a:close/>
                  <a:moveTo>
                    <a:pt x="652" y="522"/>
                  </a:moveTo>
                  <a:lnTo>
                    <a:pt x="495" y="522"/>
                  </a:lnTo>
                  <a:lnTo>
                    <a:pt x="495" y="470"/>
                  </a:lnTo>
                  <a:lnTo>
                    <a:pt x="652" y="470"/>
                  </a:lnTo>
                  <a:lnTo>
                    <a:pt x="652" y="522"/>
                  </a:lnTo>
                  <a:close/>
                  <a:moveTo>
                    <a:pt x="652" y="448"/>
                  </a:moveTo>
                  <a:lnTo>
                    <a:pt x="495" y="448"/>
                  </a:lnTo>
                  <a:lnTo>
                    <a:pt x="495" y="396"/>
                  </a:lnTo>
                  <a:lnTo>
                    <a:pt x="652" y="396"/>
                  </a:lnTo>
                  <a:lnTo>
                    <a:pt x="652" y="448"/>
                  </a:lnTo>
                  <a:close/>
                  <a:moveTo>
                    <a:pt x="652" y="372"/>
                  </a:moveTo>
                  <a:lnTo>
                    <a:pt x="495" y="372"/>
                  </a:lnTo>
                  <a:lnTo>
                    <a:pt x="495" y="321"/>
                  </a:lnTo>
                  <a:lnTo>
                    <a:pt x="652" y="321"/>
                  </a:lnTo>
                  <a:lnTo>
                    <a:pt x="652" y="372"/>
                  </a:lnTo>
                  <a:close/>
                  <a:moveTo>
                    <a:pt x="652" y="298"/>
                  </a:moveTo>
                  <a:lnTo>
                    <a:pt x="495" y="298"/>
                  </a:lnTo>
                  <a:lnTo>
                    <a:pt x="495" y="246"/>
                  </a:lnTo>
                  <a:lnTo>
                    <a:pt x="652" y="246"/>
                  </a:lnTo>
                  <a:lnTo>
                    <a:pt x="652" y="298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grpSp>
        <p:nvGrpSpPr>
          <p:cNvPr id="369" name="Group 37">
            <a:extLst>
              <a:ext uri="{FF2B5EF4-FFF2-40B4-BE49-F238E27FC236}">
                <a16:creationId xmlns:a16="http://schemas.microsoft.com/office/drawing/2014/main" xmlns="" id="{A0F28126-A475-42F2-82AA-7F5DA6C0DB78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2532621" y="959916"/>
            <a:ext cx="384500" cy="525517"/>
            <a:chOff x="2501" y="2159"/>
            <a:chExt cx="379" cy="518"/>
          </a:xfrm>
          <a:effectLst>
            <a:outerShdw blurRad="101600" dist="76200" dir="2700000" algn="ctr" rotWithShape="0">
              <a:srgbClr val="000000">
                <a:alpha val="29000"/>
              </a:srgbClr>
            </a:outerShdw>
          </a:effectLst>
        </p:grpSpPr>
        <p:sp>
          <p:nvSpPr>
            <p:cNvPr id="370" name="AutoShape 36">
              <a:extLst>
                <a:ext uri="{FF2B5EF4-FFF2-40B4-BE49-F238E27FC236}">
                  <a16:creationId xmlns:a16="http://schemas.microsoft.com/office/drawing/2014/main" xmlns="" id="{F5C79BC3-EAD9-439E-AF60-3D7E13A846B6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501" y="2159"/>
              <a:ext cx="379" cy="51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71" name="Freeform 38">
              <a:extLst>
                <a:ext uri="{FF2B5EF4-FFF2-40B4-BE49-F238E27FC236}">
                  <a16:creationId xmlns:a16="http://schemas.microsoft.com/office/drawing/2014/main" xmlns="" id="{3CAD9034-D5D9-4C6D-A0CB-EA205EC91C97}"/>
                </a:ext>
              </a:extLst>
            </p:cNvPr>
            <p:cNvSpPr>
              <a:spLocks/>
            </p:cNvSpPr>
            <p:nvPr/>
          </p:nvSpPr>
          <p:spPr bwMode="auto">
            <a:xfrm>
              <a:off x="2501" y="2160"/>
              <a:ext cx="378" cy="516"/>
            </a:xfrm>
            <a:custGeom>
              <a:avLst/>
              <a:gdLst>
                <a:gd name="T0" fmla="*/ 378 w 378"/>
                <a:gd name="T1" fmla="*/ 137 h 516"/>
                <a:gd name="T2" fmla="*/ 378 w 378"/>
                <a:gd name="T3" fmla="*/ 516 h 516"/>
                <a:gd name="T4" fmla="*/ 0 w 378"/>
                <a:gd name="T5" fmla="*/ 516 h 516"/>
                <a:gd name="T6" fmla="*/ 0 w 378"/>
                <a:gd name="T7" fmla="*/ 0 h 516"/>
                <a:gd name="T8" fmla="*/ 240 w 378"/>
                <a:gd name="T9" fmla="*/ 0 h 516"/>
                <a:gd name="T10" fmla="*/ 378 w 378"/>
                <a:gd name="T11" fmla="*/ 137 h 5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78" h="516">
                  <a:moveTo>
                    <a:pt x="378" y="137"/>
                  </a:moveTo>
                  <a:lnTo>
                    <a:pt x="378" y="516"/>
                  </a:lnTo>
                  <a:lnTo>
                    <a:pt x="0" y="516"/>
                  </a:lnTo>
                  <a:lnTo>
                    <a:pt x="0" y="0"/>
                  </a:lnTo>
                  <a:lnTo>
                    <a:pt x="240" y="0"/>
                  </a:lnTo>
                  <a:lnTo>
                    <a:pt x="378" y="13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72" name="Freeform 39">
              <a:extLst>
                <a:ext uri="{FF2B5EF4-FFF2-40B4-BE49-F238E27FC236}">
                  <a16:creationId xmlns:a16="http://schemas.microsoft.com/office/drawing/2014/main" xmlns="" id="{1A0AF293-7B19-4389-BFBF-57090F3D060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29" y="2188"/>
              <a:ext cx="322" cy="459"/>
            </a:xfrm>
            <a:custGeom>
              <a:avLst/>
              <a:gdLst>
                <a:gd name="T0" fmla="*/ 155 w 272"/>
                <a:gd name="T1" fmla="*/ 116 h 388"/>
                <a:gd name="T2" fmla="*/ 155 w 272"/>
                <a:gd name="T3" fmla="*/ 0 h 388"/>
                <a:gd name="T4" fmla="*/ 0 w 272"/>
                <a:gd name="T5" fmla="*/ 0 h 388"/>
                <a:gd name="T6" fmla="*/ 0 w 272"/>
                <a:gd name="T7" fmla="*/ 388 h 388"/>
                <a:gd name="T8" fmla="*/ 272 w 272"/>
                <a:gd name="T9" fmla="*/ 388 h 388"/>
                <a:gd name="T10" fmla="*/ 272 w 272"/>
                <a:gd name="T11" fmla="*/ 116 h 388"/>
                <a:gd name="T12" fmla="*/ 155 w 272"/>
                <a:gd name="T13" fmla="*/ 116 h 388"/>
                <a:gd name="T14" fmla="*/ 233 w 272"/>
                <a:gd name="T15" fmla="*/ 161 h 388"/>
                <a:gd name="T16" fmla="*/ 228 w 272"/>
                <a:gd name="T17" fmla="*/ 160 h 388"/>
                <a:gd name="T18" fmla="*/ 160 w 272"/>
                <a:gd name="T19" fmla="*/ 251 h 388"/>
                <a:gd name="T20" fmla="*/ 125 w 272"/>
                <a:gd name="T21" fmla="*/ 228 h 388"/>
                <a:gd name="T22" fmla="*/ 64 w 272"/>
                <a:gd name="T23" fmla="*/ 293 h 388"/>
                <a:gd name="T24" fmla="*/ 67 w 272"/>
                <a:gd name="T25" fmla="*/ 301 h 388"/>
                <a:gd name="T26" fmla="*/ 52 w 272"/>
                <a:gd name="T27" fmla="*/ 315 h 388"/>
                <a:gd name="T28" fmla="*/ 38 w 272"/>
                <a:gd name="T29" fmla="*/ 301 h 388"/>
                <a:gd name="T30" fmla="*/ 52 w 272"/>
                <a:gd name="T31" fmla="*/ 286 h 388"/>
                <a:gd name="T32" fmla="*/ 59 w 272"/>
                <a:gd name="T33" fmla="*/ 288 h 388"/>
                <a:gd name="T34" fmla="*/ 124 w 272"/>
                <a:gd name="T35" fmla="*/ 219 h 388"/>
                <a:gd name="T36" fmla="*/ 159 w 272"/>
                <a:gd name="T37" fmla="*/ 242 h 388"/>
                <a:gd name="T38" fmla="*/ 222 w 272"/>
                <a:gd name="T39" fmla="*/ 156 h 388"/>
                <a:gd name="T40" fmla="*/ 219 w 272"/>
                <a:gd name="T41" fmla="*/ 147 h 388"/>
                <a:gd name="T42" fmla="*/ 233 w 272"/>
                <a:gd name="T43" fmla="*/ 132 h 388"/>
                <a:gd name="T44" fmla="*/ 248 w 272"/>
                <a:gd name="T45" fmla="*/ 147 h 388"/>
                <a:gd name="T46" fmla="*/ 233 w 272"/>
                <a:gd name="T47" fmla="*/ 161 h 3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72" h="388">
                  <a:moveTo>
                    <a:pt x="155" y="116"/>
                  </a:moveTo>
                  <a:cubicBezTo>
                    <a:pt x="155" y="0"/>
                    <a:pt x="155" y="0"/>
                    <a:pt x="15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88"/>
                    <a:pt x="0" y="388"/>
                    <a:pt x="0" y="388"/>
                  </a:cubicBezTo>
                  <a:cubicBezTo>
                    <a:pt x="272" y="388"/>
                    <a:pt x="272" y="388"/>
                    <a:pt x="272" y="388"/>
                  </a:cubicBezTo>
                  <a:cubicBezTo>
                    <a:pt x="272" y="116"/>
                    <a:pt x="272" y="116"/>
                    <a:pt x="272" y="116"/>
                  </a:cubicBezTo>
                  <a:lnTo>
                    <a:pt x="155" y="116"/>
                  </a:lnTo>
                  <a:close/>
                  <a:moveTo>
                    <a:pt x="233" y="161"/>
                  </a:moveTo>
                  <a:cubicBezTo>
                    <a:pt x="231" y="161"/>
                    <a:pt x="229" y="161"/>
                    <a:pt x="228" y="160"/>
                  </a:cubicBezTo>
                  <a:cubicBezTo>
                    <a:pt x="160" y="251"/>
                    <a:pt x="160" y="251"/>
                    <a:pt x="160" y="251"/>
                  </a:cubicBezTo>
                  <a:cubicBezTo>
                    <a:pt x="125" y="228"/>
                    <a:pt x="125" y="228"/>
                    <a:pt x="125" y="228"/>
                  </a:cubicBezTo>
                  <a:cubicBezTo>
                    <a:pt x="64" y="293"/>
                    <a:pt x="64" y="293"/>
                    <a:pt x="64" y="293"/>
                  </a:cubicBezTo>
                  <a:cubicBezTo>
                    <a:pt x="66" y="295"/>
                    <a:pt x="67" y="298"/>
                    <a:pt x="67" y="301"/>
                  </a:cubicBezTo>
                  <a:cubicBezTo>
                    <a:pt x="67" y="309"/>
                    <a:pt x="60" y="315"/>
                    <a:pt x="52" y="315"/>
                  </a:cubicBezTo>
                  <a:cubicBezTo>
                    <a:pt x="44" y="315"/>
                    <a:pt x="38" y="309"/>
                    <a:pt x="38" y="301"/>
                  </a:cubicBezTo>
                  <a:cubicBezTo>
                    <a:pt x="38" y="293"/>
                    <a:pt x="44" y="286"/>
                    <a:pt x="52" y="286"/>
                  </a:cubicBezTo>
                  <a:cubicBezTo>
                    <a:pt x="55" y="286"/>
                    <a:pt x="57" y="287"/>
                    <a:pt x="59" y="288"/>
                  </a:cubicBezTo>
                  <a:cubicBezTo>
                    <a:pt x="124" y="219"/>
                    <a:pt x="124" y="219"/>
                    <a:pt x="124" y="219"/>
                  </a:cubicBezTo>
                  <a:cubicBezTo>
                    <a:pt x="159" y="242"/>
                    <a:pt x="159" y="242"/>
                    <a:pt x="159" y="242"/>
                  </a:cubicBezTo>
                  <a:cubicBezTo>
                    <a:pt x="222" y="156"/>
                    <a:pt x="222" y="156"/>
                    <a:pt x="222" y="156"/>
                  </a:cubicBezTo>
                  <a:cubicBezTo>
                    <a:pt x="220" y="154"/>
                    <a:pt x="219" y="150"/>
                    <a:pt x="219" y="147"/>
                  </a:cubicBezTo>
                  <a:cubicBezTo>
                    <a:pt x="219" y="139"/>
                    <a:pt x="225" y="132"/>
                    <a:pt x="233" y="132"/>
                  </a:cubicBezTo>
                  <a:cubicBezTo>
                    <a:pt x="241" y="132"/>
                    <a:pt x="248" y="139"/>
                    <a:pt x="248" y="147"/>
                  </a:cubicBezTo>
                  <a:cubicBezTo>
                    <a:pt x="248" y="155"/>
                    <a:pt x="241" y="161"/>
                    <a:pt x="233" y="161"/>
                  </a:cubicBez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grpSp>
        <p:nvGrpSpPr>
          <p:cNvPr id="373" name="Group 43">
            <a:extLst>
              <a:ext uri="{FF2B5EF4-FFF2-40B4-BE49-F238E27FC236}">
                <a16:creationId xmlns:a16="http://schemas.microsoft.com/office/drawing/2014/main" xmlns="" id="{D451A737-709B-48E9-AA8C-9E86CF8EE6BE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2517840" y="309239"/>
            <a:ext cx="378166" cy="516360"/>
            <a:chOff x="2501" y="1642"/>
            <a:chExt cx="758" cy="1035"/>
          </a:xfrm>
          <a:effectLst>
            <a:outerShdw blurRad="101600" dist="76200" dir="2700000" algn="ctr" rotWithShape="0">
              <a:srgbClr val="000000">
                <a:alpha val="29000"/>
              </a:srgbClr>
            </a:outerShdw>
          </a:effectLst>
        </p:grpSpPr>
        <p:sp>
          <p:nvSpPr>
            <p:cNvPr id="374" name="AutoShape 42">
              <a:extLst>
                <a:ext uri="{FF2B5EF4-FFF2-40B4-BE49-F238E27FC236}">
                  <a16:creationId xmlns:a16="http://schemas.microsoft.com/office/drawing/2014/main" xmlns="" id="{44459E1F-2051-46BD-9130-8C3931C67712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501" y="1642"/>
              <a:ext cx="758" cy="103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75" name="Freeform 44">
              <a:extLst>
                <a:ext uri="{FF2B5EF4-FFF2-40B4-BE49-F238E27FC236}">
                  <a16:creationId xmlns:a16="http://schemas.microsoft.com/office/drawing/2014/main" xmlns="" id="{2D87B1B8-FB2D-4483-8406-DB53731ECA4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03" y="1644"/>
              <a:ext cx="756" cy="1033"/>
            </a:xfrm>
            <a:custGeom>
              <a:avLst/>
              <a:gdLst>
                <a:gd name="T0" fmla="*/ 756 w 756"/>
                <a:gd name="T1" fmla="*/ 277 h 1033"/>
                <a:gd name="T2" fmla="*/ 756 w 756"/>
                <a:gd name="T3" fmla="*/ 1033 h 1033"/>
                <a:gd name="T4" fmla="*/ 0 w 756"/>
                <a:gd name="T5" fmla="*/ 1033 h 1033"/>
                <a:gd name="T6" fmla="*/ 0 w 756"/>
                <a:gd name="T7" fmla="*/ 0 h 1033"/>
                <a:gd name="T8" fmla="*/ 482 w 756"/>
                <a:gd name="T9" fmla="*/ 0 h 1033"/>
                <a:gd name="T10" fmla="*/ 756 w 756"/>
                <a:gd name="T11" fmla="*/ 277 h 10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56" h="1033">
                  <a:moveTo>
                    <a:pt x="756" y="277"/>
                  </a:moveTo>
                  <a:lnTo>
                    <a:pt x="756" y="1033"/>
                  </a:lnTo>
                  <a:lnTo>
                    <a:pt x="0" y="1033"/>
                  </a:lnTo>
                  <a:lnTo>
                    <a:pt x="0" y="0"/>
                  </a:lnTo>
                  <a:lnTo>
                    <a:pt x="482" y="0"/>
                  </a:lnTo>
                  <a:lnTo>
                    <a:pt x="756" y="27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76" name="Freeform 45">
              <a:extLst>
                <a:ext uri="{FF2B5EF4-FFF2-40B4-BE49-F238E27FC236}">
                  <a16:creationId xmlns:a16="http://schemas.microsoft.com/office/drawing/2014/main" xmlns="" id="{8B93171D-9532-4799-BC7E-F320798E8A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60" y="1701"/>
              <a:ext cx="642" cy="919"/>
            </a:xfrm>
            <a:custGeom>
              <a:avLst/>
              <a:gdLst>
                <a:gd name="T0" fmla="*/ 368 w 642"/>
                <a:gd name="T1" fmla="*/ 277 h 919"/>
                <a:gd name="T2" fmla="*/ 368 w 642"/>
                <a:gd name="T3" fmla="*/ 0 h 919"/>
                <a:gd name="T4" fmla="*/ 0 w 642"/>
                <a:gd name="T5" fmla="*/ 0 h 919"/>
                <a:gd name="T6" fmla="*/ 0 w 642"/>
                <a:gd name="T7" fmla="*/ 919 h 919"/>
                <a:gd name="T8" fmla="*/ 642 w 642"/>
                <a:gd name="T9" fmla="*/ 919 h 919"/>
                <a:gd name="T10" fmla="*/ 642 w 642"/>
                <a:gd name="T11" fmla="*/ 277 h 919"/>
                <a:gd name="T12" fmla="*/ 368 w 642"/>
                <a:gd name="T13" fmla="*/ 277 h 919"/>
                <a:gd name="T14" fmla="*/ 546 w 642"/>
                <a:gd name="T15" fmla="*/ 733 h 919"/>
                <a:gd name="T16" fmla="*/ 99 w 642"/>
                <a:gd name="T17" fmla="*/ 733 h 919"/>
                <a:gd name="T18" fmla="*/ 99 w 642"/>
                <a:gd name="T19" fmla="*/ 688 h 919"/>
                <a:gd name="T20" fmla="*/ 546 w 642"/>
                <a:gd name="T21" fmla="*/ 688 h 919"/>
                <a:gd name="T22" fmla="*/ 546 w 642"/>
                <a:gd name="T23" fmla="*/ 733 h 919"/>
                <a:gd name="T24" fmla="*/ 546 w 642"/>
                <a:gd name="T25" fmla="*/ 643 h 919"/>
                <a:gd name="T26" fmla="*/ 99 w 642"/>
                <a:gd name="T27" fmla="*/ 643 h 919"/>
                <a:gd name="T28" fmla="*/ 99 w 642"/>
                <a:gd name="T29" fmla="*/ 598 h 919"/>
                <a:gd name="T30" fmla="*/ 546 w 642"/>
                <a:gd name="T31" fmla="*/ 598 h 919"/>
                <a:gd name="T32" fmla="*/ 546 w 642"/>
                <a:gd name="T33" fmla="*/ 643 h 919"/>
                <a:gd name="T34" fmla="*/ 546 w 642"/>
                <a:gd name="T35" fmla="*/ 553 h 919"/>
                <a:gd name="T36" fmla="*/ 99 w 642"/>
                <a:gd name="T37" fmla="*/ 553 h 919"/>
                <a:gd name="T38" fmla="*/ 99 w 642"/>
                <a:gd name="T39" fmla="*/ 508 h 919"/>
                <a:gd name="T40" fmla="*/ 546 w 642"/>
                <a:gd name="T41" fmla="*/ 508 h 919"/>
                <a:gd name="T42" fmla="*/ 546 w 642"/>
                <a:gd name="T43" fmla="*/ 553 h 919"/>
                <a:gd name="T44" fmla="*/ 546 w 642"/>
                <a:gd name="T45" fmla="*/ 463 h 919"/>
                <a:gd name="T46" fmla="*/ 99 w 642"/>
                <a:gd name="T47" fmla="*/ 463 h 919"/>
                <a:gd name="T48" fmla="*/ 99 w 642"/>
                <a:gd name="T49" fmla="*/ 418 h 919"/>
                <a:gd name="T50" fmla="*/ 546 w 642"/>
                <a:gd name="T51" fmla="*/ 418 h 919"/>
                <a:gd name="T52" fmla="*/ 546 w 642"/>
                <a:gd name="T53" fmla="*/ 463 h 9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642" h="919">
                  <a:moveTo>
                    <a:pt x="368" y="277"/>
                  </a:moveTo>
                  <a:lnTo>
                    <a:pt x="368" y="0"/>
                  </a:lnTo>
                  <a:lnTo>
                    <a:pt x="0" y="0"/>
                  </a:lnTo>
                  <a:lnTo>
                    <a:pt x="0" y="919"/>
                  </a:lnTo>
                  <a:lnTo>
                    <a:pt x="642" y="919"/>
                  </a:lnTo>
                  <a:lnTo>
                    <a:pt x="642" y="277"/>
                  </a:lnTo>
                  <a:lnTo>
                    <a:pt x="368" y="277"/>
                  </a:lnTo>
                  <a:close/>
                  <a:moveTo>
                    <a:pt x="546" y="733"/>
                  </a:moveTo>
                  <a:lnTo>
                    <a:pt x="99" y="733"/>
                  </a:lnTo>
                  <a:lnTo>
                    <a:pt x="99" y="688"/>
                  </a:lnTo>
                  <a:lnTo>
                    <a:pt x="546" y="688"/>
                  </a:lnTo>
                  <a:lnTo>
                    <a:pt x="546" y="733"/>
                  </a:lnTo>
                  <a:close/>
                  <a:moveTo>
                    <a:pt x="546" y="643"/>
                  </a:moveTo>
                  <a:lnTo>
                    <a:pt x="99" y="643"/>
                  </a:lnTo>
                  <a:lnTo>
                    <a:pt x="99" y="598"/>
                  </a:lnTo>
                  <a:lnTo>
                    <a:pt x="546" y="598"/>
                  </a:lnTo>
                  <a:lnTo>
                    <a:pt x="546" y="643"/>
                  </a:lnTo>
                  <a:close/>
                  <a:moveTo>
                    <a:pt x="546" y="553"/>
                  </a:moveTo>
                  <a:lnTo>
                    <a:pt x="99" y="553"/>
                  </a:lnTo>
                  <a:lnTo>
                    <a:pt x="99" y="508"/>
                  </a:lnTo>
                  <a:lnTo>
                    <a:pt x="546" y="508"/>
                  </a:lnTo>
                  <a:lnTo>
                    <a:pt x="546" y="553"/>
                  </a:lnTo>
                  <a:close/>
                  <a:moveTo>
                    <a:pt x="546" y="463"/>
                  </a:moveTo>
                  <a:lnTo>
                    <a:pt x="99" y="463"/>
                  </a:lnTo>
                  <a:lnTo>
                    <a:pt x="99" y="418"/>
                  </a:lnTo>
                  <a:lnTo>
                    <a:pt x="546" y="418"/>
                  </a:lnTo>
                  <a:lnTo>
                    <a:pt x="546" y="463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grpSp>
        <p:nvGrpSpPr>
          <p:cNvPr id="377" name="Group 24">
            <a:extLst>
              <a:ext uri="{FF2B5EF4-FFF2-40B4-BE49-F238E27FC236}">
                <a16:creationId xmlns:a16="http://schemas.microsoft.com/office/drawing/2014/main" xmlns="" id="{AF7285E2-B5ED-4A46-A100-C0B8D347D928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309186" y="4092146"/>
            <a:ext cx="425178" cy="470733"/>
            <a:chOff x="2586" y="2629"/>
            <a:chExt cx="448" cy="496"/>
          </a:xfrm>
          <a:effectLst>
            <a:outerShdw blurRad="101600" dist="76200" dir="2700000" algn="ctr" rotWithShape="0">
              <a:srgbClr val="000000">
                <a:alpha val="29000"/>
              </a:srgbClr>
            </a:outerShdw>
          </a:effectLst>
        </p:grpSpPr>
        <p:sp>
          <p:nvSpPr>
            <p:cNvPr id="378" name="AutoShape 23">
              <a:extLst>
                <a:ext uri="{FF2B5EF4-FFF2-40B4-BE49-F238E27FC236}">
                  <a16:creationId xmlns:a16="http://schemas.microsoft.com/office/drawing/2014/main" xmlns="" id="{7824847F-728E-420B-AD30-D4F44695DE22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586" y="2629"/>
              <a:ext cx="448" cy="49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79" name="Freeform 25">
              <a:extLst>
                <a:ext uri="{FF2B5EF4-FFF2-40B4-BE49-F238E27FC236}">
                  <a16:creationId xmlns:a16="http://schemas.microsoft.com/office/drawing/2014/main" xmlns="" id="{4E2816A6-F408-42B5-B770-4CE9E594B5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586" y="2628"/>
              <a:ext cx="447" cy="498"/>
            </a:xfrm>
            <a:custGeom>
              <a:avLst/>
              <a:gdLst>
                <a:gd name="T0" fmla="*/ 689 w 689"/>
                <a:gd name="T1" fmla="*/ 764 h 764"/>
                <a:gd name="T2" fmla="*/ 0 w 689"/>
                <a:gd name="T3" fmla="*/ 764 h 764"/>
                <a:gd name="T4" fmla="*/ 10 w 689"/>
                <a:gd name="T5" fmla="*/ 609 h 764"/>
                <a:gd name="T6" fmla="*/ 131 w 689"/>
                <a:gd name="T7" fmla="*/ 484 h 764"/>
                <a:gd name="T8" fmla="*/ 216 w 689"/>
                <a:gd name="T9" fmla="*/ 454 h 764"/>
                <a:gd name="T10" fmla="*/ 213 w 689"/>
                <a:gd name="T11" fmla="*/ 450 h 764"/>
                <a:gd name="T12" fmla="*/ 157 w 689"/>
                <a:gd name="T13" fmla="*/ 315 h 764"/>
                <a:gd name="T14" fmla="*/ 153 w 689"/>
                <a:gd name="T15" fmla="*/ 294 h 764"/>
                <a:gd name="T16" fmla="*/ 134 w 689"/>
                <a:gd name="T17" fmla="*/ 290 h 764"/>
                <a:gd name="T18" fmla="*/ 93 w 689"/>
                <a:gd name="T19" fmla="*/ 272 h 764"/>
                <a:gd name="T20" fmla="*/ 66 w 689"/>
                <a:gd name="T21" fmla="*/ 244 h 764"/>
                <a:gd name="T22" fmla="*/ 59 w 689"/>
                <a:gd name="T23" fmla="*/ 229 h 764"/>
                <a:gd name="T24" fmla="*/ 56 w 689"/>
                <a:gd name="T25" fmla="*/ 218 h 764"/>
                <a:gd name="T26" fmla="*/ 55 w 689"/>
                <a:gd name="T27" fmla="*/ 193 h 764"/>
                <a:gd name="T28" fmla="*/ 86 w 689"/>
                <a:gd name="T29" fmla="*/ 163 h 764"/>
                <a:gd name="T30" fmla="*/ 119 w 689"/>
                <a:gd name="T31" fmla="*/ 154 h 764"/>
                <a:gd name="T32" fmla="*/ 125 w 689"/>
                <a:gd name="T33" fmla="*/ 152 h 764"/>
                <a:gd name="T34" fmla="*/ 174 w 689"/>
                <a:gd name="T35" fmla="*/ 138 h 764"/>
                <a:gd name="T36" fmla="*/ 176 w 689"/>
                <a:gd name="T37" fmla="*/ 135 h 764"/>
                <a:gd name="T38" fmla="*/ 177 w 689"/>
                <a:gd name="T39" fmla="*/ 133 h 764"/>
                <a:gd name="T40" fmla="*/ 181 w 689"/>
                <a:gd name="T41" fmla="*/ 126 h 764"/>
                <a:gd name="T42" fmla="*/ 182 w 689"/>
                <a:gd name="T43" fmla="*/ 123 h 764"/>
                <a:gd name="T44" fmla="*/ 193 w 689"/>
                <a:gd name="T45" fmla="*/ 102 h 764"/>
                <a:gd name="T46" fmla="*/ 211 w 689"/>
                <a:gd name="T47" fmla="*/ 72 h 764"/>
                <a:gd name="T48" fmla="*/ 232 w 689"/>
                <a:gd name="T49" fmla="*/ 45 h 764"/>
                <a:gd name="T50" fmla="*/ 268 w 689"/>
                <a:gd name="T51" fmla="*/ 20 h 764"/>
                <a:gd name="T52" fmla="*/ 313 w 689"/>
                <a:gd name="T53" fmla="*/ 7 h 764"/>
                <a:gd name="T54" fmla="*/ 348 w 689"/>
                <a:gd name="T55" fmla="*/ 6 h 764"/>
                <a:gd name="T56" fmla="*/ 363 w 689"/>
                <a:gd name="T57" fmla="*/ 8 h 764"/>
                <a:gd name="T58" fmla="*/ 377 w 689"/>
                <a:gd name="T59" fmla="*/ 2 h 764"/>
                <a:gd name="T60" fmla="*/ 412 w 689"/>
                <a:gd name="T61" fmla="*/ 3 h 764"/>
                <a:gd name="T62" fmla="*/ 453 w 689"/>
                <a:gd name="T63" fmla="*/ 34 h 764"/>
                <a:gd name="T64" fmla="*/ 471 w 689"/>
                <a:gd name="T65" fmla="*/ 44 h 764"/>
                <a:gd name="T66" fmla="*/ 511 w 689"/>
                <a:gd name="T67" fmla="*/ 78 h 764"/>
                <a:gd name="T68" fmla="*/ 542 w 689"/>
                <a:gd name="T69" fmla="*/ 127 h 764"/>
                <a:gd name="T70" fmla="*/ 555 w 689"/>
                <a:gd name="T71" fmla="*/ 177 h 764"/>
                <a:gd name="T72" fmla="*/ 554 w 689"/>
                <a:gd name="T73" fmla="*/ 218 h 764"/>
                <a:gd name="T74" fmla="*/ 544 w 689"/>
                <a:gd name="T75" fmla="*/ 248 h 764"/>
                <a:gd name="T76" fmla="*/ 537 w 689"/>
                <a:gd name="T77" fmla="*/ 266 h 764"/>
                <a:gd name="T78" fmla="*/ 537 w 689"/>
                <a:gd name="T79" fmla="*/ 266 h 764"/>
                <a:gd name="T80" fmla="*/ 536 w 689"/>
                <a:gd name="T81" fmla="*/ 271 h 764"/>
                <a:gd name="T82" fmla="*/ 532 w 689"/>
                <a:gd name="T83" fmla="*/ 293 h 764"/>
                <a:gd name="T84" fmla="*/ 472 w 689"/>
                <a:gd name="T85" fmla="*/ 450 h 764"/>
                <a:gd name="T86" fmla="*/ 470 w 689"/>
                <a:gd name="T87" fmla="*/ 453 h 764"/>
                <a:gd name="T88" fmla="*/ 559 w 689"/>
                <a:gd name="T89" fmla="*/ 484 h 764"/>
                <a:gd name="T90" fmla="*/ 679 w 689"/>
                <a:gd name="T91" fmla="*/ 609 h 764"/>
                <a:gd name="T92" fmla="*/ 689 w 689"/>
                <a:gd name="T93" fmla="*/ 764 h 7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89" h="764">
                  <a:moveTo>
                    <a:pt x="689" y="764"/>
                  </a:moveTo>
                  <a:cubicBezTo>
                    <a:pt x="0" y="764"/>
                    <a:pt x="0" y="764"/>
                    <a:pt x="0" y="764"/>
                  </a:cubicBezTo>
                  <a:cubicBezTo>
                    <a:pt x="10" y="609"/>
                    <a:pt x="10" y="609"/>
                    <a:pt x="10" y="609"/>
                  </a:cubicBezTo>
                  <a:cubicBezTo>
                    <a:pt x="11" y="542"/>
                    <a:pt x="64" y="487"/>
                    <a:pt x="131" y="484"/>
                  </a:cubicBezTo>
                  <a:cubicBezTo>
                    <a:pt x="216" y="454"/>
                    <a:pt x="216" y="454"/>
                    <a:pt x="216" y="454"/>
                  </a:cubicBezTo>
                  <a:cubicBezTo>
                    <a:pt x="215" y="453"/>
                    <a:pt x="214" y="451"/>
                    <a:pt x="213" y="450"/>
                  </a:cubicBezTo>
                  <a:cubicBezTo>
                    <a:pt x="180" y="407"/>
                    <a:pt x="165" y="352"/>
                    <a:pt x="157" y="315"/>
                  </a:cubicBezTo>
                  <a:cubicBezTo>
                    <a:pt x="155" y="308"/>
                    <a:pt x="154" y="301"/>
                    <a:pt x="153" y="294"/>
                  </a:cubicBezTo>
                  <a:cubicBezTo>
                    <a:pt x="146" y="293"/>
                    <a:pt x="140" y="292"/>
                    <a:pt x="134" y="290"/>
                  </a:cubicBezTo>
                  <a:cubicBezTo>
                    <a:pt x="119" y="286"/>
                    <a:pt x="105" y="280"/>
                    <a:pt x="93" y="272"/>
                  </a:cubicBezTo>
                  <a:cubicBezTo>
                    <a:pt x="82" y="264"/>
                    <a:pt x="73" y="255"/>
                    <a:pt x="66" y="244"/>
                  </a:cubicBezTo>
                  <a:cubicBezTo>
                    <a:pt x="63" y="239"/>
                    <a:pt x="61" y="234"/>
                    <a:pt x="59" y="229"/>
                  </a:cubicBezTo>
                  <a:cubicBezTo>
                    <a:pt x="58" y="225"/>
                    <a:pt x="57" y="221"/>
                    <a:pt x="56" y="218"/>
                  </a:cubicBezTo>
                  <a:cubicBezTo>
                    <a:pt x="54" y="208"/>
                    <a:pt x="54" y="200"/>
                    <a:pt x="55" y="193"/>
                  </a:cubicBezTo>
                  <a:cubicBezTo>
                    <a:pt x="60" y="171"/>
                    <a:pt x="79" y="165"/>
                    <a:pt x="86" y="163"/>
                  </a:cubicBezTo>
                  <a:cubicBezTo>
                    <a:pt x="91" y="161"/>
                    <a:pt x="100" y="159"/>
                    <a:pt x="119" y="154"/>
                  </a:cubicBezTo>
                  <a:cubicBezTo>
                    <a:pt x="125" y="152"/>
                    <a:pt x="125" y="152"/>
                    <a:pt x="125" y="152"/>
                  </a:cubicBezTo>
                  <a:cubicBezTo>
                    <a:pt x="140" y="148"/>
                    <a:pt x="161" y="142"/>
                    <a:pt x="174" y="138"/>
                  </a:cubicBezTo>
                  <a:cubicBezTo>
                    <a:pt x="174" y="137"/>
                    <a:pt x="175" y="136"/>
                    <a:pt x="176" y="135"/>
                  </a:cubicBezTo>
                  <a:cubicBezTo>
                    <a:pt x="177" y="133"/>
                    <a:pt x="177" y="133"/>
                    <a:pt x="177" y="133"/>
                  </a:cubicBezTo>
                  <a:cubicBezTo>
                    <a:pt x="178" y="132"/>
                    <a:pt x="179" y="130"/>
                    <a:pt x="181" y="126"/>
                  </a:cubicBezTo>
                  <a:cubicBezTo>
                    <a:pt x="181" y="125"/>
                    <a:pt x="182" y="124"/>
                    <a:pt x="182" y="123"/>
                  </a:cubicBezTo>
                  <a:cubicBezTo>
                    <a:pt x="185" y="117"/>
                    <a:pt x="188" y="110"/>
                    <a:pt x="193" y="102"/>
                  </a:cubicBezTo>
                  <a:cubicBezTo>
                    <a:pt x="198" y="92"/>
                    <a:pt x="206" y="80"/>
                    <a:pt x="211" y="72"/>
                  </a:cubicBezTo>
                  <a:cubicBezTo>
                    <a:pt x="217" y="63"/>
                    <a:pt x="222" y="54"/>
                    <a:pt x="232" y="45"/>
                  </a:cubicBezTo>
                  <a:cubicBezTo>
                    <a:pt x="242" y="35"/>
                    <a:pt x="255" y="26"/>
                    <a:pt x="268" y="20"/>
                  </a:cubicBezTo>
                  <a:cubicBezTo>
                    <a:pt x="281" y="14"/>
                    <a:pt x="298" y="9"/>
                    <a:pt x="313" y="7"/>
                  </a:cubicBezTo>
                  <a:cubicBezTo>
                    <a:pt x="327" y="5"/>
                    <a:pt x="338" y="5"/>
                    <a:pt x="348" y="6"/>
                  </a:cubicBezTo>
                  <a:cubicBezTo>
                    <a:pt x="353" y="7"/>
                    <a:pt x="358" y="7"/>
                    <a:pt x="363" y="8"/>
                  </a:cubicBezTo>
                  <a:cubicBezTo>
                    <a:pt x="367" y="5"/>
                    <a:pt x="372" y="4"/>
                    <a:pt x="377" y="2"/>
                  </a:cubicBezTo>
                  <a:cubicBezTo>
                    <a:pt x="388" y="0"/>
                    <a:pt x="400" y="0"/>
                    <a:pt x="412" y="3"/>
                  </a:cubicBezTo>
                  <a:cubicBezTo>
                    <a:pt x="431" y="9"/>
                    <a:pt x="446" y="20"/>
                    <a:pt x="453" y="34"/>
                  </a:cubicBezTo>
                  <a:cubicBezTo>
                    <a:pt x="459" y="37"/>
                    <a:pt x="465" y="40"/>
                    <a:pt x="471" y="44"/>
                  </a:cubicBezTo>
                  <a:cubicBezTo>
                    <a:pt x="486" y="53"/>
                    <a:pt x="500" y="65"/>
                    <a:pt x="511" y="78"/>
                  </a:cubicBezTo>
                  <a:cubicBezTo>
                    <a:pt x="523" y="92"/>
                    <a:pt x="534" y="110"/>
                    <a:pt x="542" y="127"/>
                  </a:cubicBezTo>
                  <a:cubicBezTo>
                    <a:pt x="550" y="147"/>
                    <a:pt x="554" y="165"/>
                    <a:pt x="555" y="177"/>
                  </a:cubicBezTo>
                  <a:cubicBezTo>
                    <a:pt x="557" y="191"/>
                    <a:pt x="557" y="205"/>
                    <a:pt x="554" y="218"/>
                  </a:cubicBezTo>
                  <a:cubicBezTo>
                    <a:pt x="551" y="230"/>
                    <a:pt x="547" y="241"/>
                    <a:pt x="544" y="248"/>
                  </a:cubicBezTo>
                  <a:cubicBezTo>
                    <a:pt x="542" y="255"/>
                    <a:pt x="539" y="261"/>
                    <a:pt x="537" y="266"/>
                  </a:cubicBezTo>
                  <a:cubicBezTo>
                    <a:pt x="537" y="266"/>
                    <a:pt x="537" y="266"/>
                    <a:pt x="537" y="266"/>
                  </a:cubicBezTo>
                  <a:cubicBezTo>
                    <a:pt x="537" y="267"/>
                    <a:pt x="536" y="269"/>
                    <a:pt x="536" y="271"/>
                  </a:cubicBezTo>
                  <a:cubicBezTo>
                    <a:pt x="535" y="278"/>
                    <a:pt x="533" y="286"/>
                    <a:pt x="532" y="293"/>
                  </a:cubicBezTo>
                  <a:cubicBezTo>
                    <a:pt x="522" y="346"/>
                    <a:pt x="513" y="396"/>
                    <a:pt x="472" y="450"/>
                  </a:cubicBezTo>
                  <a:cubicBezTo>
                    <a:pt x="471" y="451"/>
                    <a:pt x="471" y="452"/>
                    <a:pt x="470" y="453"/>
                  </a:cubicBezTo>
                  <a:cubicBezTo>
                    <a:pt x="559" y="484"/>
                    <a:pt x="559" y="484"/>
                    <a:pt x="559" y="484"/>
                  </a:cubicBezTo>
                  <a:cubicBezTo>
                    <a:pt x="625" y="487"/>
                    <a:pt x="679" y="542"/>
                    <a:pt x="679" y="609"/>
                  </a:cubicBezTo>
                  <a:lnTo>
                    <a:pt x="689" y="76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80" name="Freeform 26">
              <a:extLst>
                <a:ext uri="{FF2B5EF4-FFF2-40B4-BE49-F238E27FC236}">
                  <a16:creationId xmlns:a16="http://schemas.microsoft.com/office/drawing/2014/main" xmlns="" id="{7DD34141-6DF0-427A-B740-37B15B8B94B9}"/>
                </a:ext>
              </a:extLst>
            </p:cNvPr>
            <p:cNvSpPr>
              <a:spLocks/>
            </p:cNvSpPr>
            <p:nvPr/>
          </p:nvSpPr>
          <p:spPr bwMode="auto">
            <a:xfrm>
              <a:off x="2609" y="2937"/>
              <a:ext cx="401" cy="167"/>
            </a:xfrm>
            <a:custGeom>
              <a:avLst/>
              <a:gdLst>
                <a:gd name="T0" fmla="*/ 609 w 617"/>
                <a:gd name="T1" fmla="*/ 136 h 256"/>
                <a:gd name="T2" fmla="*/ 516 w 617"/>
                <a:gd name="T3" fmla="*/ 43 h 256"/>
                <a:gd name="T4" fmla="*/ 389 w 617"/>
                <a:gd name="T5" fmla="*/ 0 h 256"/>
                <a:gd name="T6" fmla="*/ 309 w 617"/>
                <a:gd name="T7" fmla="*/ 188 h 256"/>
                <a:gd name="T8" fmla="*/ 228 w 617"/>
                <a:gd name="T9" fmla="*/ 0 h 256"/>
                <a:gd name="T10" fmla="*/ 101 w 617"/>
                <a:gd name="T11" fmla="*/ 43 h 256"/>
                <a:gd name="T12" fmla="*/ 8 w 617"/>
                <a:gd name="T13" fmla="*/ 136 h 256"/>
                <a:gd name="T14" fmla="*/ 0 w 617"/>
                <a:gd name="T15" fmla="*/ 256 h 256"/>
                <a:gd name="T16" fmla="*/ 617 w 617"/>
                <a:gd name="T17" fmla="*/ 256 h 256"/>
                <a:gd name="T18" fmla="*/ 609 w 617"/>
                <a:gd name="T19" fmla="*/ 13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17" h="256">
                  <a:moveTo>
                    <a:pt x="609" y="136"/>
                  </a:moveTo>
                  <a:cubicBezTo>
                    <a:pt x="609" y="85"/>
                    <a:pt x="568" y="43"/>
                    <a:pt x="516" y="43"/>
                  </a:cubicBezTo>
                  <a:cubicBezTo>
                    <a:pt x="389" y="0"/>
                    <a:pt x="389" y="0"/>
                    <a:pt x="389" y="0"/>
                  </a:cubicBezTo>
                  <a:cubicBezTo>
                    <a:pt x="376" y="40"/>
                    <a:pt x="338" y="188"/>
                    <a:pt x="309" y="188"/>
                  </a:cubicBezTo>
                  <a:cubicBezTo>
                    <a:pt x="280" y="188"/>
                    <a:pt x="240" y="36"/>
                    <a:pt x="228" y="0"/>
                  </a:cubicBezTo>
                  <a:cubicBezTo>
                    <a:pt x="101" y="43"/>
                    <a:pt x="101" y="43"/>
                    <a:pt x="101" y="43"/>
                  </a:cubicBezTo>
                  <a:cubicBezTo>
                    <a:pt x="50" y="43"/>
                    <a:pt x="8" y="85"/>
                    <a:pt x="8" y="136"/>
                  </a:cubicBezTo>
                  <a:cubicBezTo>
                    <a:pt x="0" y="256"/>
                    <a:pt x="0" y="256"/>
                    <a:pt x="0" y="256"/>
                  </a:cubicBezTo>
                  <a:cubicBezTo>
                    <a:pt x="617" y="256"/>
                    <a:pt x="617" y="256"/>
                    <a:pt x="617" y="256"/>
                  </a:cubicBezTo>
                  <a:lnTo>
                    <a:pt x="609" y="136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81" name="Freeform 27">
              <a:extLst>
                <a:ext uri="{FF2B5EF4-FFF2-40B4-BE49-F238E27FC236}">
                  <a16:creationId xmlns:a16="http://schemas.microsoft.com/office/drawing/2014/main" xmlns="" id="{29479900-3F7A-4150-ACEA-505C3A107CE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43" y="2650"/>
              <a:ext cx="283" cy="304"/>
            </a:xfrm>
            <a:custGeom>
              <a:avLst/>
              <a:gdLst>
                <a:gd name="T0" fmla="*/ 7 w 435"/>
                <a:gd name="T1" fmla="*/ 193 h 468"/>
                <a:gd name="T2" fmla="*/ 25 w 435"/>
                <a:gd name="T3" fmla="*/ 211 h 468"/>
                <a:gd name="T4" fmla="*/ 54 w 435"/>
                <a:gd name="T5" fmla="*/ 225 h 468"/>
                <a:gd name="T6" fmla="*/ 90 w 435"/>
                <a:gd name="T7" fmla="*/ 227 h 468"/>
                <a:gd name="T8" fmla="*/ 95 w 435"/>
                <a:gd name="T9" fmla="*/ 227 h 468"/>
                <a:gd name="T10" fmla="*/ 102 w 435"/>
                <a:gd name="T11" fmla="*/ 274 h 468"/>
                <a:gd name="T12" fmla="*/ 152 w 435"/>
                <a:gd name="T13" fmla="*/ 397 h 468"/>
                <a:gd name="T14" fmla="*/ 357 w 435"/>
                <a:gd name="T15" fmla="*/ 397 h 468"/>
                <a:gd name="T16" fmla="*/ 415 w 435"/>
                <a:gd name="T17" fmla="*/ 231 h 468"/>
                <a:gd name="T18" fmla="*/ 417 w 435"/>
                <a:gd name="T19" fmla="*/ 220 h 468"/>
                <a:gd name="T20" fmla="*/ 419 w 435"/>
                <a:gd name="T21" fmla="*/ 217 h 468"/>
                <a:gd name="T22" fmla="*/ 425 w 435"/>
                <a:gd name="T23" fmla="*/ 203 h 468"/>
                <a:gd name="T24" fmla="*/ 432 w 435"/>
                <a:gd name="T25" fmla="*/ 178 h 468"/>
                <a:gd name="T26" fmla="*/ 433 w 435"/>
                <a:gd name="T27" fmla="*/ 148 h 468"/>
                <a:gd name="T28" fmla="*/ 422 w 435"/>
                <a:gd name="T29" fmla="*/ 108 h 468"/>
                <a:gd name="T30" fmla="*/ 397 w 435"/>
                <a:gd name="T31" fmla="*/ 67 h 468"/>
                <a:gd name="T32" fmla="*/ 365 w 435"/>
                <a:gd name="T33" fmla="*/ 39 h 468"/>
                <a:gd name="T34" fmla="*/ 336 w 435"/>
                <a:gd name="T35" fmla="*/ 25 h 468"/>
                <a:gd name="T36" fmla="*/ 336 w 435"/>
                <a:gd name="T37" fmla="*/ 23 h 468"/>
                <a:gd name="T38" fmla="*/ 315 w 435"/>
                <a:gd name="T39" fmla="*/ 3 h 468"/>
                <a:gd name="T40" fmla="*/ 287 w 435"/>
                <a:gd name="T41" fmla="*/ 10 h 468"/>
                <a:gd name="T42" fmla="*/ 287 w 435"/>
                <a:gd name="T43" fmla="*/ 11 h 468"/>
                <a:gd name="T44" fmla="*/ 286 w 435"/>
                <a:gd name="T45" fmla="*/ 11 h 468"/>
                <a:gd name="T46" fmla="*/ 257 w 435"/>
                <a:gd name="T47" fmla="*/ 7 h 468"/>
                <a:gd name="T48" fmla="*/ 230 w 435"/>
                <a:gd name="T49" fmla="*/ 7 h 468"/>
                <a:gd name="T50" fmla="*/ 194 w 435"/>
                <a:gd name="T51" fmla="*/ 18 h 468"/>
                <a:gd name="T52" fmla="*/ 168 w 435"/>
                <a:gd name="T53" fmla="*/ 36 h 468"/>
                <a:gd name="T54" fmla="*/ 152 w 435"/>
                <a:gd name="T55" fmla="*/ 57 h 468"/>
                <a:gd name="T56" fmla="*/ 135 w 435"/>
                <a:gd name="T57" fmla="*/ 85 h 468"/>
                <a:gd name="T58" fmla="*/ 123 w 435"/>
                <a:gd name="T59" fmla="*/ 108 h 468"/>
                <a:gd name="T60" fmla="*/ 118 w 435"/>
                <a:gd name="T61" fmla="*/ 118 h 468"/>
                <a:gd name="T62" fmla="*/ 114 w 435"/>
                <a:gd name="T63" fmla="*/ 124 h 468"/>
                <a:gd name="T64" fmla="*/ 113 w 435"/>
                <a:gd name="T65" fmla="*/ 129 h 468"/>
                <a:gd name="T66" fmla="*/ 113 w 435"/>
                <a:gd name="T67" fmla="*/ 132 h 468"/>
                <a:gd name="T68" fmla="*/ 99 w 435"/>
                <a:gd name="T69" fmla="*/ 137 h 468"/>
                <a:gd name="T70" fmla="*/ 40 w 435"/>
                <a:gd name="T71" fmla="*/ 154 h 468"/>
                <a:gd name="T72" fmla="*/ 7 w 435"/>
                <a:gd name="T73" fmla="*/ 163 h 468"/>
                <a:gd name="T74" fmla="*/ 0 w 435"/>
                <a:gd name="T75" fmla="*/ 167 h 468"/>
                <a:gd name="T76" fmla="*/ 1 w 435"/>
                <a:gd name="T77" fmla="*/ 178 h 468"/>
                <a:gd name="T78" fmla="*/ 7 w 435"/>
                <a:gd name="T79" fmla="*/ 193 h 468"/>
                <a:gd name="T80" fmla="*/ 349 w 435"/>
                <a:gd name="T81" fmla="*/ 391 h 468"/>
                <a:gd name="T82" fmla="*/ 160 w 435"/>
                <a:gd name="T83" fmla="*/ 391 h 468"/>
                <a:gd name="T84" fmla="*/ 117 w 435"/>
                <a:gd name="T85" fmla="*/ 224 h 468"/>
                <a:gd name="T86" fmla="*/ 138 w 435"/>
                <a:gd name="T87" fmla="*/ 219 h 468"/>
                <a:gd name="T88" fmla="*/ 188 w 435"/>
                <a:gd name="T89" fmla="*/ 203 h 468"/>
                <a:gd name="T90" fmla="*/ 227 w 435"/>
                <a:gd name="T91" fmla="*/ 188 h 468"/>
                <a:gd name="T92" fmla="*/ 237 w 435"/>
                <a:gd name="T93" fmla="*/ 184 h 468"/>
                <a:gd name="T94" fmla="*/ 256 w 435"/>
                <a:gd name="T95" fmla="*/ 189 h 468"/>
                <a:gd name="T96" fmla="*/ 328 w 435"/>
                <a:gd name="T97" fmla="*/ 210 h 468"/>
                <a:gd name="T98" fmla="*/ 374 w 435"/>
                <a:gd name="T99" fmla="*/ 220 h 468"/>
                <a:gd name="T100" fmla="*/ 395 w 435"/>
                <a:gd name="T101" fmla="*/ 221 h 468"/>
                <a:gd name="T102" fmla="*/ 349 w 435"/>
                <a:gd name="T103" fmla="*/ 391 h 4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435" h="468">
                  <a:moveTo>
                    <a:pt x="7" y="193"/>
                  </a:moveTo>
                  <a:cubicBezTo>
                    <a:pt x="11" y="199"/>
                    <a:pt x="16" y="205"/>
                    <a:pt x="25" y="211"/>
                  </a:cubicBezTo>
                  <a:cubicBezTo>
                    <a:pt x="33" y="217"/>
                    <a:pt x="44" y="222"/>
                    <a:pt x="54" y="225"/>
                  </a:cubicBezTo>
                  <a:cubicBezTo>
                    <a:pt x="65" y="227"/>
                    <a:pt x="76" y="228"/>
                    <a:pt x="90" y="227"/>
                  </a:cubicBezTo>
                  <a:cubicBezTo>
                    <a:pt x="92" y="227"/>
                    <a:pt x="93" y="227"/>
                    <a:pt x="95" y="227"/>
                  </a:cubicBezTo>
                  <a:cubicBezTo>
                    <a:pt x="96" y="242"/>
                    <a:pt x="98" y="257"/>
                    <a:pt x="102" y="274"/>
                  </a:cubicBezTo>
                  <a:cubicBezTo>
                    <a:pt x="109" y="305"/>
                    <a:pt x="123" y="357"/>
                    <a:pt x="152" y="397"/>
                  </a:cubicBezTo>
                  <a:cubicBezTo>
                    <a:pt x="206" y="468"/>
                    <a:pt x="303" y="468"/>
                    <a:pt x="357" y="397"/>
                  </a:cubicBezTo>
                  <a:cubicBezTo>
                    <a:pt x="398" y="342"/>
                    <a:pt x="403" y="293"/>
                    <a:pt x="415" y="231"/>
                  </a:cubicBezTo>
                  <a:cubicBezTo>
                    <a:pt x="416" y="227"/>
                    <a:pt x="416" y="223"/>
                    <a:pt x="417" y="220"/>
                  </a:cubicBezTo>
                  <a:cubicBezTo>
                    <a:pt x="418" y="219"/>
                    <a:pt x="418" y="218"/>
                    <a:pt x="419" y="217"/>
                  </a:cubicBezTo>
                  <a:cubicBezTo>
                    <a:pt x="420" y="214"/>
                    <a:pt x="422" y="210"/>
                    <a:pt x="425" y="203"/>
                  </a:cubicBezTo>
                  <a:cubicBezTo>
                    <a:pt x="427" y="196"/>
                    <a:pt x="430" y="187"/>
                    <a:pt x="432" y="178"/>
                  </a:cubicBezTo>
                  <a:cubicBezTo>
                    <a:pt x="434" y="169"/>
                    <a:pt x="435" y="160"/>
                    <a:pt x="433" y="148"/>
                  </a:cubicBezTo>
                  <a:cubicBezTo>
                    <a:pt x="432" y="136"/>
                    <a:pt x="428" y="122"/>
                    <a:pt x="422" y="108"/>
                  </a:cubicBezTo>
                  <a:cubicBezTo>
                    <a:pt x="416" y="93"/>
                    <a:pt x="407" y="79"/>
                    <a:pt x="397" y="67"/>
                  </a:cubicBezTo>
                  <a:cubicBezTo>
                    <a:pt x="387" y="56"/>
                    <a:pt x="376" y="46"/>
                    <a:pt x="365" y="39"/>
                  </a:cubicBezTo>
                  <a:cubicBezTo>
                    <a:pt x="354" y="33"/>
                    <a:pt x="344" y="28"/>
                    <a:pt x="336" y="25"/>
                  </a:cubicBezTo>
                  <a:cubicBezTo>
                    <a:pt x="336" y="24"/>
                    <a:pt x="336" y="24"/>
                    <a:pt x="336" y="23"/>
                  </a:cubicBezTo>
                  <a:cubicBezTo>
                    <a:pt x="338" y="16"/>
                    <a:pt x="329" y="7"/>
                    <a:pt x="315" y="3"/>
                  </a:cubicBezTo>
                  <a:cubicBezTo>
                    <a:pt x="302" y="0"/>
                    <a:pt x="289" y="3"/>
                    <a:pt x="287" y="10"/>
                  </a:cubicBezTo>
                  <a:cubicBezTo>
                    <a:pt x="287" y="10"/>
                    <a:pt x="287" y="10"/>
                    <a:pt x="287" y="11"/>
                  </a:cubicBezTo>
                  <a:cubicBezTo>
                    <a:pt x="286" y="11"/>
                    <a:pt x="286" y="11"/>
                    <a:pt x="286" y="11"/>
                  </a:cubicBezTo>
                  <a:cubicBezTo>
                    <a:pt x="277" y="9"/>
                    <a:pt x="266" y="8"/>
                    <a:pt x="257" y="7"/>
                  </a:cubicBezTo>
                  <a:cubicBezTo>
                    <a:pt x="248" y="6"/>
                    <a:pt x="240" y="6"/>
                    <a:pt x="230" y="7"/>
                  </a:cubicBezTo>
                  <a:cubicBezTo>
                    <a:pt x="220" y="9"/>
                    <a:pt x="206" y="13"/>
                    <a:pt x="194" y="18"/>
                  </a:cubicBezTo>
                  <a:cubicBezTo>
                    <a:pt x="183" y="23"/>
                    <a:pt x="174" y="30"/>
                    <a:pt x="168" y="36"/>
                  </a:cubicBezTo>
                  <a:cubicBezTo>
                    <a:pt x="161" y="43"/>
                    <a:pt x="157" y="48"/>
                    <a:pt x="152" y="57"/>
                  </a:cubicBezTo>
                  <a:cubicBezTo>
                    <a:pt x="147" y="65"/>
                    <a:pt x="140" y="76"/>
                    <a:pt x="135" y="85"/>
                  </a:cubicBezTo>
                  <a:cubicBezTo>
                    <a:pt x="129" y="95"/>
                    <a:pt x="126" y="103"/>
                    <a:pt x="123" y="108"/>
                  </a:cubicBezTo>
                  <a:cubicBezTo>
                    <a:pt x="121" y="113"/>
                    <a:pt x="119" y="116"/>
                    <a:pt x="118" y="118"/>
                  </a:cubicBezTo>
                  <a:cubicBezTo>
                    <a:pt x="116" y="121"/>
                    <a:pt x="115" y="123"/>
                    <a:pt x="114" y="124"/>
                  </a:cubicBezTo>
                  <a:cubicBezTo>
                    <a:pt x="113" y="126"/>
                    <a:pt x="113" y="127"/>
                    <a:pt x="113" y="129"/>
                  </a:cubicBezTo>
                  <a:cubicBezTo>
                    <a:pt x="113" y="130"/>
                    <a:pt x="113" y="131"/>
                    <a:pt x="113" y="132"/>
                  </a:cubicBezTo>
                  <a:cubicBezTo>
                    <a:pt x="113" y="133"/>
                    <a:pt x="113" y="133"/>
                    <a:pt x="99" y="137"/>
                  </a:cubicBezTo>
                  <a:cubicBezTo>
                    <a:pt x="85" y="141"/>
                    <a:pt x="58" y="149"/>
                    <a:pt x="40" y="154"/>
                  </a:cubicBezTo>
                  <a:cubicBezTo>
                    <a:pt x="22" y="159"/>
                    <a:pt x="13" y="161"/>
                    <a:pt x="7" y="163"/>
                  </a:cubicBezTo>
                  <a:cubicBezTo>
                    <a:pt x="2" y="164"/>
                    <a:pt x="1" y="165"/>
                    <a:pt x="0" y="167"/>
                  </a:cubicBezTo>
                  <a:cubicBezTo>
                    <a:pt x="0" y="169"/>
                    <a:pt x="0" y="174"/>
                    <a:pt x="1" y="178"/>
                  </a:cubicBezTo>
                  <a:cubicBezTo>
                    <a:pt x="2" y="183"/>
                    <a:pt x="4" y="187"/>
                    <a:pt x="7" y="193"/>
                  </a:cubicBezTo>
                  <a:close/>
                  <a:moveTo>
                    <a:pt x="349" y="391"/>
                  </a:moveTo>
                  <a:cubicBezTo>
                    <a:pt x="299" y="457"/>
                    <a:pt x="210" y="457"/>
                    <a:pt x="160" y="391"/>
                  </a:cubicBezTo>
                  <a:cubicBezTo>
                    <a:pt x="130" y="351"/>
                    <a:pt x="102" y="279"/>
                    <a:pt x="117" y="224"/>
                  </a:cubicBezTo>
                  <a:cubicBezTo>
                    <a:pt x="124" y="223"/>
                    <a:pt x="131" y="221"/>
                    <a:pt x="138" y="219"/>
                  </a:cubicBezTo>
                  <a:cubicBezTo>
                    <a:pt x="156" y="215"/>
                    <a:pt x="173" y="209"/>
                    <a:pt x="188" y="203"/>
                  </a:cubicBezTo>
                  <a:cubicBezTo>
                    <a:pt x="204" y="197"/>
                    <a:pt x="219" y="191"/>
                    <a:pt x="227" y="188"/>
                  </a:cubicBezTo>
                  <a:cubicBezTo>
                    <a:pt x="235" y="184"/>
                    <a:pt x="236" y="184"/>
                    <a:pt x="237" y="184"/>
                  </a:cubicBezTo>
                  <a:cubicBezTo>
                    <a:pt x="238" y="184"/>
                    <a:pt x="239" y="184"/>
                    <a:pt x="256" y="189"/>
                  </a:cubicBezTo>
                  <a:cubicBezTo>
                    <a:pt x="273" y="194"/>
                    <a:pt x="306" y="204"/>
                    <a:pt x="328" y="210"/>
                  </a:cubicBezTo>
                  <a:cubicBezTo>
                    <a:pt x="350" y="216"/>
                    <a:pt x="361" y="218"/>
                    <a:pt x="374" y="220"/>
                  </a:cubicBezTo>
                  <a:cubicBezTo>
                    <a:pt x="381" y="221"/>
                    <a:pt x="388" y="221"/>
                    <a:pt x="395" y="221"/>
                  </a:cubicBezTo>
                  <a:cubicBezTo>
                    <a:pt x="408" y="279"/>
                    <a:pt x="383" y="346"/>
                    <a:pt x="349" y="391"/>
                  </a:cubicBez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42365469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xmlns="" id="{1A520ABF-2CBD-460A-AF39-F1D99CB03642}"/>
              </a:ext>
            </a:extLst>
          </p:cNvPr>
          <p:cNvSpPr/>
          <p:nvPr/>
        </p:nvSpPr>
        <p:spPr>
          <a:xfrm>
            <a:off x="6205916" y="3390021"/>
            <a:ext cx="2945717" cy="793284"/>
          </a:xfrm>
          <a:prstGeom prst="rect">
            <a:avLst/>
          </a:prstGeom>
          <a:solidFill>
            <a:schemeClr val="accent4"/>
          </a:solidFill>
          <a:ln w="9525">
            <a:solidFill>
              <a:srgbClr val="5A6E7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1400" dirty="0"/>
              <a:t>Bitte ausblenden/rauslöschen</a:t>
            </a: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xmlns="" id="{88E56996-F3F9-48B6-91BA-FC48E1E03DA7}"/>
              </a:ext>
            </a:extLst>
          </p:cNvPr>
          <p:cNvSpPr/>
          <p:nvPr/>
        </p:nvSpPr>
        <p:spPr>
          <a:xfrm>
            <a:off x="6150744" y="1778465"/>
            <a:ext cx="2991669" cy="1169723"/>
          </a:xfrm>
          <a:prstGeom prst="rect">
            <a:avLst/>
          </a:prstGeom>
          <a:solidFill>
            <a:schemeClr val="accent4"/>
          </a:solidFill>
          <a:ln w="9525">
            <a:solidFill>
              <a:srgbClr val="5A6E7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1400" dirty="0"/>
              <a:t>Auswahl </a:t>
            </a:r>
            <a:r>
              <a:rPr lang="de-DE" sz="1400" dirty="0" err="1"/>
              <a:t>Pictogramme</a:t>
            </a:r>
            <a:r>
              <a:rPr lang="de-DE" sz="1400" dirty="0"/>
              <a:t>, BI Themen,</a:t>
            </a:r>
          </a:p>
          <a:p>
            <a:r>
              <a:rPr lang="de-DE" sz="1400" dirty="0"/>
              <a:t>Einsatz auf dunklem Grund oder in dunklem Kreis (s.u.)</a:t>
            </a:r>
          </a:p>
          <a:p>
            <a:r>
              <a:rPr lang="de-DE" sz="1400" dirty="0"/>
              <a:t>Weitere </a:t>
            </a:r>
            <a:r>
              <a:rPr lang="de-DE" sz="1400" dirty="0" err="1"/>
              <a:t>Pictos</a:t>
            </a:r>
            <a:r>
              <a:rPr lang="de-DE" sz="1400" dirty="0"/>
              <a:t> im Marketing Ordner</a:t>
            </a:r>
          </a:p>
        </p:txBody>
      </p:sp>
      <p:pic>
        <p:nvPicPr>
          <p:cNvPr id="5" name="Picture 24" descr="C:\Users\cschmetz\Desktop\flaticons\humanpictos.png">
            <a:extLst>
              <a:ext uri="{FF2B5EF4-FFF2-40B4-BE49-F238E27FC236}">
                <a16:creationId xmlns:a16="http://schemas.microsoft.com/office/drawing/2014/main" xmlns="" id="{2F064CC0-41B7-490A-B6DC-AC231152E52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02918" y="474111"/>
            <a:ext cx="439219" cy="4392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25" descr="C:\Users\cschmetz\Desktop\flaticons\icon.png">
            <a:extLst>
              <a:ext uri="{FF2B5EF4-FFF2-40B4-BE49-F238E27FC236}">
                <a16:creationId xmlns:a16="http://schemas.microsoft.com/office/drawing/2014/main" xmlns="" id="{D68BF46D-F94F-490D-B453-C0E6721E42D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53816" y="444498"/>
            <a:ext cx="439219" cy="4392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26" descr="C:\Users\cschmetz\Desktop\flaticons\laptop-data-analytics-graphic-on-screen-with-circles.png">
            <a:extLst>
              <a:ext uri="{FF2B5EF4-FFF2-40B4-BE49-F238E27FC236}">
                <a16:creationId xmlns:a16="http://schemas.microsoft.com/office/drawing/2014/main" xmlns="" id="{17930779-DCA5-4206-BA31-98D17DBE2C4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87045" y="444500"/>
            <a:ext cx="439219" cy="4392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27" descr="C:\Users\cschmetz\Desktop\flaticons\laptop-pie-chart-on-screen.png">
            <a:extLst>
              <a:ext uri="{FF2B5EF4-FFF2-40B4-BE49-F238E27FC236}">
                <a16:creationId xmlns:a16="http://schemas.microsoft.com/office/drawing/2014/main" xmlns="" id="{BB063DBA-A6B4-441A-8429-FFFCEEAC023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96725" y="444500"/>
            <a:ext cx="439219" cy="4392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34" descr="C:\Users\cschmetz\Desktop\flaticons\processing.png">
            <a:extLst>
              <a:ext uri="{FF2B5EF4-FFF2-40B4-BE49-F238E27FC236}">
                <a16:creationId xmlns:a16="http://schemas.microsoft.com/office/drawing/2014/main" xmlns="" id="{8A06C8B3-2B17-4035-90EB-D43DB439748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68511" y="474112"/>
            <a:ext cx="439219" cy="4392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35" descr="C:\Users\cschmetz\Desktop\flaticons\radar-chart-with-pentagon-shape.png">
            <a:extLst>
              <a:ext uri="{FF2B5EF4-FFF2-40B4-BE49-F238E27FC236}">
                <a16:creationId xmlns:a16="http://schemas.microsoft.com/office/drawing/2014/main" xmlns="" id="{AFC554C5-72E5-40E0-809A-3FF529E1720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19409" y="444501"/>
            <a:ext cx="439219" cy="4392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36" descr="C:\Users\cschmetz\Desktop\flaticons\server.png">
            <a:extLst>
              <a:ext uri="{FF2B5EF4-FFF2-40B4-BE49-F238E27FC236}">
                <a16:creationId xmlns:a16="http://schemas.microsoft.com/office/drawing/2014/main" xmlns="" id="{99F8AEAE-455E-4A62-A069-46589CEA30D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09944" y="474114"/>
            <a:ext cx="439219" cy="4392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37" descr="C:\Users\cschmetz\Desktop\flaticons\stock-dealing.png">
            <a:extLst>
              <a:ext uri="{FF2B5EF4-FFF2-40B4-BE49-F238E27FC236}">
                <a16:creationId xmlns:a16="http://schemas.microsoft.com/office/drawing/2014/main" xmlns="" id="{5B7884AE-52B0-4CB7-9D9C-B37A6E914D7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79586" y="520976"/>
            <a:ext cx="439219" cy="4392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38" descr="C:\Users\cschmetz\Desktop\flaticons\stocks-graphic-on-laptop-monitor.png">
            <a:extLst>
              <a:ext uri="{FF2B5EF4-FFF2-40B4-BE49-F238E27FC236}">
                <a16:creationId xmlns:a16="http://schemas.microsoft.com/office/drawing/2014/main" xmlns="" id="{96EB3459-6714-4E34-AE1F-7EFB044B12C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04064" y="474114"/>
            <a:ext cx="439219" cy="4392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39" descr="C:\Users\cschmetz\Desktop\flaticons\thought.png">
            <a:extLst>
              <a:ext uri="{FF2B5EF4-FFF2-40B4-BE49-F238E27FC236}">
                <a16:creationId xmlns:a16="http://schemas.microsoft.com/office/drawing/2014/main" xmlns="" id="{753F26A9-D712-44E7-A5AB-303067239DF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22495" y="444499"/>
            <a:ext cx="439219" cy="4392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40" descr="C:\Users\cschmetz\Desktop\flaticons\user-setting-interface-symbol.png">
            <a:extLst>
              <a:ext uri="{FF2B5EF4-FFF2-40B4-BE49-F238E27FC236}">
                <a16:creationId xmlns:a16="http://schemas.microsoft.com/office/drawing/2014/main" xmlns="" id="{B5F65D80-2543-4635-8F4A-FFB2D05E4AD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13030" y="444501"/>
            <a:ext cx="439219" cy="4392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41" descr="C:\Users\cschmetz\Desktop\flaticons\worldwide.png">
            <a:extLst>
              <a:ext uri="{FF2B5EF4-FFF2-40B4-BE49-F238E27FC236}">
                <a16:creationId xmlns:a16="http://schemas.microsoft.com/office/drawing/2014/main" xmlns="" id="{D5F6B4CF-5535-40DA-87F8-DFDF2226136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7463" y="444500"/>
            <a:ext cx="439219" cy="4392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42" descr="C:\Users\cschmetz\Desktop\flaticons\xlsx-file-format-extension.png">
            <a:extLst>
              <a:ext uri="{FF2B5EF4-FFF2-40B4-BE49-F238E27FC236}">
                <a16:creationId xmlns:a16="http://schemas.microsoft.com/office/drawing/2014/main" xmlns="" id="{F7D63A30-B72C-4A7A-A9DB-058305905A0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92563" y="1065373"/>
            <a:ext cx="439219" cy="4392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6" descr="C:\Users\cschmetz\Desktop\flaticons\analytics.png">
            <a:extLst>
              <a:ext uri="{FF2B5EF4-FFF2-40B4-BE49-F238E27FC236}">
                <a16:creationId xmlns:a16="http://schemas.microsoft.com/office/drawing/2014/main" xmlns="" id="{01826C2E-D722-4FB9-BE8B-5DCD0E5A11D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3238" y="1051250"/>
            <a:ext cx="439219" cy="4392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17" descr="C:\Users\cschmetz\Desktop\flaticons\data-analysis-symbol.png">
            <a:extLst>
              <a:ext uri="{FF2B5EF4-FFF2-40B4-BE49-F238E27FC236}">
                <a16:creationId xmlns:a16="http://schemas.microsoft.com/office/drawing/2014/main" xmlns="" id="{4220AAD9-6EBA-4292-A6DF-0F7BAB0930A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24350" y="1065375"/>
            <a:ext cx="439219" cy="4392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Picture 28" descr="C:\Users\cschmetz\Desktop\flaticons\line-graphic-on-checkered-background.png">
            <a:extLst>
              <a:ext uri="{FF2B5EF4-FFF2-40B4-BE49-F238E27FC236}">
                <a16:creationId xmlns:a16="http://schemas.microsoft.com/office/drawing/2014/main" xmlns="" id="{D67A427E-056A-4A4B-BC5A-D97346F40DE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79585" y="1065375"/>
            <a:ext cx="439219" cy="4392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29" descr="C:\Users\cschmetz\Desktop\flaticons\maps-and-flags.png">
            <a:extLst>
              <a:ext uri="{FF2B5EF4-FFF2-40B4-BE49-F238E27FC236}">
                <a16:creationId xmlns:a16="http://schemas.microsoft.com/office/drawing/2014/main" xmlns="" id="{86E8A3E1-CC8E-46FC-B684-52547A4FD45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6623" y="465051"/>
            <a:ext cx="439219" cy="4392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30" descr="C:\Users\cschmetz\Desktop\flaticons\outsourcing.png">
            <a:extLst>
              <a:ext uri="{FF2B5EF4-FFF2-40B4-BE49-F238E27FC236}">
                <a16:creationId xmlns:a16="http://schemas.microsoft.com/office/drawing/2014/main" xmlns="" id="{255F776C-9354-45B7-BA53-DB79B2D5BCA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50455" y="2472231"/>
            <a:ext cx="439219" cy="4392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" name="Picture 31" descr="C:\Users\cschmetz\Desktop\flaticons\pie-graphic-with-four-areas.png">
            <a:extLst>
              <a:ext uri="{FF2B5EF4-FFF2-40B4-BE49-F238E27FC236}">
                <a16:creationId xmlns:a16="http://schemas.microsoft.com/office/drawing/2014/main" xmlns="" id="{A9A879EA-D0F8-4E2B-85F8-CBF4ADF176C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4525" y="1068225"/>
            <a:ext cx="439219" cy="4392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33" descr="C:\Users\cschmetz\Desktop\flaticons\polygonal-chart-of-triangles.png">
            <a:extLst>
              <a:ext uri="{FF2B5EF4-FFF2-40B4-BE49-F238E27FC236}">
                <a16:creationId xmlns:a16="http://schemas.microsoft.com/office/drawing/2014/main" xmlns="" id="{AB5BC684-4C71-4D48-989A-5405AC96274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2696" y="1065375"/>
            <a:ext cx="439219" cy="4392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7" descr="C:\Users\cschmetz\Desktop\flaticons\analytics_handy.png">
            <a:extLst>
              <a:ext uri="{FF2B5EF4-FFF2-40B4-BE49-F238E27FC236}">
                <a16:creationId xmlns:a16="http://schemas.microsoft.com/office/drawing/2014/main" xmlns="" id="{649C968A-2C04-4A91-A5C7-3019D779401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81621" y="1778465"/>
            <a:ext cx="488304" cy="4883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" name="Picture 8" descr="C:\Users\cschmetz\Desktop\flaticons\artificial-intelligence.png">
            <a:extLst>
              <a:ext uri="{FF2B5EF4-FFF2-40B4-BE49-F238E27FC236}">
                <a16:creationId xmlns:a16="http://schemas.microsoft.com/office/drawing/2014/main" xmlns="" id="{2791C14B-ACAA-47BA-9371-414BF3CD6EB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9786" y="2428600"/>
            <a:ext cx="488304" cy="4883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" name="Picture 9" descr="C:\Users\cschmetz\Desktop\flaticons\bars-chart-page-symbol.png">
            <a:extLst>
              <a:ext uri="{FF2B5EF4-FFF2-40B4-BE49-F238E27FC236}">
                <a16:creationId xmlns:a16="http://schemas.microsoft.com/office/drawing/2014/main" xmlns="" id="{2D3E1B3F-43D1-4869-AF53-EB26B8FC489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26929" y="1141687"/>
            <a:ext cx="378809" cy="3788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" name="Picture 10" descr="C:\Users\cschmetz\Desktop\flaticons\binary-code-loading-symbol.png">
            <a:extLst>
              <a:ext uri="{FF2B5EF4-FFF2-40B4-BE49-F238E27FC236}">
                <a16:creationId xmlns:a16="http://schemas.microsoft.com/office/drawing/2014/main" xmlns="" id="{7387F3E2-9B78-4851-84A6-ECFD6300FD6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21215" y="1689100"/>
            <a:ext cx="488304" cy="4883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" name="Picture 11" descr="C:\Users\cschmetz\Desktop\flaticons\brain.png">
            <a:extLst>
              <a:ext uri="{FF2B5EF4-FFF2-40B4-BE49-F238E27FC236}">
                <a16:creationId xmlns:a16="http://schemas.microsoft.com/office/drawing/2014/main" xmlns="" id="{7B1CFA51-1EDA-489F-B010-F92167456E1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69852" y="1686249"/>
            <a:ext cx="488304" cy="4883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" name="Picture 12" descr="C:\Users\cschmetz\Desktop\flaticons\brain2.png">
            <a:extLst>
              <a:ext uri="{FF2B5EF4-FFF2-40B4-BE49-F238E27FC236}">
                <a16:creationId xmlns:a16="http://schemas.microsoft.com/office/drawing/2014/main" xmlns="" id="{538B24F1-26EE-477C-8C10-244806DB59F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9786" y="1689100"/>
            <a:ext cx="488304" cy="4883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" name="Picture 13" descr="C:\Users\cschmetz\Desktop\flaticons\cloud-computing.png">
            <a:extLst>
              <a:ext uri="{FF2B5EF4-FFF2-40B4-BE49-F238E27FC236}">
                <a16:creationId xmlns:a16="http://schemas.microsoft.com/office/drawing/2014/main" xmlns="" id="{BC8A6E95-A531-4821-A99B-168F8E3B5C5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33821" y="1068225"/>
            <a:ext cx="488304" cy="4883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2" name="Picture 14" descr="C:\Users\cschmetz\Desktop\flaticons\connected-data-flow-chart.png">
            <a:extLst>
              <a:ext uri="{FF2B5EF4-FFF2-40B4-BE49-F238E27FC236}">
                <a16:creationId xmlns:a16="http://schemas.microsoft.com/office/drawing/2014/main" xmlns="" id="{30E5A12D-E4CB-445A-B288-7F4C472F75C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54543" y="1040831"/>
            <a:ext cx="488304" cy="4883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3" name="Picture 15" descr="C:\Users\cschmetz\Desktop\flaticons\coordination.png">
            <a:extLst>
              <a:ext uri="{FF2B5EF4-FFF2-40B4-BE49-F238E27FC236}">
                <a16:creationId xmlns:a16="http://schemas.microsoft.com/office/drawing/2014/main" xmlns="" id="{92087D4F-6A78-48F0-9684-9CBDA96034E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7463" y="1686250"/>
            <a:ext cx="488304" cy="4883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4" name="Picture 16" descr="C:\Users\cschmetz\Desktop\flaticons\data.png">
            <a:extLst>
              <a:ext uri="{FF2B5EF4-FFF2-40B4-BE49-F238E27FC236}">
                <a16:creationId xmlns:a16="http://schemas.microsoft.com/office/drawing/2014/main" xmlns="" id="{0AF38885-FB2A-4A87-B885-64D47FE269E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02908" y="1778465"/>
            <a:ext cx="488304" cy="4883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5" name="Picture 18" descr="C:\Users\cschmetz\Desktop\flaticons\data-analytics-wheel-graphic.png">
            <a:extLst>
              <a:ext uri="{FF2B5EF4-FFF2-40B4-BE49-F238E27FC236}">
                <a16:creationId xmlns:a16="http://schemas.microsoft.com/office/drawing/2014/main" xmlns="" id="{FA740CD0-4F03-48CE-9A3D-1AF9C8523B5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45306" y="2412089"/>
            <a:ext cx="439219" cy="4392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6" name="Picture 19" descr="C:\Users\cschmetz\Desktop\flaticons\database.png">
            <a:extLst>
              <a:ext uri="{FF2B5EF4-FFF2-40B4-BE49-F238E27FC236}">
                <a16:creationId xmlns:a16="http://schemas.microsoft.com/office/drawing/2014/main" xmlns="" id="{092866F6-E88B-47FF-9A50-8410F60033C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95979" y="1763874"/>
            <a:ext cx="439219" cy="4392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7" name="Picture 20" descr="C:\Users\cschmetz\Desktop\flaticons\database-interconnected.png">
            <a:extLst>
              <a:ext uri="{FF2B5EF4-FFF2-40B4-BE49-F238E27FC236}">
                <a16:creationId xmlns:a16="http://schemas.microsoft.com/office/drawing/2014/main" xmlns="" id="{587A11D0-3AAE-43AF-8BC0-B3231EACA11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95714" y="1735334"/>
            <a:ext cx="439219" cy="4392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8" name="Picture 21" descr="C:\Users\cschmetz\Desktop\flaticons\data-interconnected-symbol.png">
            <a:extLst>
              <a:ext uri="{FF2B5EF4-FFF2-40B4-BE49-F238E27FC236}">
                <a16:creationId xmlns:a16="http://schemas.microsoft.com/office/drawing/2014/main" xmlns="" id="{B16D2858-E4CB-41DC-ABBA-18C2B7EC1D8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11779" y="1094484"/>
            <a:ext cx="439219" cy="4392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9" name="Picture 22" descr="C:\Users\cschmetz\Desktop\flaticons\factory.png">
            <a:extLst>
              <a:ext uri="{FF2B5EF4-FFF2-40B4-BE49-F238E27FC236}">
                <a16:creationId xmlns:a16="http://schemas.microsoft.com/office/drawing/2014/main" xmlns="" id="{4F1C4160-A33E-4329-88BF-64E9934B702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87490" y="2448726"/>
            <a:ext cx="439219" cy="4392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" name="Picture 23" descr="C:\Users\cschmetz\Desktop\flaticons\flow-chart.png">
            <a:extLst>
              <a:ext uri="{FF2B5EF4-FFF2-40B4-BE49-F238E27FC236}">
                <a16:creationId xmlns:a16="http://schemas.microsoft.com/office/drawing/2014/main" xmlns="" id="{EC668160-D145-4DC5-B4CC-31BE5D43CAA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11184" y="2448727"/>
            <a:ext cx="439219" cy="4392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1" name="Ellipse 40">
            <a:extLst>
              <a:ext uri="{FF2B5EF4-FFF2-40B4-BE49-F238E27FC236}">
                <a16:creationId xmlns:a16="http://schemas.microsoft.com/office/drawing/2014/main" xmlns="" id="{D8F3BE94-CCEE-4E4B-9E34-F5E37D6FB892}"/>
              </a:ext>
            </a:extLst>
          </p:cNvPr>
          <p:cNvSpPr/>
          <p:nvPr/>
        </p:nvSpPr>
        <p:spPr>
          <a:xfrm>
            <a:off x="5403505" y="4127703"/>
            <a:ext cx="817144" cy="817144"/>
          </a:xfrm>
          <a:prstGeom prst="ellipse">
            <a:avLst/>
          </a:prstGeom>
          <a:solidFill>
            <a:schemeClr val="accent1">
              <a:lumMod val="5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>
              <a:solidFill>
                <a:srgbClr val="344046"/>
              </a:solidFill>
            </a:endParaRPr>
          </a:p>
        </p:txBody>
      </p:sp>
      <p:sp>
        <p:nvSpPr>
          <p:cNvPr id="42" name="Ellipse 41">
            <a:extLst>
              <a:ext uri="{FF2B5EF4-FFF2-40B4-BE49-F238E27FC236}">
                <a16:creationId xmlns:a16="http://schemas.microsoft.com/office/drawing/2014/main" xmlns="" id="{7FB5B9D4-CD39-4A2D-92C5-3CC94F386CB3}"/>
              </a:ext>
            </a:extLst>
          </p:cNvPr>
          <p:cNvSpPr/>
          <p:nvPr/>
        </p:nvSpPr>
        <p:spPr>
          <a:xfrm>
            <a:off x="2339392" y="4127703"/>
            <a:ext cx="817144" cy="817144"/>
          </a:xfrm>
          <a:prstGeom prst="ellipse">
            <a:avLst/>
          </a:prstGeom>
          <a:solidFill>
            <a:schemeClr val="accent1">
              <a:lumMod val="5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>
              <a:solidFill>
                <a:srgbClr val="344046"/>
              </a:solidFill>
            </a:endParaRPr>
          </a:p>
        </p:txBody>
      </p:sp>
      <p:pic>
        <p:nvPicPr>
          <p:cNvPr id="43" name="Grafik 42">
            <a:extLst>
              <a:ext uri="{FF2B5EF4-FFF2-40B4-BE49-F238E27FC236}">
                <a16:creationId xmlns:a16="http://schemas.microsoft.com/office/drawing/2014/main" xmlns="" id="{2EF49A99-E03B-4F62-A678-2F7C35FA8E9D}"/>
              </a:ext>
            </a:extLst>
          </p:cNvPr>
          <p:cNvPicPr>
            <a:picLocks noChangeAspect="1"/>
          </p:cNvPicPr>
          <p:nvPr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77324" y="4251885"/>
            <a:ext cx="568779" cy="568779"/>
          </a:xfrm>
          <a:prstGeom prst="rect">
            <a:avLst/>
          </a:prstGeom>
        </p:spPr>
      </p:pic>
      <p:sp>
        <p:nvSpPr>
          <p:cNvPr id="44" name="Ellipse 43">
            <a:extLst>
              <a:ext uri="{FF2B5EF4-FFF2-40B4-BE49-F238E27FC236}">
                <a16:creationId xmlns:a16="http://schemas.microsoft.com/office/drawing/2014/main" xmlns="" id="{8192C8FE-48C7-45CF-9B5F-A9BB7C314202}"/>
              </a:ext>
            </a:extLst>
          </p:cNvPr>
          <p:cNvSpPr/>
          <p:nvPr/>
        </p:nvSpPr>
        <p:spPr>
          <a:xfrm>
            <a:off x="3308936" y="4127702"/>
            <a:ext cx="817144" cy="817144"/>
          </a:xfrm>
          <a:prstGeom prst="ellipse">
            <a:avLst/>
          </a:prstGeom>
          <a:solidFill>
            <a:schemeClr val="accent1">
              <a:lumMod val="5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>
              <a:solidFill>
                <a:srgbClr val="344046"/>
              </a:solidFill>
            </a:endParaRPr>
          </a:p>
        </p:txBody>
      </p:sp>
      <p:pic>
        <p:nvPicPr>
          <p:cNvPr id="45" name="Grafik 44">
            <a:extLst>
              <a:ext uri="{FF2B5EF4-FFF2-40B4-BE49-F238E27FC236}">
                <a16:creationId xmlns:a16="http://schemas.microsoft.com/office/drawing/2014/main" xmlns="" id="{CA1F54B7-8AF0-4DF2-8163-7EFA6C3A6E73}"/>
              </a:ext>
            </a:extLst>
          </p:cNvPr>
          <p:cNvPicPr>
            <a:picLocks noChangeAspect="1"/>
          </p:cNvPicPr>
          <p:nvPr/>
        </p:nvPicPr>
        <p:blipFill>
          <a:blip r:embed="rId3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78165" y="4251885"/>
            <a:ext cx="532840" cy="532840"/>
          </a:xfrm>
          <a:prstGeom prst="rect">
            <a:avLst/>
          </a:prstGeom>
        </p:spPr>
      </p:pic>
      <p:sp>
        <p:nvSpPr>
          <p:cNvPr id="46" name="Ellipse 45">
            <a:extLst>
              <a:ext uri="{FF2B5EF4-FFF2-40B4-BE49-F238E27FC236}">
                <a16:creationId xmlns:a16="http://schemas.microsoft.com/office/drawing/2014/main" xmlns="" id="{77567E5F-1276-4AED-AB3C-C0E76606FFEA}"/>
              </a:ext>
            </a:extLst>
          </p:cNvPr>
          <p:cNvSpPr/>
          <p:nvPr/>
        </p:nvSpPr>
        <p:spPr>
          <a:xfrm>
            <a:off x="4295309" y="4127702"/>
            <a:ext cx="817144" cy="817144"/>
          </a:xfrm>
          <a:prstGeom prst="ellipse">
            <a:avLst/>
          </a:prstGeom>
          <a:solidFill>
            <a:schemeClr val="accent1">
              <a:lumMod val="5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>
              <a:solidFill>
                <a:srgbClr val="344046"/>
              </a:solidFill>
            </a:endParaRPr>
          </a:p>
        </p:txBody>
      </p:sp>
      <p:pic>
        <p:nvPicPr>
          <p:cNvPr id="47" name="Grafik 46">
            <a:extLst>
              <a:ext uri="{FF2B5EF4-FFF2-40B4-BE49-F238E27FC236}">
                <a16:creationId xmlns:a16="http://schemas.microsoft.com/office/drawing/2014/main" xmlns="" id="{6B159A25-A332-4E08-B238-62E3121FBFCB}"/>
              </a:ext>
            </a:extLst>
          </p:cNvPr>
          <p:cNvPicPr>
            <a:picLocks noChangeAspect="1"/>
          </p:cNvPicPr>
          <p:nvPr/>
        </p:nvPicPr>
        <p:blipFill>
          <a:blip r:embed="rId4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33138" y="4243239"/>
            <a:ext cx="541486" cy="541486"/>
          </a:xfrm>
          <a:prstGeom prst="rect">
            <a:avLst/>
          </a:prstGeom>
        </p:spPr>
      </p:pic>
      <p:pic>
        <p:nvPicPr>
          <p:cNvPr id="48" name="Grafik 47">
            <a:extLst>
              <a:ext uri="{FF2B5EF4-FFF2-40B4-BE49-F238E27FC236}">
                <a16:creationId xmlns:a16="http://schemas.microsoft.com/office/drawing/2014/main" xmlns="" id="{E1492814-0C07-4A32-850A-1D45B1E53EDE}"/>
              </a:ext>
            </a:extLst>
          </p:cNvPr>
          <p:cNvPicPr>
            <a:picLocks noChangeAspect="1"/>
          </p:cNvPicPr>
          <p:nvPr/>
        </p:nvPicPr>
        <p:blipFill>
          <a:blip r:embed="rId4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06330" y="2473569"/>
            <a:ext cx="402788" cy="402788"/>
          </a:xfrm>
          <a:prstGeom prst="rect">
            <a:avLst/>
          </a:prstGeom>
        </p:spPr>
      </p:pic>
      <p:pic>
        <p:nvPicPr>
          <p:cNvPr id="49" name="Grafik 48">
            <a:extLst>
              <a:ext uri="{FF2B5EF4-FFF2-40B4-BE49-F238E27FC236}">
                <a16:creationId xmlns:a16="http://schemas.microsoft.com/office/drawing/2014/main" xmlns="" id="{8A8A26AD-D5C3-4525-BF81-EB5F2B09E508}"/>
              </a:ext>
            </a:extLst>
          </p:cNvPr>
          <p:cNvPicPr>
            <a:picLocks noChangeAspect="1"/>
          </p:cNvPicPr>
          <p:nvPr/>
        </p:nvPicPr>
        <p:blipFill>
          <a:blip r:embed="rId4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8844" y="3086102"/>
            <a:ext cx="607838" cy="607838"/>
          </a:xfrm>
          <a:prstGeom prst="rect">
            <a:avLst/>
          </a:prstGeom>
        </p:spPr>
      </p:pic>
      <p:pic>
        <p:nvPicPr>
          <p:cNvPr id="50" name="Grafik 49">
            <a:extLst>
              <a:ext uri="{FF2B5EF4-FFF2-40B4-BE49-F238E27FC236}">
                <a16:creationId xmlns:a16="http://schemas.microsoft.com/office/drawing/2014/main" xmlns="" id="{169C37E5-82DD-474D-A942-FA05EC154B6B}"/>
              </a:ext>
            </a:extLst>
          </p:cNvPr>
          <p:cNvPicPr>
            <a:picLocks noChangeAspect="1"/>
          </p:cNvPicPr>
          <p:nvPr/>
        </p:nvPicPr>
        <p:blipFill>
          <a:blip r:embed="rId4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6197" y="3822520"/>
            <a:ext cx="393132" cy="554417"/>
          </a:xfrm>
          <a:prstGeom prst="rect">
            <a:avLst/>
          </a:prstGeom>
        </p:spPr>
      </p:pic>
      <p:pic>
        <p:nvPicPr>
          <p:cNvPr id="51" name="Grafik 50">
            <a:extLst>
              <a:ext uri="{FF2B5EF4-FFF2-40B4-BE49-F238E27FC236}">
                <a16:creationId xmlns:a16="http://schemas.microsoft.com/office/drawing/2014/main" xmlns="" id="{488FDA92-33B3-44DC-9530-F3365B58A7E5}"/>
              </a:ext>
            </a:extLst>
          </p:cNvPr>
          <p:cNvPicPr>
            <a:picLocks noChangeAspect="1"/>
          </p:cNvPicPr>
          <p:nvPr/>
        </p:nvPicPr>
        <p:blipFill>
          <a:blip r:embed="rId4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89751" y="3170449"/>
            <a:ext cx="448505" cy="448505"/>
          </a:xfrm>
          <a:prstGeom prst="rect">
            <a:avLst/>
          </a:prstGeom>
        </p:spPr>
      </p:pic>
      <p:pic>
        <p:nvPicPr>
          <p:cNvPr id="52" name="Grafik 51">
            <a:extLst>
              <a:ext uri="{FF2B5EF4-FFF2-40B4-BE49-F238E27FC236}">
                <a16:creationId xmlns:a16="http://schemas.microsoft.com/office/drawing/2014/main" xmlns="" id="{F64AE67D-D4E2-409F-9E66-F76DDAA3DAF5}"/>
              </a:ext>
            </a:extLst>
          </p:cNvPr>
          <p:cNvPicPr>
            <a:picLocks noChangeAspect="1"/>
          </p:cNvPicPr>
          <p:nvPr/>
        </p:nvPicPr>
        <p:blipFill>
          <a:blip r:embed="rId4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77324" y="3070660"/>
            <a:ext cx="707228" cy="638722"/>
          </a:xfrm>
          <a:prstGeom prst="rect">
            <a:avLst/>
          </a:prstGeom>
        </p:spPr>
      </p:pic>
      <p:pic>
        <p:nvPicPr>
          <p:cNvPr id="53" name="Grafik 52">
            <a:extLst>
              <a:ext uri="{FF2B5EF4-FFF2-40B4-BE49-F238E27FC236}">
                <a16:creationId xmlns:a16="http://schemas.microsoft.com/office/drawing/2014/main" xmlns="" id="{AE100F81-C8AE-430A-8203-C97BE1ECF2E5}"/>
              </a:ext>
            </a:extLst>
          </p:cNvPr>
          <p:cNvPicPr>
            <a:picLocks noChangeAspect="1"/>
          </p:cNvPicPr>
          <p:nvPr/>
        </p:nvPicPr>
        <p:blipFill>
          <a:blip r:embed="rId4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30794" y="4251885"/>
            <a:ext cx="568779" cy="568779"/>
          </a:xfrm>
          <a:prstGeom prst="rect">
            <a:avLst/>
          </a:prstGeom>
        </p:spPr>
      </p:pic>
      <p:pic>
        <p:nvPicPr>
          <p:cNvPr id="54" name="Grafik 53">
            <a:extLst>
              <a:ext uri="{FF2B5EF4-FFF2-40B4-BE49-F238E27FC236}">
                <a16:creationId xmlns:a16="http://schemas.microsoft.com/office/drawing/2014/main" xmlns="" id="{B1197DF5-0BD8-4408-9FF9-6C18B51440E6}"/>
              </a:ext>
            </a:extLst>
          </p:cNvPr>
          <p:cNvPicPr>
            <a:picLocks noChangeAspect="1"/>
          </p:cNvPicPr>
          <p:nvPr/>
        </p:nvPicPr>
        <p:blipFill>
          <a:blip r:embed="rId4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61391" y="3274642"/>
            <a:ext cx="453458" cy="453458"/>
          </a:xfrm>
          <a:prstGeom prst="rect">
            <a:avLst/>
          </a:prstGeom>
        </p:spPr>
      </p:pic>
      <p:pic>
        <p:nvPicPr>
          <p:cNvPr id="55" name="Grafik 54">
            <a:extLst>
              <a:ext uri="{FF2B5EF4-FFF2-40B4-BE49-F238E27FC236}">
                <a16:creationId xmlns:a16="http://schemas.microsoft.com/office/drawing/2014/main" xmlns="" id="{E7FE91C5-5E6C-4F05-883A-CFE5BC37C328}"/>
              </a:ext>
            </a:extLst>
          </p:cNvPr>
          <p:cNvPicPr>
            <a:picLocks noChangeAspect="1"/>
          </p:cNvPicPr>
          <p:nvPr/>
        </p:nvPicPr>
        <p:blipFill>
          <a:blip r:embed="rId4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50489" y="2420174"/>
            <a:ext cx="461529" cy="461529"/>
          </a:xfrm>
          <a:prstGeom prst="rect">
            <a:avLst/>
          </a:prstGeom>
        </p:spPr>
      </p:pic>
      <p:pic>
        <p:nvPicPr>
          <p:cNvPr id="56" name="Grafik 55">
            <a:extLst>
              <a:ext uri="{FF2B5EF4-FFF2-40B4-BE49-F238E27FC236}">
                <a16:creationId xmlns:a16="http://schemas.microsoft.com/office/drawing/2014/main" xmlns="" id="{93B25FA6-572E-47F0-AC21-F53F0769450C}"/>
              </a:ext>
            </a:extLst>
          </p:cNvPr>
          <p:cNvPicPr>
            <a:picLocks noChangeAspect="1"/>
          </p:cNvPicPr>
          <p:nvPr/>
        </p:nvPicPr>
        <p:blipFill>
          <a:blip r:embed="rId4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7463" y="2550860"/>
            <a:ext cx="366043" cy="366043"/>
          </a:xfrm>
          <a:prstGeom prst="rect">
            <a:avLst/>
          </a:prstGeom>
        </p:spPr>
      </p:pic>
      <p:pic>
        <p:nvPicPr>
          <p:cNvPr id="57" name="Grafik 56">
            <a:extLst>
              <a:ext uri="{FF2B5EF4-FFF2-40B4-BE49-F238E27FC236}">
                <a16:creationId xmlns:a16="http://schemas.microsoft.com/office/drawing/2014/main" xmlns="" id="{E8077166-CF5A-4B7E-A83F-24F9E2AF97E0}"/>
              </a:ext>
            </a:extLst>
          </p:cNvPr>
          <p:cNvPicPr>
            <a:picLocks noChangeAspect="1"/>
          </p:cNvPicPr>
          <p:nvPr/>
        </p:nvPicPr>
        <p:blipFill>
          <a:blip r:embed="rId5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4306" y="3007305"/>
            <a:ext cx="778456" cy="813054"/>
          </a:xfrm>
          <a:prstGeom prst="rect">
            <a:avLst/>
          </a:prstGeom>
        </p:spPr>
      </p:pic>
      <p:pic>
        <p:nvPicPr>
          <p:cNvPr id="58" name="Grafik 57">
            <a:extLst>
              <a:ext uri="{FF2B5EF4-FFF2-40B4-BE49-F238E27FC236}">
                <a16:creationId xmlns:a16="http://schemas.microsoft.com/office/drawing/2014/main" xmlns="" id="{373C7ABF-E876-447B-8C23-4EFEF631E37B}"/>
              </a:ext>
            </a:extLst>
          </p:cNvPr>
          <p:cNvPicPr>
            <a:picLocks noChangeAspect="1"/>
          </p:cNvPicPr>
          <p:nvPr/>
        </p:nvPicPr>
        <p:blipFill>
          <a:blip r:embed="rId5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6198" y="3910760"/>
            <a:ext cx="707228" cy="467589"/>
          </a:xfrm>
          <a:prstGeom prst="rect">
            <a:avLst/>
          </a:prstGeom>
        </p:spPr>
      </p:pic>
      <p:pic>
        <p:nvPicPr>
          <p:cNvPr id="59" name="Grafik 58">
            <a:extLst>
              <a:ext uri="{FF2B5EF4-FFF2-40B4-BE49-F238E27FC236}">
                <a16:creationId xmlns:a16="http://schemas.microsoft.com/office/drawing/2014/main" xmlns="" id="{36F444B3-5D0E-480F-A805-01429FC4E830}"/>
              </a:ext>
            </a:extLst>
          </p:cNvPr>
          <p:cNvPicPr>
            <a:picLocks noChangeAspect="1"/>
          </p:cNvPicPr>
          <p:nvPr/>
        </p:nvPicPr>
        <p:blipFill>
          <a:blip r:embed="rId5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84778" y="3915992"/>
            <a:ext cx="367471" cy="3674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01212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</p:tagLst>
</file>

<file path=ppt/theme/theme1.xml><?xml version="1.0" encoding="utf-8"?>
<a:theme xmlns:a="http://schemas.openxmlformats.org/drawingml/2006/main" name="Vorlage_GB40_2019_allg">
  <a:themeElements>
    <a:clrScheme name="INFORM Software">
      <a:dk1>
        <a:srgbClr val="344046"/>
      </a:dk1>
      <a:lt1>
        <a:sysClr val="window" lastClr="FFFFFF"/>
      </a:lt1>
      <a:dk2>
        <a:srgbClr val="5A6E78"/>
      </a:dk2>
      <a:lt2>
        <a:srgbClr val="81A5B6"/>
      </a:lt2>
      <a:accent1>
        <a:srgbClr val="0091A5"/>
      </a:accent1>
      <a:accent2>
        <a:srgbClr val="BECB00"/>
      </a:accent2>
      <a:accent3>
        <a:srgbClr val="F38300"/>
      </a:accent3>
      <a:accent4>
        <a:srgbClr val="C00222"/>
      </a:accent4>
      <a:accent5>
        <a:srgbClr val="3C96D2"/>
      </a:accent5>
      <a:accent6>
        <a:srgbClr val="00546E"/>
      </a:accent6>
      <a:hlink>
        <a:srgbClr val="5A6E78"/>
      </a:hlink>
      <a:folHlink>
        <a:srgbClr val="81A5B6"/>
      </a:folHlink>
    </a:clrScheme>
    <a:fontScheme name="Inform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A3BECB"/>
        </a:solidFill>
        <a:ln w="9525">
          <a:solidFill>
            <a:srgbClr val="5A6E78"/>
          </a:solidFill>
        </a:ln>
      </a:spPr>
      <a:bodyPr rtlCol="0" anchor="ctr"/>
      <a:lstStyle>
        <a:defPPr>
          <a:defRPr sz="1400" dirty="0" err="1" smtClean="0">
            <a:solidFill>
              <a:srgbClr val="344046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noAutofit/>
      </a:bodyPr>
      <a:lstStyle>
        <a:defPPr>
          <a:defRPr dirty="0" smtClean="0">
            <a:solidFill>
              <a:srgbClr val="344046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Vorlage_GB40_2019_allg" id="{14DD758D-386E-4F27-BADB-233AF4E437AC}" vid="{C23B5E58-6611-4838-943A-650A7F6C902E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Vorlage_GB40_2019_allg</Template>
  <TotalTime>0</TotalTime>
  <Words>167</Words>
  <Application>Microsoft Office PowerPoint</Application>
  <PresentationFormat>Bildschirmpräsentation (16:9)</PresentationFormat>
  <Paragraphs>43</Paragraphs>
  <Slides>9</Slides>
  <Notes>7</Notes>
  <HiddenSlides>0</HiddenSlides>
  <MMClips>0</MMClips>
  <ScaleCrop>false</ScaleCrop>
  <HeadingPairs>
    <vt:vector size="4" baseType="variant">
      <vt:variant>
        <vt:lpstr>Design</vt:lpstr>
      </vt:variant>
      <vt:variant>
        <vt:i4>1</vt:i4>
      </vt:variant>
      <vt:variant>
        <vt:lpstr>Folientitel</vt:lpstr>
      </vt:variant>
      <vt:variant>
        <vt:i4>9</vt:i4>
      </vt:variant>
    </vt:vector>
  </HeadingPairs>
  <TitlesOfParts>
    <vt:vector size="10" baseType="lpstr">
      <vt:lpstr>Vorlage_GB40_2019_allg</vt:lpstr>
      <vt:lpstr>PowerPoint-Präsentation</vt:lpstr>
      <vt:lpstr>Reactivity I where we are</vt:lpstr>
      <vt:lpstr>ReactJS I how virtual DOM libraries work</vt:lpstr>
      <vt:lpstr>ReactJS I how virtual DOM libraries work</vt:lpstr>
      <vt:lpstr>ReactJS I abstraction leaks</vt:lpstr>
      <vt:lpstr>PowerPoint-Präsentation</vt:lpstr>
      <vt:lpstr>SvelteJS I how it works</vt:lpstr>
      <vt:lpstr>PowerPoint-Präsentation</vt:lpstr>
      <vt:lpstr>PowerPoint-Präsentat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Finn Zentgraf</dc:creator>
  <cp:lastModifiedBy>Finn Zentgraf</cp:lastModifiedBy>
  <cp:revision>11</cp:revision>
  <cp:lastPrinted>2018-09-11T08:32:14Z</cp:lastPrinted>
  <dcterms:created xsi:type="dcterms:W3CDTF">2019-07-11T09:23:29Z</dcterms:created>
  <dcterms:modified xsi:type="dcterms:W3CDTF">2019-07-11T11:44:33Z</dcterms:modified>
</cp:coreProperties>
</file>